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6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8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9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0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21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2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3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4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5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6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7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8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9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30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31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32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33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34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35.xml" ContentType="application/vnd.openxmlformats-officedocument.presentationml.notesSlide+xml"/>
  <Override PartName="/ppt/tags/tag167.xml" ContentType="application/vnd.openxmlformats-officedocument.presentationml.tags+xml"/>
  <Override PartName="/ppt/notesSlides/notesSlide36.xml" ContentType="application/vnd.openxmlformats-officedocument.presentationml.notesSlide+xml"/>
  <Override PartName="/ppt/tags/tag168.xml" ContentType="application/vnd.openxmlformats-officedocument.presentationml.tags+xml"/>
  <Override PartName="/ppt/notesSlides/notesSlide37.xml" ContentType="application/vnd.openxmlformats-officedocument.presentationml.notesSlide+xml"/>
  <Override PartName="/ppt/tags/tag169.xml" ContentType="application/vnd.openxmlformats-officedocument.presentationml.tags+xml"/>
  <Override PartName="/ppt/notesSlides/notesSlide38.xml" ContentType="application/vnd.openxmlformats-officedocument.presentationml.notesSlide+xml"/>
  <Override PartName="/ppt/tags/tag170.xml" ContentType="application/vnd.openxmlformats-officedocument.presentationml.tags+xml"/>
  <Override PartName="/ppt/notesSlides/notesSlide39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40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41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42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43.xml" ContentType="application/vnd.openxmlformats-officedocument.presentationml.notesSlide+xml"/>
  <Override PartName="/ppt/tags/tag179.xml" ContentType="application/vnd.openxmlformats-officedocument.presentationml.tags+xml"/>
  <Override PartName="/ppt/notesSlides/notesSlide44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45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46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47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48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49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50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51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52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53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5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12.xml" ContentType="application/vnd.openxmlformats-officedocument.drawingml.chart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1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68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1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notesSlides/notesSlide70.xml" ContentType="application/vnd.openxmlformats-officedocument.presentationml.notesSl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71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72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7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74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notesSlides/notesSlide75.xml" ContentType="application/vnd.openxmlformats-officedocument.presentationml.notesSl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76.xml" ContentType="application/vnd.openxmlformats-officedocument.presentationml.notesSlid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notesSlides/notesSlide77.xml" ContentType="application/vnd.openxmlformats-officedocument.presentationml.notesSlid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notesSlides/notesSlide78.xml" ContentType="application/vnd.openxmlformats-officedocument.presentationml.notesSlid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notesSlides/notesSlide79.xml" ContentType="application/vnd.openxmlformats-officedocument.presentationml.notesSlid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80.xml" ContentType="application/vnd.openxmlformats-officedocument.presentationml.notesSlid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81.xml" ContentType="application/vnd.openxmlformats-officedocument.presentationml.notesSlid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82.xml" ContentType="application/vnd.openxmlformats-officedocument.presentationml.notesSl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notesSlides/notesSlide83.xml" ContentType="application/vnd.openxmlformats-officedocument.presentationml.notesSl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84.xml" ContentType="application/vnd.openxmlformats-officedocument.presentationml.notesSl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notesSlides/notesSlide85.xml" ContentType="application/vnd.openxmlformats-officedocument.presentationml.notesSlid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notesSlides/notesSlide86.xml" ContentType="application/vnd.openxmlformats-officedocument.presentationml.notesSlid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notesSlides/notesSlide87.xml" ContentType="application/vnd.openxmlformats-officedocument.presentationml.notesSlide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88.xml" ContentType="application/vnd.openxmlformats-officedocument.presentationml.notesSl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notesSlides/notesSlide89.xml" ContentType="application/vnd.openxmlformats-officedocument.presentationml.notesSlid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notesSlides/notesSlide90.xml" ContentType="application/vnd.openxmlformats-officedocument.presentationml.notesSlid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notesSlides/notesSlide91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notesSlides/notesSlide92.xml" ContentType="application/vnd.openxmlformats-officedocument.presentationml.notesSlide+xml"/>
  <Override PartName="/ppt/tags/tag375.xml" ContentType="application/vnd.openxmlformats-officedocument.presentationml.tags+xml"/>
  <Override PartName="/ppt/notesSlides/notesSlide93.xml" ContentType="application/vnd.openxmlformats-officedocument.presentationml.notesSlide+xml"/>
  <Override PartName="/ppt/tags/tag376.xml" ContentType="application/vnd.openxmlformats-officedocument.presentationml.tags+xml"/>
  <Override PartName="/ppt/notesSlides/notesSlide94.xml" ContentType="application/vnd.openxmlformats-officedocument.presentationml.notesSlide+xml"/>
  <Override PartName="/ppt/tags/tag377.xml" ContentType="application/vnd.openxmlformats-officedocument.presentationml.tags+xml"/>
  <Override PartName="/ppt/notesSlides/notesSlide95.xml" ContentType="application/vnd.openxmlformats-officedocument.presentationml.notesSlide+xml"/>
  <Override PartName="/ppt/tags/tag378.xml" ContentType="application/vnd.openxmlformats-officedocument.presentationml.tags+xml"/>
  <Override PartName="/ppt/notesSlides/notesSlide96.xml" ContentType="application/vnd.openxmlformats-officedocument.presentationml.notesSlide+xml"/>
  <Override PartName="/ppt/tags/tag379.xml" ContentType="application/vnd.openxmlformats-officedocument.presentationml.tags+xml"/>
  <Override PartName="/ppt/notesSlides/notesSlide97.xml" ContentType="application/vnd.openxmlformats-officedocument.presentationml.notesSlide+xml"/>
  <Override PartName="/ppt/tags/tag380.xml" ContentType="application/vnd.openxmlformats-officedocument.presentationml.tags+xml"/>
  <Override PartName="/ppt/notesSlides/notesSlide98.xml" ContentType="application/vnd.openxmlformats-officedocument.presentationml.notesSlide+xml"/>
  <Override PartName="/ppt/tags/tag381.xml" ContentType="application/vnd.openxmlformats-officedocument.presentationml.tags+xml"/>
  <Override PartName="/ppt/notesSlides/notesSlide99.xml" ContentType="application/vnd.openxmlformats-officedocument.presentationml.notesSlide+xml"/>
  <Override PartName="/ppt/tags/tag382.xml" ContentType="application/vnd.openxmlformats-officedocument.presentationml.tags+xml"/>
  <Override PartName="/ppt/notesSlides/notesSlide100.xml" ContentType="application/vnd.openxmlformats-officedocument.presentationml.notesSl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101.xml" ContentType="application/vnd.openxmlformats-officedocument.presentationml.notesSlid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notesSlides/notesSlide102.xml" ContentType="application/vnd.openxmlformats-officedocument.presentationml.notesSlide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103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notesSlides/notesSlide104.xml" ContentType="application/vnd.openxmlformats-officedocument.presentationml.notesSlide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105.xml" ContentType="application/vnd.openxmlformats-officedocument.presentationml.notesSlide+xml"/>
  <Override PartName="/ppt/charts/chart1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notesSlides/notesSlide106.xml" ContentType="application/vnd.openxmlformats-officedocument.presentationml.notesSlid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07.xml" ContentType="application/vnd.openxmlformats-officedocument.presentationml.notesSlid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notesSlides/notesSlide108.xml" ContentType="application/vnd.openxmlformats-officedocument.presentationml.notesSlid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109.xml" ContentType="application/vnd.openxmlformats-officedocument.presentationml.notesSlid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notesSlides/notesSlide110.xml" ContentType="application/vnd.openxmlformats-officedocument.presentationml.notesSlid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notesSlides/notesSlide111.xml" ContentType="application/vnd.openxmlformats-officedocument.presentationml.notesSlide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112.xml" ContentType="application/vnd.openxmlformats-officedocument.presentationml.notesSl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notesSlides/notesSlide113.xml" ContentType="application/vnd.openxmlformats-officedocument.presentationml.notesSl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notesSlides/notesSlide114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115.xml" ContentType="application/vnd.openxmlformats-officedocument.presentationml.notesSlid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notesSlides/notesSlide116.xml" ContentType="application/vnd.openxmlformats-officedocument.presentationml.notesSlide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notesSlides/notesSlide117.xml" ContentType="application/vnd.openxmlformats-officedocument.presentationml.notesSlide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notesSlides/notesSlide118.xml" ContentType="application/vnd.openxmlformats-officedocument.presentationml.notesSlide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notesSlides/notesSlide119.xml" ContentType="application/vnd.openxmlformats-officedocument.presentationml.notesSlide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notesSlides/notesSlide120.xml" ContentType="application/vnd.openxmlformats-officedocument.presentationml.notesSlid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notesSlides/notesSlide121.xml" ContentType="application/vnd.openxmlformats-officedocument.presentationml.notesSlide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notesSlides/notesSlide122.xml" ContentType="application/vnd.openxmlformats-officedocument.presentationml.notesSlide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notesSlides/notesSlide123.xml" ContentType="application/vnd.openxmlformats-officedocument.presentationml.notesSlide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notesSlides/notesSlide124.xml" ContentType="application/vnd.openxmlformats-officedocument.presentationml.notesSlide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notesSlides/notesSlide125.xml" ContentType="application/vnd.openxmlformats-officedocument.presentationml.notesSlide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notesSlides/notesSlide126.xml" ContentType="application/vnd.openxmlformats-officedocument.presentationml.notesSlid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notesSlides/notesSlide127.xml" ContentType="application/vnd.openxmlformats-officedocument.presentationml.notesSlide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notesSlides/notesSlide128.xml" ContentType="application/vnd.openxmlformats-officedocument.presentationml.notesSlid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notesSlides/notesSlide129.xml" ContentType="application/vnd.openxmlformats-officedocument.presentationml.notesSlide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notesSlides/notesSlide130.xml" ContentType="application/vnd.openxmlformats-officedocument.presentationml.notesSlide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notesSlides/notesSlide131.xml" ContentType="application/vnd.openxmlformats-officedocument.presentationml.notesSlid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notesSlides/notesSlide132.xml" ContentType="application/vnd.openxmlformats-officedocument.presentationml.notesSlide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notesSlides/notesSlide133.xml" ContentType="application/vnd.openxmlformats-officedocument.presentationml.notesSlide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notesSlides/notesSlide134.xml" ContentType="application/vnd.openxmlformats-officedocument.presentationml.notesSlide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notesSlides/notesSlide135.xml" ContentType="application/vnd.openxmlformats-officedocument.presentationml.notesSlide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notesSlides/notesSlide1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38"/>
  </p:notesMasterIdLst>
  <p:handoutMasterIdLst>
    <p:handoutMasterId r:id="rId139"/>
  </p:handoutMasterIdLst>
  <p:sldIdLst>
    <p:sldId id="3624" r:id="rId2"/>
    <p:sldId id="3625" r:id="rId3"/>
    <p:sldId id="3626" r:id="rId4"/>
    <p:sldId id="3627" r:id="rId5"/>
    <p:sldId id="3628" r:id="rId6"/>
    <p:sldId id="3629" r:id="rId7"/>
    <p:sldId id="3630" r:id="rId8"/>
    <p:sldId id="3631" r:id="rId9"/>
    <p:sldId id="3632" r:id="rId10"/>
    <p:sldId id="3633" r:id="rId11"/>
    <p:sldId id="3634" r:id="rId12"/>
    <p:sldId id="3635" r:id="rId13"/>
    <p:sldId id="3636" r:id="rId14"/>
    <p:sldId id="3637" r:id="rId15"/>
    <p:sldId id="3638" r:id="rId16"/>
    <p:sldId id="3639" r:id="rId17"/>
    <p:sldId id="3640" r:id="rId18"/>
    <p:sldId id="3641" r:id="rId19"/>
    <p:sldId id="3642" r:id="rId20"/>
    <p:sldId id="3643" r:id="rId21"/>
    <p:sldId id="3644" r:id="rId22"/>
    <p:sldId id="3645" r:id="rId23"/>
    <p:sldId id="3646" r:id="rId24"/>
    <p:sldId id="3647" r:id="rId25"/>
    <p:sldId id="3648" r:id="rId26"/>
    <p:sldId id="3649" r:id="rId27"/>
    <p:sldId id="3650" r:id="rId28"/>
    <p:sldId id="3651" r:id="rId29"/>
    <p:sldId id="3652" r:id="rId30"/>
    <p:sldId id="3653" r:id="rId31"/>
    <p:sldId id="3654" r:id="rId32"/>
    <p:sldId id="3655" r:id="rId33"/>
    <p:sldId id="3656" r:id="rId34"/>
    <p:sldId id="3657" r:id="rId35"/>
    <p:sldId id="3658" r:id="rId36"/>
    <p:sldId id="3659" r:id="rId37"/>
    <p:sldId id="3660" r:id="rId38"/>
    <p:sldId id="3661" r:id="rId39"/>
    <p:sldId id="3662" r:id="rId40"/>
    <p:sldId id="3663" r:id="rId41"/>
    <p:sldId id="3664" r:id="rId42"/>
    <p:sldId id="3665" r:id="rId43"/>
    <p:sldId id="3666" r:id="rId44"/>
    <p:sldId id="3667" r:id="rId45"/>
    <p:sldId id="3668" r:id="rId46"/>
    <p:sldId id="3669" r:id="rId47"/>
    <p:sldId id="3670" r:id="rId48"/>
    <p:sldId id="3671" r:id="rId49"/>
    <p:sldId id="3672" r:id="rId50"/>
    <p:sldId id="3673" r:id="rId51"/>
    <p:sldId id="3674" r:id="rId52"/>
    <p:sldId id="3675" r:id="rId53"/>
    <p:sldId id="3676" r:id="rId54"/>
    <p:sldId id="3677" r:id="rId55"/>
    <p:sldId id="3678" r:id="rId56"/>
    <p:sldId id="3679" r:id="rId57"/>
    <p:sldId id="3680" r:id="rId58"/>
    <p:sldId id="3681" r:id="rId59"/>
    <p:sldId id="3682" r:id="rId60"/>
    <p:sldId id="3683" r:id="rId61"/>
    <p:sldId id="3684" r:id="rId62"/>
    <p:sldId id="3685" r:id="rId63"/>
    <p:sldId id="3686" r:id="rId64"/>
    <p:sldId id="3687" r:id="rId65"/>
    <p:sldId id="3688" r:id="rId66"/>
    <p:sldId id="3689" r:id="rId67"/>
    <p:sldId id="3690" r:id="rId68"/>
    <p:sldId id="3691" r:id="rId69"/>
    <p:sldId id="3692" r:id="rId70"/>
    <p:sldId id="3693" r:id="rId71"/>
    <p:sldId id="3694" r:id="rId72"/>
    <p:sldId id="3695" r:id="rId73"/>
    <p:sldId id="3696" r:id="rId74"/>
    <p:sldId id="3697" r:id="rId75"/>
    <p:sldId id="3698" r:id="rId76"/>
    <p:sldId id="3699" r:id="rId77"/>
    <p:sldId id="3700" r:id="rId78"/>
    <p:sldId id="3701" r:id="rId79"/>
    <p:sldId id="3702" r:id="rId80"/>
    <p:sldId id="3703" r:id="rId81"/>
    <p:sldId id="3704" r:id="rId82"/>
    <p:sldId id="3705" r:id="rId83"/>
    <p:sldId id="3706" r:id="rId84"/>
    <p:sldId id="3707" r:id="rId85"/>
    <p:sldId id="3708" r:id="rId86"/>
    <p:sldId id="3709" r:id="rId87"/>
    <p:sldId id="3710" r:id="rId88"/>
    <p:sldId id="3711" r:id="rId89"/>
    <p:sldId id="3712" r:id="rId90"/>
    <p:sldId id="3713" r:id="rId91"/>
    <p:sldId id="3714" r:id="rId92"/>
    <p:sldId id="3715" r:id="rId93"/>
    <p:sldId id="3716" r:id="rId94"/>
    <p:sldId id="3717" r:id="rId95"/>
    <p:sldId id="3718" r:id="rId96"/>
    <p:sldId id="3719" r:id="rId97"/>
    <p:sldId id="3720" r:id="rId98"/>
    <p:sldId id="3721" r:id="rId99"/>
    <p:sldId id="3722" r:id="rId100"/>
    <p:sldId id="3723" r:id="rId101"/>
    <p:sldId id="3724" r:id="rId102"/>
    <p:sldId id="3725" r:id="rId103"/>
    <p:sldId id="3726" r:id="rId104"/>
    <p:sldId id="3727" r:id="rId105"/>
    <p:sldId id="3728" r:id="rId106"/>
    <p:sldId id="3729" r:id="rId107"/>
    <p:sldId id="3730" r:id="rId108"/>
    <p:sldId id="3731" r:id="rId109"/>
    <p:sldId id="3732" r:id="rId110"/>
    <p:sldId id="3733" r:id="rId111"/>
    <p:sldId id="3734" r:id="rId112"/>
    <p:sldId id="3735" r:id="rId113"/>
    <p:sldId id="3736" r:id="rId114"/>
    <p:sldId id="3737" r:id="rId115"/>
    <p:sldId id="3738" r:id="rId116"/>
    <p:sldId id="3739" r:id="rId117"/>
    <p:sldId id="3740" r:id="rId118"/>
    <p:sldId id="3741" r:id="rId119"/>
    <p:sldId id="3742" r:id="rId120"/>
    <p:sldId id="3743" r:id="rId121"/>
    <p:sldId id="3744" r:id="rId122"/>
    <p:sldId id="3745" r:id="rId123"/>
    <p:sldId id="3746" r:id="rId124"/>
    <p:sldId id="3747" r:id="rId125"/>
    <p:sldId id="3748" r:id="rId126"/>
    <p:sldId id="3749" r:id="rId127"/>
    <p:sldId id="3750" r:id="rId128"/>
    <p:sldId id="3751" r:id="rId129"/>
    <p:sldId id="3752" r:id="rId130"/>
    <p:sldId id="3753" r:id="rId131"/>
    <p:sldId id="3754" r:id="rId132"/>
    <p:sldId id="3755" r:id="rId133"/>
    <p:sldId id="3756" r:id="rId134"/>
    <p:sldId id="3757" r:id="rId135"/>
    <p:sldId id="3758" r:id="rId136"/>
    <p:sldId id="3759" r:id="rId137"/>
  </p:sldIdLst>
  <p:sldSz cx="12192000" cy="6858000"/>
  <p:notesSz cx="6858000" cy="9144000"/>
  <p:embeddedFontLst>
    <p:embeddedFont>
      <p:font typeface="Liebherr Head Office" panose="020B0504030000000000" pitchFamily="34" charset="0"/>
      <p:regular r:id="rId140"/>
      <p:bold r:id="rId141"/>
    </p:embeddedFont>
    <p:embeddedFont>
      <p:font typeface="Liebherr Text Office" panose="020B0604030000000000" pitchFamily="34" charset="0"/>
      <p:regular r:id="rId142"/>
      <p:bold r:id="rId143"/>
      <p:italic r:id="rId144"/>
      <p:boldItalic r:id="rId145"/>
    </p:embeddedFont>
    <p:embeddedFont>
      <p:font typeface="Open Sans Extrabold" panose="020B0906030804020204" pitchFamily="34" charset="0"/>
      <p:bold r:id="rId146"/>
      <p:boldItalic r:id="rId147"/>
    </p:embeddedFont>
  </p:embeddedFontLst>
  <p:custDataLst>
    <p:tags r:id="rId14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4" autoAdjust="0"/>
    <p:restoredTop sz="94620" autoAdjust="0"/>
  </p:normalViewPr>
  <p:slideViewPr>
    <p:cSldViewPr showGuides="1">
      <p:cViewPr varScale="1">
        <p:scale>
          <a:sx n="111" d="100"/>
          <a:sy n="111" d="100"/>
        </p:scale>
        <p:origin x="1740" y="150"/>
      </p:cViewPr>
      <p:guideLst/>
    </p:cSldViewPr>
  </p:slideViewPr>
  <p:outlineViewPr>
    <p:cViewPr>
      <p:scale>
        <a:sx n="33" d="100"/>
        <a:sy n="33" d="100"/>
      </p:scale>
      <p:origin x="0" y="-20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249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notesMaster" Target="notesMasters/notesMaster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font" Target="fonts/font5.fntdata"/><Relationship Id="rId149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handoutMaster" Target="handoutMasters/handoutMaster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viewProps" Target="viewProp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font" Target="fonts/font1.fntdata"/><Relationship Id="rId145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font" Target="fonts/font4.fntdata"/><Relationship Id="rId148" Type="http://schemas.openxmlformats.org/officeDocument/2006/relationships/tags" Target="tags/tag1.xml"/><Relationship Id="rId15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font" Target="fonts/font2.fntdata"/><Relationship Id="rId146" Type="http://schemas.openxmlformats.org/officeDocument/2006/relationships/font" Target="fonts/font7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font" Target="fonts/font8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font" Target="fonts/font3.fntdata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60-4209-8943-A523307D660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60-4209-8943-A523307D660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60-4209-8943-A523307D660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60-4209-8943-A523307D6600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5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F$2:$F$4</c:f>
              <c:numCache>
                <c:formatCode>0.0</c:formatCode>
                <c:ptCount val="3"/>
                <c:pt idx="0">
                  <c:v>5</c:v>
                </c:pt>
                <c:pt idx="1">
                  <c:v>4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60-4209-8943-A523307D6600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G$2:$G$4</c:f>
              <c:numCache>
                <c:formatCode>0.0</c:formatCode>
                <c:ptCount val="3"/>
                <c:pt idx="0">
                  <c:v>4</c:v>
                </c:pt>
                <c:pt idx="1">
                  <c:v>4.3</c:v>
                </c:pt>
                <c:pt idx="2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C60-4209-8943-A523307D660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1358746752"/>
        <c:axId val="1358748288"/>
      </c:bar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>
                <a:latin typeface="+mn-lt"/>
              </a:defRPr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535859015176173"/>
          <c:y val="8.0954111130234124E-2"/>
          <c:w val="0.32982503042544009"/>
          <c:h val="0.8380917777395315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8BB2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C7-4280-8DCB-17046293F4AF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C7-4280-8DCB-17046293F4AF}"/>
              </c:ext>
            </c:extLst>
          </c:dPt>
          <c:dPt>
            <c:idx val="2"/>
            <c:bubble3D val="0"/>
            <c:spPr>
              <a:solidFill>
                <a:srgbClr val="3B65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C7-4280-8DCB-17046293F4AF}"/>
              </c:ext>
            </c:extLst>
          </c:dPt>
          <c:dPt>
            <c:idx val="3"/>
            <c:bubble3D val="0"/>
            <c:spPr>
              <a:solidFill>
                <a:srgbClr val="D1B79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C7-4280-8DCB-17046293F4AF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3C7-4280-8DCB-17046293F4AF}"/>
              </c:ext>
            </c:extLst>
          </c:dPt>
          <c:cat>
            <c:strRef>
              <c:f>Tabelle1!$A$2:$A$6</c:f>
              <c:strCache>
                <c:ptCount val="5"/>
                <c:pt idx="0">
                  <c:v>Series 1</c:v>
                </c:pt>
                <c:pt idx="1">
                  <c:v>Series 2</c:v>
                </c:pt>
                <c:pt idx="2">
                  <c:v>Series 3</c:v>
                </c:pt>
                <c:pt idx="3">
                  <c:v>Series 4</c:v>
                </c:pt>
                <c:pt idx="4">
                  <c:v>Series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25</c:v>
                </c:pt>
                <c:pt idx="1">
                  <c:v>18.3</c:v>
                </c:pt>
                <c:pt idx="2">
                  <c:v>13.9</c:v>
                </c:pt>
                <c:pt idx="3">
                  <c:v>8.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C7-4280-8DCB-17046293F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9"/>
      </c:pieChart>
      <c:spPr>
        <a:noFill/>
        <a:effectLst/>
      </c:spPr>
    </c:plotArea>
    <c:plotVisOnly val="1"/>
    <c:dispBlanksAs val="zero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008622333204804"/>
          <c:y val="8.0954111130234124E-2"/>
          <c:w val="0.32982503042544009"/>
          <c:h val="0.83809177773953158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8BB2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C7-4280-8DCB-17046293F4AF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C7-4280-8DCB-17046293F4AF}"/>
              </c:ext>
            </c:extLst>
          </c:dPt>
          <c:dPt>
            <c:idx val="2"/>
            <c:bubble3D val="0"/>
            <c:spPr>
              <a:solidFill>
                <a:srgbClr val="3B65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C7-4280-8DCB-17046293F4AF}"/>
              </c:ext>
            </c:extLst>
          </c:dPt>
          <c:dPt>
            <c:idx val="3"/>
            <c:bubble3D val="0"/>
            <c:spPr>
              <a:solidFill>
                <a:srgbClr val="D1B79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C7-4280-8DCB-17046293F4AF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3C7-4280-8DCB-17046293F4AF}"/>
              </c:ext>
            </c:extLst>
          </c:dPt>
          <c:dLbls>
            <c:dLbl>
              <c:idx val="0"/>
              <c:layout>
                <c:manualLayout>
                  <c:x val="4.4374913095768818E-2"/>
                  <c:y val="-1.44560912732561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3C7-4280-8DCB-17046293F4AF}"/>
                </c:ext>
              </c:extLst>
            </c:dLbl>
            <c:dLbl>
              <c:idx val="1"/>
              <c:layout>
                <c:manualLayout>
                  <c:x val="0"/>
                  <c:y val="7.8062892875582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3C7-4280-8DCB-17046293F4AF}"/>
                </c:ext>
              </c:extLst>
            </c:dLbl>
            <c:dLbl>
              <c:idx val="2"/>
              <c:layout>
                <c:manualLayout>
                  <c:x val="-4.209927652675503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3C7-4280-8DCB-17046293F4AF}"/>
                </c:ext>
              </c:extLst>
            </c:dLbl>
            <c:dLbl>
              <c:idx val="3"/>
              <c:layout>
                <c:manualLayout>
                  <c:x val="-2.6169820543658535E-2"/>
                  <c:y val="-6.6498019856978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C7-4280-8DCB-17046293F4AF}"/>
                </c:ext>
              </c:extLst>
            </c:dLbl>
            <c:dLbl>
              <c:idx val="4"/>
              <c:layout>
                <c:manualLayout>
                  <c:x val="-4.5512731380276551E-3"/>
                  <c:y val="-7.87060181960072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3C7-4280-8DCB-17046293F4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Series 1</c:v>
                </c:pt>
                <c:pt idx="1">
                  <c:v>Series 2</c:v>
                </c:pt>
                <c:pt idx="2">
                  <c:v>Series 3</c:v>
                </c:pt>
                <c:pt idx="3">
                  <c:v>Series 4</c:v>
                </c:pt>
                <c:pt idx="4">
                  <c:v>Series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25</c:v>
                </c:pt>
                <c:pt idx="1">
                  <c:v>18.3</c:v>
                </c:pt>
                <c:pt idx="2">
                  <c:v>13.9</c:v>
                </c:pt>
                <c:pt idx="3">
                  <c:v>8.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C7-4280-8DCB-17046293F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0"/>
      </c:doughnutChart>
      <c:spPr>
        <a:noFill/>
        <a:effectLst/>
      </c:spPr>
    </c:plotArea>
    <c:legend>
      <c:legendPos val="r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535859015176173"/>
          <c:y val="8.0954111130234124E-2"/>
          <c:w val="0.32982503042544009"/>
          <c:h val="0.83809177773953158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8BB2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C7-4280-8DCB-17046293F4AF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C7-4280-8DCB-17046293F4AF}"/>
              </c:ext>
            </c:extLst>
          </c:dPt>
          <c:dPt>
            <c:idx val="2"/>
            <c:bubble3D val="0"/>
            <c:spPr>
              <a:solidFill>
                <a:srgbClr val="3B65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C7-4280-8DCB-17046293F4AF}"/>
              </c:ext>
            </c:extLst>
          </c:dPt>
          <c:dPt>
            <c:idx val="3"/>
            <c:bubble3D val="0"/>
            <c:spPr>
              <a:solidFill>
                <a:srgbClr val="D1B79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C7-4280-8DCB-17046293F4AF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3C7-4280-8DCB-17046293F4AF}"/>
              </c:ext>
            </c:extLst>
          </c:dPt>
          <c:cat>
            <c:strRef>
              <c:f>Tabelle1!$A$2:$A$6</c:f>
              <c:strCache>
                <c:ptCount val="5"/>
                <c:pt idx="0">
                  <c:v>Series 1</c:v>
                </c:pt>
                <c:pt idx="1">
                  <c:v>Series 2</c:v>
                </c:pt>
                <c:pt idx="2">
                  <c:v>Series 3</c:v>
                </c:pt>
                <c:pt idx="3">
                  <c:v>Series 4</c:v>
                </c:pt>
                <c:pt idx="4">
                  <c:v>Series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25</c:v>
                </c:pt>
                <c:pt idx="1">
                  <c:v>18.3</c:v>
                </c:pt>
                <c:pt idx="2">
                  <c:v>13.9</c:v>
                </c:pt>
                <c:pt idx="3">
                  <c:v>8.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C7-4280-8DCB-17046293F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9"/>
        <c:holeSize val="80"/>
      </c:doughnutChart>
      <c:spPr>
        <a:noFill/>
        <a:effectLst/>
      </c:spPr>
    </c:plotArea>
    <c:plotVisOnly val="1"/>
    <c:dispBlanksAs val="zero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516342991964146"/>
          <c:y val="0.11853994844069997"/>
          <c:w val="0.39122022979275578"/>
          <c:h val="0.7311167023174366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76200">
              <a:solidFill>
                <a:schemeClr val="bg1"/>
              </a:solidFill>
            </a:ln>
          </c:spPr>
          <c:explosion val="1"/>
          <c:dPt>
            <c:idx val="0"/>
            <c:bubble3D val="0"/>
            <c:spPr>
              <a:solidFill>
                <a:srgbClr val="6B7278"/>
              </a:solidFill>
              <a:ln w="762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CDD-45E0-9506-00BAC90F6574}"/>
              </c:ext>
            </c:extLst>
          </c:dPt>
          <c:dPt>
            <c:idx val="1"/>
            <c:bubble3D val="0"/>
            <c:spPr>
              <a:solidFill>
                <a:srgbClr val="3A4046"/>
              </a:solidFill>
              <a:ln w="762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CDD-45E0-9506-00BAC90F6574}"/>
              </c:ext>
            </c:extLst>
          </c:dPt>
          <c:dPt>
            <c:idx val="2"/>
            <c:bubble3D val="0"/>
            <c:spPr>
              <a:solidFill>
                <a:srgbClr val="FFD000"/>
              </a:solidFill>
              <a:ln w="762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CDD-45E0-9506-00BAC90F6574}"/>
              </c:ext>
            </c:extLst>
          </c:dPt>
          <c:dPt>
            <c:idx val="3"/>
            <c:bubble3D val="0"/>
            <c:spPr>
              <a:solidFill>
                <a:srgbClr val="D3D8DD"/>
              </a:solidFill>
              <a:ln w="762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CDD-45E0-9506-00BAC90F6574}"/>
              </c:ext>
            </c:extLst>
          </c:dPt>
          <c:dPt>
            <c:idx val="4"/>
            <c:bubble3D val="0"/>
            <c:spPr>
              <a:solidFill>
                <a:srgbClr val="888E94"/>
              </a:solidFill>
              <a:ln w="762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CDD-45E0-9506-00BAC90F6574}"/>
              </c:ext>
            </c:extLst>
          </c:dPt>
          <c:cat>
            <c:strRef>
              <c:f>Tabelle1!$A$2:$A$6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</c:v>
                </c:pt>
                <c:pt idx="1">
                  <c:v>2</c:v>
                </c:pt>
                <c:pt idx="2">
                  <c:v>4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CDD-45E0-9506-00BAC90F65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8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3B657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EB-4BC0-92B7-7A12B28FC7EE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EB-4BC0-92B7-7A12B28FC7EE}"/>
              </c:ext>
            </c:extLst>
          </c:dPt>
          <c:dPt>
            <c:idx val="2"/>
            <c:bubble3D val="0"/>
            <c:spPr>
              <a:solidFill>
                <a:srgbClr val="8BB2C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5EB-4BC0-92B7-7A12B28FC7EE}"/>
              </c:ext>
            </c:extLst>
          </c:dPt>
          <c:dPt>
            <c:idx val="3"/>
            <c:bubble3D val="0"/>
            <c:spPr>
              <a:solidFill>
                <a:srgbClr val="84655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5EB-4BC0-92B7-7A12B28FC7EE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5EB-4BC0-92B7-7A12B28FC7EE}"/>
              </c:ext>
            </c:extLst>
          </c:dPt>
          <c:dPt>
            <c:idx val="5"/>
            <c:bubble3D val="0"/>
            <c:spPr>
              <a:solidFill>
                <a:srgbClr val="D1B79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25EB-4BC0-92B7-7A12B28FC7EE}"/>
              </c:ext>
            </c:extLst>
          </c:dPt>
          <c:dPt>
            <c:idx val="6"/>
            <c:bubble3D val="0"/>
            <c:spPr>
              <a:solidFill>
                <a:srgbClr val="AF542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25EB-4BC0-92B7-7A12B28FC7EE}"/>
              </c:ext>
            </c:extLst>
          </c:dPt>
          <c:dPt>
            <c:idx val="7"/>
            <c:bubble3D val="0"/>
            <c:spPr>
              <a:solidFill>
                <a:srgbClr val="EB6F2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5EB-4BC0-92B7-7A12B28FC7EE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5EB-4BC0-92B7-7A12B28FC7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de-DE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666-4AC2-AD28-4C69ABD12F23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66-4AC2-AD28-4C69ABD12F2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666-4AC2-AD28-4C69ABD12F23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32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66-4AC2-AD28-4C69ABD12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0850304"/>
        <c:axId val="1400851840"/>
      </c:barChart>
      <c:catAx>
        <c:axId val="140085030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400851840"/>
        <c:crosses val="autoZero"/>
        <c:auto val="1"/>
        <c:lblAlgn val="ctr"/>
        <c:lblOffset val="100"/>
        <c:noMultiLvlLbl val="0"/>
      </c:catAx>
      <c:valAx>
        <c:axId val="140085184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400850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A1-4030-A8D5-4146D62546E5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A1-4030-A8D5-4146D62546E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1A1-4030-A8D5-4146D62546E5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17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1A1-4030-A8D5-4146D62546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0850304"/>
        <c:axId val="1400851840"/>
      </c:barChart>
      <c:catAx>
        <c:axId val="140085030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400851840"/>
        <c:crosses val="autoZero"/>
        <c:auto val="1"/>
        <c:lblAlgn val="ctr"/>
        <c:lblOffset val="100"/>
        <c:noMultiLvlLbl val="0"/>
      </c:catAx>
      <c:valAx>
        <c:axId val="140085184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400850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056-4251-BF14-F9E2E332160C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56-4251-BF14-F9E2E332160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056-4251-BF14-F9E2E332160C}"/>
              </c:ext>
            </c:extLst>
          </c:dPt>
          <c:cat>
            <c:strRef>
              <c:f>Tabelle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6.99999999999999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56-4251-BF14-F9E2E3321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00850304"/>
        <c:axId val="1400851840"/>
      </c:barChart>
      <c:catAx>
        <c:axId val="140085030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400851840"/>
        <c:crosses val="autoZero"/>
        <c:auto val="1"/>
        <c:lblAlgn val="ctr"/>
        <c:lblOffset val="100"/>
        <c:noMultiLvlLbl val="0"/>
      </c:catAx>
      <c:valAx>
        <c:axId val="140085184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400850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3B657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EB-4BC0-92B7-7A12B28FC7EE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EB-4BC0-92B7-7A12B28FC7EE}"/>
              </c:ext>
            </c:extLst>
          </c:dPt>
          <c:dPt>
            <c:idx val="2"/>
            <c:bubble3D val="0"/>
            <c:spPr>
              <a:solidFill>
                <a:srgbClr val="8BB2C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5EB-4BC0-92B7-7A12B28FC7EE}"/>
              </c:ext>
            </c:extLst>
          </c:dPt>
          <c:dPt>
            <c:idx val="3"/>
            <c:bubble3D val="0"/>
            <c:spPr>
              <a:solidFill>
                <a:srgbClr val="84655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5EB-4BC0-92B7-7A12B28FC7EE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5EB-4BC0-92B7-7A12B28FC7EE}"/>
              </c:ext>
            </c:extLst>
          </c:dPt>
          <c:dPt>
            <c:idx val="5"/>
            <c:bubble3D val="0"/>
            <c:spPr>
              <a:solidFill>
                <a:srgbClr val="D1B79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25EB-4BC0-92B7-7A12B28FC7EE}"/>
              </c:ext>
            </c:extLst>
          </c:dPt>
          <c:dPt>
            <c:idx val="6"/>
            <c:bubble3D val="0"/>
            <c:spPr>
              <a:solidFill>
                <a:srgbClr val="AF542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25EB-4BC0-92B7-7A12B28FC7EE}"/>
              </c:ext>
            </c:extLst>
          </c:dPt>
          <c:dPt>
            <c:idx val="7"/>
            <c:bubble3D val="0"/>
            <c:spPr>
              <a:solidFill>
                <a:srgbClr val="EB6F2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5EB-4BC0-92B7-7A12B28FC7EE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5EB-4BC0-92B7-7A12B28FC7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BB2C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60-4209-8943-A523307D660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789A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60-4209-8943-A523307D660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6579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60-4209-8943-A523307D660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D1B795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60-4209-8943-A523307D6600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AA8D6D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F$2:$F$4</c:f>
              <c:numCache>
                <c:formatCode>0.0</c:formatCode>
                <c:ptCount val="3"/>
                <c:pt idx="0">
                  <c:v>5</c:v>
                </c:pt>
                <c:pt idx="1">
                  <c:v>4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60-4209-8943-A523307D6600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84655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G$2:$G$4</c:f>
              <c:numCache>
                <c:formatCode>0.0</c:formatCode>
                <c:ptCount val="3"/>
                <c:pt idx="0">
                  <c:v>4</c:v>
                </c:pt>
                <c:pt idx="1">
                  <c:v>4.3</c:v>
                </c:pt>
                <c:pt idx="2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C60-4209-8943-A523307D660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1358746752"/>
        <c:axId val="1358748288"/>
      </c:bar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>
                <a:latin typeface="+mn-lt"/>
              </a:defRPr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BB2C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42-4765-B91D-728D0CF334E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789A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42-4765-B91D-728D0CF334E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6579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42-4765-B91D-728D0CF334E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bg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42-4765-B91D-728D0CF334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1358746752"/>
        <c:axId val="1358748288"/>
      </c:bar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  <c:max val="7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  <c:majorUnit val="1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B0-4795-AF51-7E203CE65D0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C$2:$C$6</c:f>
              <c:numCache>
                <c:formatCode>0.0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B0-4795-AF51-7E203CE65D0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D$2:$D$6</c:f>
              <c:numCache>
                <c:formatCode>0.0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B0-4795-AF51-7E203CE65D0B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E$2:$E$6</c:f>
              <c:numCache>
                <c:formatCode>0.0</c:formatCode>
                <c:ptCount val="5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  <c:pt idx="3">
                  <c:v>2</c:v>
                </c:pt>
                <c:pt idx="4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DB0-4795-AF51-7E203CE65D0B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bg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F$2:$F$6</c:f>
              <c:numCache>
                <c:formatCode>0.0</c:formatCode>
                <c:ptCount val="5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B0-4795-AF51-7E203CE6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axId val="1358746752"/>
        <c:axId val="1358748288"/>
      </c:barChart>
      <c:lineChart>
        <c:grouping val="standar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355-47C6-B9E2-7DA1102C8D73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355-47C6-B9E2-7DA1102C8D73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G$2:$G$6</c:f>
              <c:numCache>
                <c:formatCode>0.0</c:formatCode>
                <c:ptCount val="5"/>
                <c:pt idx="0">
                  <c:v>4</c:v>
                </c:pt>
                <c:pt idx="1">
                  <c:v>4.3</c:v>
                </c:pt>
                <c:pt idx="2">
                  <c:v>6.2</c:v>
                </c:pt>
                <c:pt idx="3">
                  <c:v>1.8</c:v>
                </c:pt>
                <c:pt idx="4">
                  <c:v>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DB0-4795-AF51-7E203CE6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8746752"/>
        <c:axId val="1358748288"/>
      </c:line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BB2C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B0-4795-AF51-7E203CE65D0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789A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C$2:$C$6</c:f>
              <c:numCache>
                <c:formatCode>0.0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B0-4795-AF51-7E203CE65D0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6579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D$2:$D$6</c:f>
              <c:numCache>
                <c:formatCode>0.0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B0-4795-AF51-7E203CE65D0B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D1B795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E$2:$E$6</c:f>
              <c:numCache>
                <c:formatCode>0.0</c:formatCode>
                <c:ptCount val="5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  <c:pt idx="3">
                  <c:v>2</c:v>
                </c:pt>
                <c:pt idx="4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DB0-4795-AF51-7E203CE65D0B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AA8D6D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F$2:$F$6</c:f>
              <c:numCache>
                <c:formatCode>0.0</c:formatCode>
                <c:ptCount val="5"/>
                <c:pt idx="0">
                  <c:v>5</c:v>
                </c:pt>
                <c:pt idx="1">
                  <c:v>4</c:v>
                </c:pt>
                <c:pt idx="2">
                  <c:v>6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B0-4795-AF51-7E203CE6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axId val="1358746752"/>
        <c:axId val="1358748288"/>
      </c:barChart>
      <c:lineChart>
        <c:grouping val="standar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38100" cap="rnd">
              <a:solidFill>
                <a:srgbClr val="846554"/>
              </a:solidFill>
              <a:round/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355-47C6-B9E2-7DA1102C8D73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355-47C6-B9E2-7DA1102C8D73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G$2:$G$6</c:f>
              <c:numCache>
                <c:formatCode>0.0</c:formatCode>
                <c:ptCount val="5"/>
                <c:pt idx="0">
                  <c:v>4</c:v>
                </c:pt>
                <c:pt idx="1">
                  <c:v>4.3</c:v>
                </c:pt>
                <c:pt idx="2">
                  <c:v>6.2</c:v>
                </c:pt>
                <c:pt idx="3">
                  <c:v>1.8</c:v>
                </c:pt>
                <c:pt idx="4">
                  <c:v>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DB0-4795-AF51-7E203CE6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8746752"/>
        <c:axId val="1358748288"/>
      </c:line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43280098966897"/>
          <c:y val="0"/>
          <c:w val="0.88132797190968559"/>
          <c:h val="0.818994990892531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72-4AC1-BACD-3CDEFB39928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B6579"/>
            </a:solidFill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72-4AC1-BACD-3CDEFB39928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5789A4"/>
            </a:solidFill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72-4AC1-BACD-3CDEFB39928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8BB2C2"/>
            </a:solidFill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72-4AC1-BACD-3CDEFB39928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59319040"/>
        <c:axId val="1359320576"/>
      </c:barChart>
      <c:catAx>
        <c:axId val="135931904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9320576"/>
        <c:crosses val="autoZero"/>
        <c:auto val="1"/>
        <c:lblAlgn val="ctr"/>
        <c:lblOffset val="100"/>
        <c:noMultiLvlLbl val="0"/>
      </c:catAx>
      <c:valAx>
        <c:axId val="1359320576"/>
        <c:scaling>
          <c:orientation val="minMax"/>
        </c:scaling>
        <c:delete val="0"/>
        <c:axPos val="b"/>
        <c:numFmt formatCode="0.0" sourceLinked="0"/>
        <c:majorTickMark val="none"/>
        <c:minorTickMark val="none"/>
        <c:tickLblPos val="none"/>
        <c:spPr>
          <a:ln w="6350">
            <a:noFill/>
          </a:ln>
        </c:spPr>
        <c:crossAx val="1359319040"/>
        <c:crosses val="autoZero"/>
        <c:crossBetween val="between"/>
      </c:valAx>
      <c:spPr>
        <a:noFill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>
              <a:solidFill>
                <a:schemeClr val="accent1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4.5</c:v>
                </c:pt>
                <c:pt idx="1">
                  <c:v>3.2</c:v>
                </c:pt>
                <c:pt idx="2">
                  <c:v>3.5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BC-4EF4-819F-D7414D3D2C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>
              <a:solidFill>
                <a:schemeClr val="accent2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7BC-4EF4-819F-D7414D3D2C34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C$2:$C$6</c:f>
              <c:numCache>
                <c:formatCode>0.0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7BC-4EF4-819F-D7414D3D2C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38100">
              <a:solidFill>
                <a:schemeClr val="accent3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BC-4EF4-819F-D7414D3D2C34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7BC-4EF4-819F-D7414D3D2C34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7BC-4EF4-819F-D7414D3D2C34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D$2:$D$6</c:f>
              <c:numCache>
                <c:formatCode>0.0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7BC-4EF4-819F-D7414D3D2C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38100">
              <a:solidFill>
                <a:schemeClr val="accent4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E$2:$E$6</c:f>
              <c:numCache>
                <c:formatCode>0.0</c:formatCode>
                <c:ptCount val="5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  <c:pt idx="3">
                  <c:v>2</c:v>
                </c:pt>
                <c:pt idx="4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27BC-4EF4-819F-D7414D3D2C34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38100">
              <a:solidFill>
                <a:schemeClr val="accent5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7BC-4EF4-819F-D7414D3D2C34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F$2:$F$6</c:f>
              <c:numCache>
                <c:formatCode>0.0</c:formatCode>
                <c:ptCount val="5"/>
                <c:pt idx="0">
                  <c:v>5</c:v>
                </c:pt>
                <c:pt idx="1">
                  <c:v>6</c:v>
                </c:pt>
                <c:pt idx="2">
                  <c:v>5.4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27BC-4EF4-819F-D7414D3D2C34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38100">
              <a:solidFill>
                <a:schemeClr val="bg2"/>
              </a:solidFill>
            </a:ln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7BC-4EF4-819F-D7414D3D2C34}"/>
                </c:ext>
              </c:extLst>
            </c:dLbl>
            <c:dLbl>
              <c:idx val="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G$2:$G$6</c:f>
              <c:numCache>
                <c:formatCode>0.0</c:formatCode>
                <c:ptCount val="5"/>
                <c:pt idx="0">
                  <c:v>4</c:v>
                </c:pt>
                <c:pt idx="1">
                  <c:v>5.0999999999999996</c:v>
                </c:pt>
                <c:pt idx="2">
                  <c:v>6.2</c:v>
                </c:pt>
                <c:pt idx="3">
                  <c:v>1</c:v>
                </c:pt>
                <c:pt idx="4">
                  <c:v>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C-27BC-4EF4-819F-D7414D3D2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8746752"/>
        <c:axId val="1358748288"/>
      </c:line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3846539162112936E-2"/>
          <c:w val="1"/>
          <c:h val="0.7862465846994536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>
              <a:solidFill>
                <a:schemeClr val="accent1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4.5</c:v>
                </c:pt>
                <c:pt idx="1">
                  <c:v>3.2</c:v>
                </c:pt>
                <c:pt idx="2">
                  <c:v>3.5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27BC-4EF4-819F-D7414D3D2C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>
              <a:solidFill>
                <a:schemeClr val="accent2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7BC-4EF4-819F-D7414D3D2C34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C$2:$C$6</c:f>
              <c:numCache>
                <c:formatCode>0.0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1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27BC-4EF4-819F-D7414D3D2C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38100">
              <a:solidFill>
                <a:schemeClr val="accent3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BC-4EF4-819F-D7414D3D2C34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7BC-4EF4-819F-D7414D3D2C34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7BC-4EF4-819F-D7414D3D2C34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D$2:$D$6</c:f>
              <c:numCache>
                <c:formatCode>0.0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E-27BC-4EF4-819F-D7414D3D2C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38100">
              <a:solidFill>
                <a:schemeClr val="accent4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E$2:$E$6</c:f>
              <c:numCache>
                <c:formatCode>0.0</c:formatCode>
                <c:ptCount val="5"/>
                <c:pt idx="0">
                  <c:v>3.3</c:v>
                </c:pt>
                <c:pt idx="1">
                  <c:v>2.5</c:v>
                </c:pt>
                <c:pt idx="2">
                  <c:v>4.4000000000000004</c:v>
                </c:pt>
                <c:pt idx="3">
                  <c:v>2</c:v>
                </c:pt>
                <c:pt idx="4">
                  <c:v>4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3-27BC-4EF4-819F-D7414D3D2C34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Series 5</c:v>
                </c:pt>
              </c:strCache>
            </c:strRef>
          </c:tx>
          <c:spPr>
            <a:ln w="38100">
              <a:solidFill>
                <a:schemeClr val="accent5"/>
              </a:solidFill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7BC-4EF4-819F-D7414D3D2C34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7BC-4EF4-819F-D7414D3D2C34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7BC-4EF4-819F-D7414D3D2C34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F$2:$F$6</c:f>
              <c:numCache>
                <c:formatCode>0.0</c:formatCode>
                <c:ptCount val="5"/>
                <c:pt idx="0">
                  <c:v>5</c:v>
                </c:pt>
                <c:pt idx="1">
                  <c:v>6</c:v>
                </c:pt>
                <c:pt idx="2">
                  <c:v>5.4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8-27BC-4EF4-819F-D7414D3D2C34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Series 6</c:v>
                </c:pt>
              </c:strCache>
            </c:strRef>
          </c:tx>
          <c:spPr>
            <a:ln w="38100">
              <a:solidFill>
                <a:schemeClr val="bg2"/>
              </a:solidFill>
            </a:ln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7BC-4EF4-819F-D7414D3D2C34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7BC-4EF4-819F-D7414D3D2C34}"/>
                </c:ext>
              </c:extLst>
            </c:dLbl>
            <c:dLbl>
              <c:idx val="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7BC-4EF4-819F-D7414D3D2C34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Tabelle1!$G$2:$G$6</c:f>
              <c:numCache>
                <c:formatCode>0.0</c:formatCode>
                <c:ptCount val="5"/>
                <c:pt idx="0">
                  <c:v>4</c:v>
                </c:pt>
                <c:pt idx="1">
                  <c:v>5.0999999999999996</c:v>
                </c:pt>
                <c:pt idx="2">
                  <c:v>6.2</c:v>
                </c:pt>
                <c:pt idx="3">
                  <c:v>1</c:v>
                </c:pt>
                <c:pt idx="4">
                  <c:v>2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C-27BC-4EF4-819F-D7414D3D2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8746752"/>
        <c:axId val="1358748288"/>
      </c:lineChart>
      <c:catAx>
        <c:axId val="1358746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/>
            </a:pPr>
            <a:endParaRPr lang="de-DE"/>
          </a:p>
        </c:txPr>
        <c:crossAx val="1358748288"/>
        <c:crosses val="autoZero"/>
        <c:auto val="1"/>
        <c:lblAlgn val="ctr"/>
        <c:lblOffset val="100"/>
        <c:noMultiLvlLbl val="0"/>
      </c:catAx>
      <c:valAx>
        <c:axId val="13587482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6350">
            <a:noFill/>
          </a:ln>
        </c:spPr>
        <c:crossAx val="1358746752"/>
        <c:crosses val="autoZero"/>
        <c:crossBetween val="between"/>
      </c:valAx>
      <c:spPr>
        <a:noFill/>
        <a:effectLst/>
      </c:spPr>
    </c:plotArea>
    <c:legend>
      <c:legendPos val="b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008622333204804"/>
          <c:y val="8.0954111130234124E-2"/>
          <c:w val="0.32982503042544009"/>
          <c:h val="0.8380917777395315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8BB2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C7-4280-8DCB-17046293F4AF}"/>
              </c:ext>
            </c:extLst>
          </c:dPt>
          <c:dPt>
            <c:idx val="1"/>
            <c:bubble3D val="0"/>
            <c:spPr>
              <a:solidFill>
                <a:srgbClr val="5789A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C7-4280-8DCB-17046293F4AF}"/>
              </c:ext>
            </c:extLst>
          </c:dPt>
          <c:dPt>
            <c:idx val="2"/>
            <c:bubble3D val="0"/>
            <c:spPr>
              <a:solidFill>
                <a:srgbClr val="3B65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C7-4280-8DCB-17046293F4AF}"/>
              </c:ext>
            </c:extLst>
          </c:dPt>
          <c:dPt>
            <c:idx val="3"/>
            <c:bubble3D val="0"/>
            <c:spPr>
              <a:solidFill>
                <a:srgbClr val="D1B79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C7-4280-8DCB-17046293F4AF}"/>
              </c:ext>
            </c:extLst>
          </c:dPt>
          <c:dPt>
            <c:idx val="4"/>
            <c:bubble3D val="0"/>
            <c:spPr>
              <a:solidFill>
                <a:srgbClr val="AA8D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3C7-4280-8DCB-17046293F4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Series 1</c:v>
                </c:pt>
                <c:pt idx="1">
                  <c:v>Series 2</c:v>
                </c:pt>
                <c:pt idx="2">
                  <c:v>Series 3</c:v>
                </c:pt>
                <c:pt idx="3">
                  <c:v>Series 4</c:v>
                </c:pt>
                <c:pt idx="4">
                  <c:v>Series 5</c:v>
                </c:pt>
              </c:strCache>
            </c:strRef>
          </c:cat>
          <c:val>
            <c:numRef>
              <c:f>Tabelle1!$B$2:$B$6</c:f>
              <c:numCache>
                <c:formatCode>0.0</c:formatCode>
                <c:ptCount val="5"/>
                <c:pt idx="0">
                  <c:v>25</c:v>
                </c:pt>
                <c:pt idx="1">
                  <c:v>18.3</c:v>
                </c:pt>
                <c:pt idx="2">
                  <c:v>13.9</c:v>
                </c:pt>
                <c:pt idx="3">
                  <c:v>8.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C7-4280-8DCB-17046293F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effectLst/>
      </c:spPr>
    </c:plotArea>
    <c:legend>
      <c:legendPos val="r"/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E295136-1ADE-4337-AE25-ECB571D6D7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220131" y="8681235"/>
            <a:ext cx="1161197" cy="144000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323528"/>
            <a:ext cx="590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9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908720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5320D358-F853-4E66-A71E-3A9A01236113}" type="datetimeFigureOut">
              <a:rPr lang="de-DE" sz="900">
                <a:cs typeface="Arial" panose="020B0604020202020204" pitchFamily="34" charset="0"/>
              </a:rPr>
              <a:t>14.01.2022</a:t>
            </a:fld>
            <a:endParaRPr lang="de-DE" sz="900" dirty="0"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700808" y="8676456"/>
            <a:ext cx="3168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900" dirty="0"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76672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E5BBCCF6-F8A8-4C49-BF3D-CA1AA74CA975}" type="slidenum">
              <a:rPr lang="de-DE" sz="900">
                <a:cs typeface="Arial" panose="020B0604020202020204" pitchFamily="34" charset="0"/>
              </a:rPr>
              <a:pPr algn="l"/>
              <a:t>‹#›</a:t>
            </a:fld>
            <a:endParaRPr lang="de-DE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611560"/>
            <a:ext cx="5904000" cy="3321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9424" y="4139952"/>
            <a:ext cx="5901247" cy="432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Kopfzeilenplatzhalter 1">
            <a:extLst>
              <a:ext uri="{FF2B5EF4-FFF2-40B4-BE49-F238E27FC236}">
                <a16:creationId xmlns:a16="http://schemas.microsoft.com/office/drawing/2014/main" id="{722A9DB7-35A9-4824-87F7-F7E41EDFC6B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6672" y="323528"/>
            <a:ext cx="590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latin typeface="+mj-lt"/>
              </a:defRPr>
            </a:lvl1pPr>
          </a:lstStyle>
          <a:p>
            <a:endParaRPr lang="de-DE" sz="900" dirty="0">
              <a:cs typeface="Arial" panose="020B0604020202020204" pitchFamily="34" charset="0"/>
            </a:endParaRPr>
          </a:p>
        </p:txBody>
      </p:sp>
      <p:sp>
        <p:nvSpPr>
          <p:cNvPr id="13" name="Datumsplatzhalter 2">
            <a:extLst>
              <a:ext uri="{FF2B5EF4-FFF2-40B4-BE49-F238E27FC236}">
                <a16:creationId xmlns:a16="http://schemas.microsoft.com/office/drawing/2014/main" id="{FD0DC717-E121-4948-9B1F-A1997BA0CF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908720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latin typeface="+mn-lt"/>
              </a:defRPr>
            </a:lvl1pPr>
          </a:lstStyle>
          <a:p>
            <a:fld id="{5320D358-F853-4E66-A71E-3A9A01236113}" type="datetimeFigureOut">
              <a:rPr lang="de-DE" sz="900">
                <a:cs typeface="Arial" panose="020B0604020202020204" pitchFamily="34" charset="0"/>
              </a:rPr>
              <a:pPr/>
              <a:t>14.01.2022</a:t>
            </a:fld>
            <a:endParaRPr lang="de-DE" sz="900" dirty="0">
              <a:cs typeface="Arial" panose="020B0604020202020204" pitchFamily="34" charset="0"/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3CA8486D-CFDD-41C2-AF5E-3B776ABF62C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700808" y="8676456"/>
            <a:ext cx="3168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latin typeface="+mn-lt"/>
              </a:defRPr>
            </a:lvl1pPr>
          </a:lstStyle>
          <a:p>
            <a:endParaRPr lang="de-DE" sz="900" dirty="0">
              <a:cs typeface="Arial" panose="020B0604020202020204" pitchFamily="34" charset="0"/>
            </a:endParaRPr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B719577-8CB4-4543-BAC8-496CA0E3F1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672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latin typeface="+mn-lt"/>
              </a:defRPr>
            </a:lvl1pPr>
          </a:lstStyle>
          <a:p>
            <a:pPr algn="l"/>
            <a:fld id="{E5BBCCF6-F8A8-4C49-BF3D-CA1AA74CA975}" type="slidenum">
              <a:rPr lang="de-DE" sz="900">
                <a:cs typeface="Arial" panose="020B0604020202020204" pitchFamily="34" charset="0"/>
              </a:rPr>
              <a:pPr algn="l"/>
              <a:t>‹#›</a:t>
            </a:fld>
            <a:endParaRPr lang="de-DE" sz="900" dirty="0"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E4F224-8FEE-47C3-B740-5E3830D4D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220131" y="8681235"/>
            <a:ext cx="1161197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Bef>
        <a:spcPts val="1200"/>
      </a:spcBef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400"/>
      </a:spcBef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lnSpc>
        <a:spcPct val="110000"/>
      </a:lnSpc>
      <a:spcBef>
        <a:spcPts val="100"/>
      </a:spcBef>
      <a:spcAft>
        <a:spcPts val="100"/>
      </a:spcAft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6553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579448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488925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302784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520151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5134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530714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760737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047317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0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014625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079368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639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604660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698224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392543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81552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595019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212581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086333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857049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70759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091382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92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03463" y="306388"/>
            <a:ext cx="5627687" cy="3165475"/>
          </a:xfrm>
          <a:ln/>
        </p:spPr>
      </p:sp>
      <p:sp>
        <p:nvSpPr>
          <p:cNvPr id="169993" name="Rectangle 9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007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919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919"/>
              </a:solidFill>
              <a:effectLst/>
              <a:uLnTx/>
              <a:uFillTx/>
              <a:latin typeface="Liebherr Text Office" panose="020B0604030000000000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9872684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92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03463" y="306388"/>
            <a:ext cx="5627687" cy="3165475"/>
          </a:xfrm>
          <a:ln/>
        </p:spPr>
      </p:sp>
      <p:sp>
        <p:nvSpPr>
          <p:cNvPr id="169993" name="Rectangle 9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692488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2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877595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2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79652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2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575460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2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582473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216288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58569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62466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144933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2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522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986659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594258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65841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214595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11901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3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79015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3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36044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974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5973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6939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9923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4714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3485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1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637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7015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115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01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1745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4129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3552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pPr algn="l"/>
              <a:t>25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0692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9504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41509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561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2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099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8164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0838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982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25568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712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7960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24951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38380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9203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19301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3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410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37071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6179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7268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41298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7639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56106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40332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02901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5017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68158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4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198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74990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33218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77003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09736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80392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5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13446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51756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94275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29853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33164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580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1071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9697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029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9855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82265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84736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35104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04626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6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514057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6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04463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6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350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75290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7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74332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71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49697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24977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41095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44400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4116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19656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7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345441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7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9333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573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272425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508938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9550" y="531813"/>
            <a:ext cx="4735513" cy="2663825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ea typeface="Geneva" pitchFamily="-1" charset="0"/>
              <a:cs typeface="Geneva" pitchFamily="-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833738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9550" y="531813"/>
            <a:ext cx="4735513" cy="2663825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>
              <a:ea typeface="Geneva" pitchFamily="-1" charset="0"/>
              <a:cs typeface="Geneva" pitchFamily="-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416165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21528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746197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5096049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90461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5513" cy="2663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40089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601405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8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399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64055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0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747174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03463" y="306388"/>
            <a:ext cx="5627687" cy="31654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164264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2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619757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3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329552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4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30593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5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89145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6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744235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7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737955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8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056629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5BBCCF6-F8A8-4C49-BF3D-CA1AA74CA975}" type="slidenum">
              <a:rPr lang="en-US" sz="900" smtClean="0">
                <a:cs typeface="Arial" panose="020B0604020202020204" pitchFamily="34" charset="0"/>
              </a:rPr>
              <a:pPr algn="l"/>
              <a:t>99</a:t>
            </a:fld>
            <a:endParaRPr lang="en-US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710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551D1851-8423-44F6-8645-603F69E093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606140 h 6858000"/>
              <a:gd name="connsiteX4" fmla="*/ 550863 w 12191999"/>
              <a:gd name="connsiteY4" fmla="*/ 4617132 h 6858000"/>
              <a:gd name="connsiteX5" fmla="*/ 550863 w 12191999"/>
              <a:gd name="connsiteY5" fmla="*/ 4725208 h 6858000"/>
              <a:gd name="connsiteX6" fmla="*/ 550863 w 12191999"/>
              <a:gd name="connsiteY6" fmla="*/ 4869120 h 6858000"/>
              <a:gd name="connsiteX7" fmla="*/ 550863 w 12191999"/>
              <a:gd name="connsiteY7" fmla="*/ 4977132 h 6858000"/>
              <a:gd name="connsiteX8" fmla="*/ 550863 w 12191999"/>
              <a:gd name="connsiteY8" fmla="*/ 5085208 h 6858000"/>
              <a:gd name="connsiteX9" fmla="*/ 4151784 w 12191999"/>
              <a:gd name="connsiteY9" fmla="*/ 5085208 h 6858000"/>
              <a:gd name="connsiteX10" fmla="*/ 4151784 w 12191999"/>
              <a:gd name="connsiteY10" fmla="*/ 4977132 h 6858000"/>
              <a:gd name="connsiteX11" fmla="*/ 4151784 w 12191999"/>
              <a:gd name="connsiteY11" fmla="*/ 4869120 h 6858000"/>
              <a:gd name="connsiteX12" fmla="*/ 4151784 w 12191999"/>
              <a:gd name="connsiteY12" fmla="*/ 4725208 h 6858000"/>
              <a:gd name="connsiteX13" fmla="*/ 4151784 w 12191999"/>
              <a:gd name="connsiteY13" fmla="*/ 4617132 h 6858000"/>
              <a:gd name="connsiteX14" fmla="*/ 4151784 w 12191999"/>
              <a:gd name="connsiteY14" fmla="*/ 4606140 h 6858000"/>
              <a:gd name="connsiteX15" fmla="*/ 4151784 w 12191999"/>
              <a:gd name="connsiteY15" fmla="*/ 4509120 h 6858000"/>
              <a:gd name="connsiteX16" fmla="*/ 4151784 w 12191999"/>
              <a:gd name="connsiteY16" fmla="*/ 0 h 6858000"/>
              <a:gd name="connsiteX17" fmla="*/ 4330863 w 12191999"/>
              <a:gd name="connsiteY17" fmla="*/ 0 h 6858000"/>
              <a:gd name="connsiteX18" fmla="*/ 4547828 w 12191999"/>
              <a:gd name="connsiteY18" fmla="*/ 0 h 6858000"/>
              <a:gd name="connsiteX19" fmla="*/ 12191999 w 12191999"/>
              <a:gd name="connsiteY19" fmla="*/ 0 h 6858000"/>
              <a:gd name="connsiteX20" fmla="*/ 12191999 w 12191999"/>
              <a:gd name="connsiteY20" fmla="*/ 6858000 h 6858000"/>
              <a:gd name="connsiteX21" fmla="*/ 0 w 12191999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606140"/>
                </a:lnTo>
                <a:lnTo>
                  <a:pt x="550863" y="4617132"/>
                </a:lnTo>
                <a:lnTo>
                  <a:pt x="550863" y="4725208"/>
                </a:lnTo>
                <a:lnTo>
                  <a:pt x="550863" y="4869120"/>
                </a:lnTo>
                <a:lnTo>
                  <a:pt x="550863" y="4977132"/>
                </a:lnTo>
                <a:lnTo>
                  <a:pt x="550863" y="5085208"/>
                </a:lnTo>
                <a:lnTo>
                  <a:pt x="4151784" y="5085208"/>
                </a:lnTo>
                <a:lnTo>
                  <a:pt x="4151784" y="4977132"/>
                </a:lnTo>
                <a:lnTo>
                  <a:pt x="4151784" y="4869120"/>
                </a:lnTo>
                <a:lnTo>
                  <a:pt x="4151784" y="4725208"/>
                </a:lnTo>
                <a:lnTo>
                  <a:pt x="4151784" y="4617132"/>
                </a:lnTo>
                <a:lnTo>
                  <a:pt x="4151784" y="460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306896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tabLst>
                <a:tab pos="539750" algn="l"/>
              </a:tabLst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B8E6657-82D9-4935-820B-4853D3E4091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E5B9212E-CC80-4F0C-8B38-B034D7B4D967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1235A4D-A2DD-4370-8FC0-750738F672A2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16="http://schemas.microsoft.com/office/drawing/2014/main" xmlns:p14="http://schemas.microsoft.com/office/powerpoint/2010/main" xmlns:p15="http://schemas.microsoft.com/office/powerpoint/2012/main"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4383208"/>
            <a:ext cx="2757844" cy="342000"/>
          </a:xfrm>
          <a:prstGeom prst="rect">
            <a:avLst/>
          </a:prstGeom>
        </p:spPr>
      </p:pic>
      <p:sp>
        <p:nvSpPr>
          <p:cNvPr id="19" name="Rechteck 20">
            <a:extLst>
              <a:ext uri="{FF2B5EF4-FFF2-40B4-BE49-F238E27FC236}">
                <a16:creationId xmlns:a16="http://schemas.microsoft.com/office/drawing/2014/main" id="{9EEFE572-F828-46CA-A28C-1196B1865547}"/>
              </a:ext>
            </a:extLst>
          </p:cNvPr>
          <p:cNvSpPr/>
          <p:nvPr userDrawn="1"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868BCD0C-153E-4D1B-996E-F4B48ACD14C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88220F6A-2C25-4947-A7FB-9176464A5244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50" name="Gerader Verbinder 14">
            <a:extLst>
              <a:ext uri="{FF2B5EF4-FFF2-40B4-BE49-F238E27FC236}">
                <a16:creationId xmlns:a16="http://schemas.microsoft.com/office/drawing/2014/main" id="{33246CFF-8490-4ED3-B46B-1E37E08F8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18">
            <a:extLst>
              <a:ext uri="{FF2B5EF4-FFF2-40B4-BE49-F238E27FC236}">
                <a16:creationId xmlns:a16="http://schemas.microsoft.com/office/drawing/2014/main" id="{AECC7761-7EEA-4C3F-88F3-D248543FF858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39B2FC89-9339-429F-99FC-5403F4FD397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A6DCAE55-5F1C-4A76-AE72-D00E6C7ED37B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</p:spTree>
    <p:extLst>
      <p:ext uri="{BB962C8B-B14F-4D97-AF65-F5344CB8AC3E}">
        <p14:creationId xmlns:p14="http://schemas.microsoft.com/office/powerpoint/2010/main" val="3031695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Whit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1998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51384" y="383414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920398F-608C-4E9A-A962-C789F8CAD936}"/>
              </a:ext>
            </a:extLst>
          </p:cNvPr>
          <p:cNvSpPr/>
          <p:nvPr userDrawn="1"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EE6F541E-FDE4-4021-A5E0-92AA2FC925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ADAF01F1-7676-4B08-A6DC-CC79EC0C809C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6" name="Gerader Verbinder 12">
            <a:extLst>
              <a:ext uri="{FF2B5EF4-FFF2-40B4-BE49-F238E27FC236}">
                <a16:creationId xmlns:a16="http://schemas.microsoft.com/office/drawing/2014/main" id="{1A66BD8A-2C75-4575-A42A-E60E3F7C03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19">
            <a:extLst>
              <a:ext uri="{FF2B5EF4-FFF2-40B4-BE49-F238E27FC236}">
                <a16:creationId xmlns:a16="http://schemas.microsoft.com/office/drawing/2014/main" id="{A0B5B5B2-CF97-4B1F-A61A-4353A08B901C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15ECDA21-885A-4299-848A-AE2DACEC0E5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6033256A-F4D9-4753-AD38-A2AC20769B70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A4EB8CD-0854-492B-AC88-42251390578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6DCFA8A3-82B5-4567-AD8E-E441C34F5C5E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3988BE6-FEB8-4270-9C11-C18CF09E1365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2214148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Whit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51384" y="329408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 userDrawn="1"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FC0DA16-E980-4478-8335-C35AF5D8CE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81060731-A68A-478F-B9CC-99E3634FE75C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64EBEF6F-F3A4-4189-9F29-69A5EBA48F4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C4EA61C3-C28D-486D-842C-578F5CE3C16F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4E38E64F-8840-4BC3-A0CE-7949976A18F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A9931707-5B1B-487C-8ED1-6A4E1A69766E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54E78015-2840-4B8C-A3CB-1D7864BE01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123C9883-7B43-4B83-8414-5B524ACD8E89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58EF46B1-D4D8-4969-A0E9-61CEC0E0A434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427955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Without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320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320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slide with no descriptor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 userDrawn="1"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0" name="Graphic 1">
            <a:extLst>
              <a:ext uri="{FF2B5EF4-FFF2-40B4-BE49-F238E27FC236}">
                <a16:creationId xmlns:a16="http://schemas.microsoft.com/office/drawing/2014/main" id="{87C183A4-B489-4003-BE7D-87C657B5D0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51384" y="5967320"/>
            <a:ext cx="2757844" cy="342000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56EB98-34C0-4C77-B059-0012A5049E3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5D58A984-7945-4DBB-B4FB-1A9A5695E13D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F0519844-BBB1-4AE8-93F8-E4289065B3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D5F8EA94-1ADB-40C7-A151-1FEFFBDBEC0E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317A42EB-679F-4EF9-9374-F492B43A57A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0C37F9FF-2FC3-436D-B06A-D5E865A25271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8B42A78-E8F3-45EF-A357-474B924AC47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5646B120-5E77-4B0D-84BC-8123D8039A78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EE31B1A-3866-4A44-B2FB-58BA8FCE7B01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919700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521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11161712" cy="4393084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/>
              <a:t>14/01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908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47" userDrawn="1">
          <p15:clr>
            <a:srgbClr val="FBAE40"/>
          </p15:clr>
        </p15:guide>
        <p15:guide id="4" pos="7378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83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808"/>
            <a:ext cx="5256000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/>
              <a:t>14/01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4683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 userDrawn="1">
          <p15:clr>
            <a:srgbClr val="FBAE40"/>
          </p15:clr>
        </p15:guide>
        <p15:guide id="2" pos="4067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pos="7378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8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331311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4511675" y="1700213"/>
            <a:ext cx="3240088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9544FC9-C9D6-4239-8296-640261EE192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8C3F81-3DA9-417F-B383-C39461A27DA9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8E7BAEC6-F654-43B8-8F51-68D99B8E8B91}" type="datetime1">
              <a:rPr lang="en-GB"/>
              <a:t>14/01/2022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BB0AB1D-1530-429B-BDA2-F7D4DEFC4E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58617-66A6-4B52-A0EF-C41431BC2C1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1648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FBAE40"/>
          </p15:clr>
        </p15:guide>
        <p15:guide id="2" pos="2842" userDrawn="1">
          <p15:clr>
            <a:srgbClr val="FBAE40"/>
          </p15:clr>
        </p15:guide>
        <p15:guide id="4" pos="4883" userDrawn="1">
          <p15:clr>
            <a:srgbClr val="FBAE40"/>
          </p15:clr>
        </p15:guide>
        <p15:guide id="5" pos="5292" userDrawn="1">
          <p15:clr>
            <a:srgbClr val="FBAE40"/>
          </p15:clr>
        </p15:guide>
        <p15:guide id="6" pos="347" userDrawn="1">
          <p15:clr>
            <a:srgbClr val="FBAE40"/>
          </p15:clr>
        </p15:guide>
        <p15:guide id="7" pos="7378" userDrawn="1">
          <p15:clr>
            <a:srgbClr val="FBAE40"/>
          </p15:clr>
        </p15:guide>
        <p15:guide id="8" orient="horz" pos="107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|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820896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9409113" y="1700213"/>
            <a:ext cx="230346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B695-9309-41C3-A54D-DBADCB24CF02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FD86D325-28AB-44A5-8090-8B5681E04BF1}" type="datetime1">
              <a:rPr lang="en-GB"/>
              <a:t>14/01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5F3838-9EB3-46AA-A748-61B210B2CF0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61A24B-9F74-4760-B16B-CF31DF7EF2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962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18" userDrawn="1">
          <p15:clr>
            <a:srgbClr val="FBAE40"/>
          </p15:clr>
        </p15:guide>
        <p15:guide id="5" pos="5927" userDrawn="1">
          <p15:clr>
            <a:srgbClr val="FBAE40"/>
          </p15:clr>
        </p15:guide>
        <p15:guide id="6" pos="347" userDrawn="1">
          <p15:clr>
            <a:srgbClr val="FBAE40"/>
          </p15:clr>
        </p15:guide>
        <p15:guide id="7" pos="7378" userDrawn="1">
          <p15:clr>
            <a:srgbClr val="FBAE40"/>
          </p15:clr>
        </p15:guide>
        <p15:guide id="8" orient="horz" pos="107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14/01/2022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744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1071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/>
              <a:t>14/01/2022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orient="horz" pos="3838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pos="73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5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6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E4581962-0EC4-4E57-B916-54AF97FDFCCA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847043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2" userDrawn="1">
          <p15:clr>
            <a:srgbClr val="FBAE40"/>
          </p15:clr>
        </p15:guide>
        <p15:guide id="2" pos="3250" userDrawn="1">
          <p15:clr>
            <a:srgbClr val="FBAE40"/>
          </p15:clr>
        </p15:guide>
        <p15:guide id="3" pos="737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93">
            <a:extLst>
              <a:ext uri="{FF2B5EF4-FFF2-40B4-BE49-F238E27FC236}">
                <a16:creationId xmlns:a16="http://schemas.microsoft.com/office/drawing/2014/main" id="{B455819A-3D61-44FB-A7D1-A1E77ECB7F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536140 h 6858000"/>
              <a:gd name="connsiteX4" fmla="*/ 4151784 w 12191999"/>
              <a:gd name="connsiteY4" fmla="*/ 4536140 h 6858000"/>
              <a:gd name="connsiteX5" fmla="*/ 4151784 w 12191999"/>
              <a:gd name="connsiteY5" fmla="*/ 4509120 h 6858000"/>
              <a:gd name="connsiteX6" fmla="*/ 4151784 w 12191999"/>
              <a:gd name="connsiteY6" fmla="*/ 0 h 6858000"/>
              <a:gd name="connsiteX7" fmla="*/ 4330863 w 12191999"/>
              <a:gd name="connsiteY7" fmla="*/ 0 h 6858000"/>
              <a:gd name="connsiteX8" fmla="*/ 4547828 w 12191999"/>
              <a:gd name="connsiteY8" fmla="*/ 0 h 6858000"/>
              <a:gd name="connsiteX9" fmla="*/ 12191999 w 12191999"/>
              <a:gd name="connsiteY9" fmla="*/ 0 h 6858000"/>
              <a:gd name="connsiteX10" fmla="*/ 12191999 w 12191999"/>
              <a:gd name="connsiteY10" fmla="*/ 6858000 h 6858000"/>
              <a:gd name="connsiteX11" fmla="*/ 0 w 12191999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536140"/>
                </a:lnTo>
                <a:lnTo>
                  <a:pt x="4151784" y="453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517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911424" y="3834140"/>
            <a:ext cx="2757844" cy="342000"/>
          </a:xfrm>
          <a:prstGeom prst="rect">
            <a:avLst/>
          </a:prstGeom>
        </p:spPr>
      </p:pic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7CB1ED08-BEDD-42D9-8A43-DD6B13F347A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ACB584E6-1753-4525-BE98-BBD5BDAA5B0D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A16BD126-400D-4679-B2D1-BA92303858F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8">
            <a:extLst>
              <a:ext uri="{FF2B5EF4-FFF2-40B4-BE49-F238E27FC236}">
                <a16:creationId xmlns:a16="http://schemas.microsoft.com/office/drawing/2014/main" id="{F116D5E8-AD1B-402F-98C0-893A3EA48628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60B0DC1-1D77-4F78-9C20-4B697E687BA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AD34ED2E-8A54-454A-8224-F0FAE7DBBECA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964A7FD-1CF5-47D8-8665-1ABDD9D3466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F29A1511-B754-4E4E-8F33-023984719615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192760C-AA5A-4509-8176-4F9844E4DEBD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7D62AF86-2D36-48BC-B705-529789F83E74}"/>
              </a:ext>
            </a:extLst>
          </p:cNvPr>
          <p:cNvSpPr/>
          <p:nvPr userDrawn="1"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33478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wo Pictures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3501384"/>
            <a:ext cx="4511675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6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B3937D4-4CFC-45D2-8A4D-225125F1DFC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967826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42" userDrawn="1">
          <p15:clr>
            <a:srgbClr val="FBAE40"/>
          </p15:clr>
        </p15:guide>
        <p15:guide id="2" pos="3250" userDrawn="1">
          <p15:clr>
            <a:srgbClr val="FBAE40"/>
          </p15:clr>
        </p15:guide>
        <p15:guide id="3" pos="737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1" y="0"/>
            <a:ext cx="58074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55999" y="620736"/>
            <a:ext cx="5256575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455998" y="255981"/>
            <a:ext cx="5256576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6BEF655A-6A6E-4F01-BE72-332B71C21671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872402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 userDrawn="1">
          <p15:clr>
            <a:srgbClr val="FBAE40"/>
          </p15:clr>
        </p15:guide>
        <p15:guide id="2" pos="4067" userDrawn="1">
          <p15:clr>
            <a:srgbClr val="FBAE40"/>
          </p15:clr>
        </p15:guide>
        <p15:guide id="3" pos="737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7751764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01051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401050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AE4D5920-C7CF-4106-B99D-D9166440C0EA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614877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pos="5292" userDrawn="1">
          <p15:clr>
            <a:srgbClr val="FBAE40"/>
          </p15:clr>
        </p15:guide>
        <p15:guide id="3" pos="737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64917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20" name="Medienplatzhalter 10">
            <a:extLst>
              <a:ext uri="{FF2B5EF4-FFF2-40B4-BE49-F238E27FC236}">
                <a16:creationId xmlns:a16="http://schemas.microsoft.com/office/drawing/2014/main" id="{3B93AEA6-84FE-4845-9865-CC0E25C674A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58469D32-81D6-4056-A82D-4A0354528E48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1443B-2724-462F-B38C-8C201848BC2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14/01/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B939CC-E2CA-470B-A1A9-B7B51056D65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D95066-DE61-4C95-9830-58249D68E0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76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3" pos="4475" userDrawn="1">
          <p15:clr>
            <a:srgbClr val="FBAE40"/>
          </p15:clr>
        </p15:guide>
        <p15:guide id="4" pos="347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83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wo Pictures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751762" y="3501384"/>
            <a:ext cx="4440237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40237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2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16186E1-4BE3-4668-A421-03B03529ED88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1809D4F8-81B8-4E9E-800B-ED091A164DCA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FE9B53-7631-40D1-A6B9-2DCB7C62500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BF76663-E215-40A1-B199-579C8AB47B20}" type="datetime1">
              <a:rPr lang="en-GB"/>
              <a:t>14/01/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ACD66D-BFC0-403A-ADC9-0513FF25E16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78FF61-BE26-4516-B08B-CA3B4CBDE5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687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pos="4475" userDrawn="1">
          <p15:clr>
            <a:srgbClr val="FBAE40"/>
          </p15:clr>
        </p15:guide>
        <p15:guide id="3" orient="horz" pos="1071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pos="34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456041" y="0"/>
            <a:ext cx="573596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5256573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4" y="1700213"/>
            <a:ext cx="5257096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525657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3" name="Medienplatzhalter 10">
            <a:extLst>
              <a:ext uri="{FF2B5EF4-FFF2-40B4-BE49-F238E27FC236}">
                <a16:creationId xmlns:a16="http://schemas.microsoft.com/office/drawing/2014/main" id="{E2A54F6B-7A43-444C-B9EC-A0AF8965DB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9FA071D6-560B-483D-A95A-8FCE1D91A4A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EA5576-7AEF-4A2B-AA83-9F5081D611C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14/01/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AE47AB-C356-4E00-97CB-AB9CF1FAC36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3924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16A8CD-2AB7-40DF-8C33-1BB905AC76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6128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 userDrawn="1">
          <p15:clr>
            <a:srgbClr val="FBAE40"/>
          </p15:clr>
        </p15:guide>
        <p15:guide id="2" pos="4067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11675" y="0"/>
            <a:ext cx="76803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131C9908-645F-4008-B1A2-B73C354BA9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3" name="Rechteck 20">
            <a:extLst>
              <a:ext uri="{FF2B5EF4-FFF2-40B4-BE49-F238E27FC236}">
                <a16:creationId xmlns:a16="http://schemas.microsoft.com/office/drawing/2014/main" id="{D0E92D42-F5CE-4E09-85CD-1214570EB4C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4BC8F1-A1FF-4CC2-9008-51296BFBC0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/>
              <a:t>14/01/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166D36-23B6-42C4-9D19-790AB5B0332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16066D-FFDD-411C-8DE8-7C323232377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891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FBAE40"/>
          </p15:clr>
        </p15:guide>
        <p15:guide id="2" pos="2842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| Short Text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A4A7721-E96E-4225-91CC-3D91E9FEE0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7" name="Medienplatzhalter 10">
            <a:extLst>
              <a:ext uri="{FF2B5EF4-FFF2-40B4-BE49-F238E27FC236}">
                <a16:creationId xmlns:a16="http://schemas.microsoft.com/office/drawing/2014/main" id="{159801EE-1306-4BBD-B863-DD9BDE2F2ED3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0927972-9274-47DB-8AF3-0166BBB9007D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056288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| Short Text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2E9145B-146A-4E92-A5DD-2AF8660E1E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3B261380-B4CD-433F-B472-327FDA58049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E2E1B5B3-F0AF-44E3-93F3-81F6532334D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01961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4" name="Medienplatzhalter 10">
            <a:extLst>
              <a:ext uri="{FF2B5EF4-FFF2-40B4-BE49-F238E27FC236}">
                <a16:creationId xmlns:a16="http://schemas.microsoft.com/office/drawing/2014/main" id="{CF2D8C8F-0BC8-4716-BC12-CB5F5BDD8B5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6" name="Rechteck 20">
            <a:extLst>
              <a:ext uri="{FF2B5EF4-FFF2-40B4-BE49-F238E27FC236}">
                <a16:creationId xmlns:a16="http://schemas.microsoft.com/office/drawing/2014/main" id="{9BF320BE-03E1-4CF3-999B-8CEB910750D8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78225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93">
            <a:extLst>
              <a:ext uri="{FF2B5EF4-FFF2-40B4-BE49-F238E27FC236}">
                <a16:creationId xmlns:a16="http://schemas.microsoft.com/office/drawing/2014/main" id="{C2E74470-3CAC-4F1B-B535-131CDA56A6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996080 h 6858000"/>
              <a:gd name="connsiteX3" fmla="*/ 4151784 w 12191999"/>
              <a:gd name="connsiteY3" fmla="*/ 3996080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996080"/>
                </a:lnTo>
                <a:lnTo>
                  <a:pt x="4151784" y="399608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911424" y="3294080"/>
            <a:ext cx="2757844" cy="342000"/>
          </a:xfrm>
          <a:prstGeom prst="rect">
            <a:avLst/>
          </a:prstGeom>
        </p:spPr>
      </p:pic>
      <p:cxnSp>
        <p:nvCxnSpPr>
          <p:cNvPr id="40" name="Gerader Verbinder 14">
            <a:extLst>
              <a:ext uri="{FF2B5EF4-FFF2-40B4-BE49-F238E27FC236}">
                <a16:creationId xmlns:a16="http://schemas.microsoft.com/office/drawing/2014/main" id="{36DF816C-E893-4E38-9231-BB4A1CF3CD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8">
            <a:extLst>
              <a:ext uri="{FF2B5EF4-FFF2-40B4-BE49-F238E27FC236}">
                <a16:creationId xmlns:a16="http://schemas.microsoft.com/office/drawing/2014/main" id="{A001AB83-C409-4957-B7BE-4B1DDE801A1E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0" name="Gerader Verbinder 12">
            <a:extLst>
              <a:ext uri="{FF2B5EF4-FFF2-40B4-BE49-F238E27FC236}">
                <a16:creationId xmlns:a16="http://schemas.microsoft.com/office/drawing/2014/main" id="{2D6B89C2-0923-4257-B003-8ED88D5ED87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6E70A3C7-44D7-4EF0-96AA-D2D0BB919D38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3DD9DD0-1FAC-4F69-9675-E7CD9DB96F1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D85147A-8C79-4832-920E-DB1A9D524EF6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10DEA9E5-CDAD-4701-AC20-EB448B865A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FC0FBE69-4238-4948-9203-DDC000494C41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5A6E938-6CFC-468F-A18A-72B5B52645AC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8" name="Rechteck 20">
            <a:extLst>
              <a:ext uri="{FF2B5EF4-FFF2-40B4-BE49-F238E27FC236}">
                <a16:creationId xmlns:a16="http://schemas.microsoft.com/office/drawing/2014/main" id="{ECEDC10B-9586-47AB-AAE0-3C2E8C1A1CE1}"/>
              </a:ext>
            </a:extLst>
          </p:cNvPr>
          <p:cNvSpPr/>
          <p:nvPr userDrawn="1"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293935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0B2A4C7F-6EAA-4CCD-A310-B0B6BFB647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5" name="Rechteck 20">
            <a:extLst>
              <a:ext uri="{FF2B5EF4-FFF2-40B4-BE49-F238E27FC236}">
                <a16:creationId xmlns:a16="http://schemas.microsoft.com/office/drawing/2014/main" id="{3D9AC2EB-D272-43C7-B720-BC16972BDDA8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882383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107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ovi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336EFCCF-A188-4EDC-8574-E1D11462BEAC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330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orient="horz" pos="3838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pos="737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Movi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DF8247B5-BE22-49C6-9B3B-1353DC41CA2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8904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1071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5D8B497D-2AA9-46F4-826E-2F17BBA66348}"/>
              </a:ext>
            </a:extLst>
          </p:cNvPr>
          <p:cNvSpPr/>
          <p:nvPr userDrawn="1"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5339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5" pos="3659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34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Grey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1A0C0E0B-E95F-4F6F-8CE2-A7B037F99579}"/>
              </a:ext>
            </a:extLst>
          </p:cNvPr>
          <p:cNvSpPr/>
          <p:nvPr userDrawn="1"/>
        </p:nvSpPr>
        <p:spPr bwMode="gray">
          <a:xfrm>
            <a:off x="550863" y="1664804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394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pos="3659" userDrawn="1">
          <p15:clr>
            <a:srgbClr val="FBAE40"/>
          </p15:clr>
        </p15:guide>
        <p15:guide id="6" orient="horz" pos="34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32">
            <a:extLst>
              <a:ext uri="{FF2B5EF4-FFF2-40B4-BE49-F238E27FC236}">
                <a16:creationId xmlns:a16="http://schemas.microsoft.com/office/drawing/2014/main" id="{931A4AC6-21C7-497E-99BE-27B737BFA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2DD2473A-068F-4124-B2A1-D0D36BCA6D3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06245D7B-5B26-4314-A2A3-CF5C7ECD407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AA9CA24C-FC5E-4E75-91C0-E002F436C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CDA8AE58-66A8-4EFE-B3A8-C2BCA36A0AC2}"/>
              </a:ext>
            </a:extLst>
          </p:cNvPr>
          <p:cNvSpPr/>
          <p:nvPr userDrawn="1"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9" name="Gerader Verbinder 14">
            <a:extLst>
              <a:ext uri="{FF2B5EF4-FFF2-40B4-BE49-F238E27FC236}">
                <a16:creationId xmlns:a16="http://schemas.microsoft.com/office/drawing/2014/main" id="{F2B1C722-1DAB-4049-8438-A65E1F6E8BF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8">
            <a:extLst>
              <a:ext uri="{FF2B5EF4-FFF2-40B4-BE49-F238E27FC236}">
                <a16:creationId xmlns:a16="http://schemas.microsoft.com/office/drawing/2014/main" id="{3B82A232-9965-49DC-9AF7-3C27605EB2CE}"/>
              </a:ext>
            </a:extLst>
          </p:cNvPr>
          <p:cNvSpPr/>
          <p:nvPr userDrawn="1"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21" name="Gerader Verbinder 51">
            <a:extLst>
              <a:ext uri="{FF2B5EF4-FFF2-40B4-BE49-F238E27FC236}">
                <a16:creationId xmlns:a16="http://schemas.microsoft.com/office/drawing/2014/main" id="{9A490FF3-5166-4BA7-8E94-46F43A53B6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52">
            <a:extLst>
              <a:ext uri="{FF2B5EF4-FFF2-40B4-BE49-F238E27FC236}">
                <a16:creationId xmlns:a16="http://schemas.microsoft.com/office/drawing/2014/main" id="{5F99EA79-56EC-49E4-9573-6B38AB2D6233}"/>
              </a:ext>
            </a:extLst>
          </p:cNvPr>
          <p:cNvSpPr/>
          <p:nvPr userDrawn="1"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307430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46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32">
            <a:extLst>
              <a:ext uri="{FF2B5EF4-FFF2-40B4-BE49-F238E27FC236}">
                <a16:creationId xmlns:a16="http://schemas.microsoft.com/office/drawing/2014/main" id="{D37240FD-FBB7-4CE3-AD8C-502F91504A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584" cy="1728000"/>
          </a:xfrm>
          <a:noFill/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38A6776F-3133-4A65-BF0C-43B9BF71EA5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662DC8C3-C41D-4E69-96D8-A306131505C6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9AEEC64-8B03-4196-B87F-7F808AE52F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5" name="Rechteck 16">
            <a:extLst>
              <a:ext uri="{FF2B5EF4-FFF2-40B4-BE49-F238E27FC236}">
                <a16:creationId xmlns:a16="http://schemas.microsoft.com/office/drawing/2014/main" id="{4B1C245E-AC74-45F6-A487-632D4955EE5A}"/>
              </a:ext>
            </a:extLst>
          </p:cNvPr>
          <p:cNvSpPr/>
          <p:nvPr userDrawn="1"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C391F2E5-3062-4B7C-BBCC-FF86A9C1989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EF7E0480-4BAC-45C0-AD22-D0AA76A329C6}"/>
              </a:ext>
            </a:extLst>
          </p:cNvPr>
          <p:cNvSpPr/>
          <p:nvPr userDrawn="1"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19" name="Gerader Verbinder 51">
            <a:extLst>
              <a:ext uri="{FF2B5EF4-FFF2-40B4-BE49-F238E27FC236}">
                <a16:creationId xmlns:a16="http://schemas.microsoft.com/office/drawing/2014/main" id="{DFB94555-EDB4-48D5-B57F-3CBA1154CD1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52">
            <a:extLst>
              <a:ext uri="{FF2B5EF4-FFF2-40B4-BE49-F238E27FC236}">
                <a16:creationId xmlns:a16="http://schemas.microsoft.com/office/drawing/2014/main" id="{B4B69D30-91CE-4E20-8C12-BAD411CF22BE}"/>
              </a:ext>
            </a:extLst>
          </p:cNvPr>
          <p:cNvSpPr/>
          <p:nvPr userDrawn="1"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3474666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 userDrawn="1">
          <p15:clr>
            <a:srgbClr val="FBAE40"/>
          </p15:clr>
        </p15:guide>
        <p15:guide id="2" orient="horz" pos="346" userDrawn="1">
          <p15:clr>
            <a:srgbClr val="FBAE40"/>
          </p15:clr>
        </p15:guide>
        <p15:guide id="3" pos="347" userDrawn="1">
          <p15:clr>
            <a:srgbClr val="FBAE40"/>
          </p15:clr>
        </p15:guide>
        <p15:guide id="4" pos="73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Colour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C6FB3DFA-F6FA-4953-BD01-21454D52DC26}"/>
              </a:ext>
            </a:extLst>
          </p:cNvPr>
          <p:cNvSpPr/>
          <p:nvPr userDrawn="1"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3573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000000"/>
          </p15:clr>
        </p15:guide>
        <p15:guide id="3" orient="horz" pos="346" userDrawn="1">
          <p15:clr>
            <a:srgbClr val="000000"/>
          </p15:clr>
        </p15:guide>
        <p15:guide id="4" orient="horz" pos="3838" userDrawn="1">
          <p15:clr>
            <a:srgbClr val="000000"/>
          </p15:clr>
        </p15:guide>
        <p15:guide id="5" pos="3659" userDrawn="1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| Colour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E89B7075-87E7-454A-9458-E2B4218E35F4}"/>
              </a:ext>
            </a:extLst>
          </p:cNvPr>
          <p:cNvSpPr/>
          <p:nvPr userDrawn="1"/>
        </p:nvSpPr>
        <p:spPr bwMode="gray">
          <a:xfrm>
            <a:off x="550863" y="1655288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86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000000"/>
          </p15:clr>
        </p15:guide>
        <p15:guide id="3" orient="horz" pos="346" userDrawn="1">
          <p15:clr>
            <a:srgbClr val="000000"/>
          </p15:clr>
        </p15:guide>
        <p15:guide id="4" orient="horz" pos="3838" userDrawn="1">
          <p15:clr>
            <a:srgbClr val="000000"/>
          </p15:clr>
        </p15:guide>
        <p15:guide id="5" pos="3659" userDrawn="1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| Bar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14/01/2022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9AD6FB-CCF0-4AFA-98AC-63E6B6C0339B}"/>
              </a:ext>
            </a:extLst>
          </p:cNvPr>
          <p:cNvSpPr/>
          <p:nvPr userDrawn="1"/>
        </p:nvSpPr>
        <p:spPr bwMode="gray">
          <a:xfrm>
            <a:off x="550863" y="1091094"/>
            <a:ext cx="504000" cy="468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3723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000000"/>
          </p15:clr>
        </p15:guide>
        <p15:guide id="2" pos="7378" userDrawn="1">
          <p15:clr>
            <a:srgbClr val="000000"/>
          </p15:clr>
        </p15:guide>
        <p15:guide id="3" orient="horz" pos="1071" userDrawn="1">
          <p15:clr>
            <a:srgbClr val="000000"/>
          </p15:clr>
        </p15:guide>
        <p15:guide id="4" orient="horz" pos="383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D02B3C34-98AF-4178-BE4A-5F1061773E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455996 h 6858000"/>
              <a:gd name="connsiteX3" fmla="*/ 4151784 w 12191999"/>
              <a:gd name="connsiteY3" fmla="*/ 3455996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455996"/>
                </a:lnTo>
                <a:lnTo>
                  <a:pt x="4151784" y="3455996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AB9713DC-5CAF-411B-B206-47E9095CDD0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EF82307-893F-4B19-88D7-16DD90AF1835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911424" y="2754020"/>
            <a:ext cx="2757844" cy="342000"/>
          </a:xfrm>
          <a:prstGeom prst="rect">
            <a:avLst/>
          </a:prstGeom>
        </p:spPr>
      </p:pic>
      <p:cxnSp>
        <p:nvCxnSpPr>
          <p:cNvPr id="33" name="Gerader Verbinder 12">
            <a:extLst>
              <a:ext uri="{FF2B5EF4-FFF2-40B4-BE49-F238E27FC236}">
                <a16:creationId xmlns:a16="http://schemas.microsoft.com/office/drawing/2014/main" id="{C62FEED5-0BAB-4A1B-AFFE-97DE4E39538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9">
            <a:extLst>
              <a:ext uri="{FF2B5EF4-FFF2-40B4-BE49-F238E27FC236}">
                <a16:creationId xmlns:a16="http://schemas.microsoft.com/office/drawing/2014/main" id="{79FADC43-CC12-4097-AB8E-FC3AB8F1FF44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536F5DE-2DFC-4C6F-8D08-1C02B1AC308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81098D61-C7A0-4E56-BB07-9F398C56EF7D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D93BEB48-A938-4D66-A8C6-40CFA5254E7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1925B2AD-614C-41D5-831C-A7F24C529462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7C045B1-DDF2-4AF2-832A-F70A4D64D11B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6DC03926-5CC6-4581-99F3-D2C83A8DF0E5}"/>
              </a:ext>
            </a:extLst>
          </p:cNvPr>
          <p:cNvSpPr/>
          <p:nvPr userDrawn="1"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518984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14/01/2022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968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000000"/>
          </p15:clr>
        </p15:guide>
        <p15:guide id="2" pos="7378" userDrawn="1">
          <p15:clr>
            <a:srgbClr val="000000"/>
          </p15:clr>
        </p15:guide>
        <p15:guide id="3" orient="horz" pos="1071" userDrawn="1">
          <p15:clr>
            <a:srgbClr val="000000"/>
          </p15:clr>
        </p15:guide>
        <p15:guide id="4" orient="horz" pos="3838" userDrawn="1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/>
              <a:t>14/01/2022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74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000000"/>
          </p15:clr>
        </p15:guide>
        <p15:guide id="2" orient="horz" pos="3838" userDrawn="1">
          <p15:clr>
            <a:srgbClr val="000000"/>
          </p15:clr>
        </p15:guide>
        <p15:guide id="3" pos="347" userDrawn="1">
          <p15:clr>
            <a:srgbClr val="000000"/>
          </p15:clr>
        </p15:guide>
        <p15:guide id="4" pos="7378" userDrawn="1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Grey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01108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37" name="Gerader Verbinder 11">
            <a:extLst>
              <a:ext uri="{FF2B5EF4-FFF2-40B4-BE49-F238E27FC236}">
                <a16:creationId xmlns:a16="http://schemas.microsoft.com/office/drawing/2014/main" id="{54518DD7-5188-4639-ABA9-1CB135476C8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20">
            <a:extLst>
              <a:ext uri="{FF2B5EF4-FFF2-40B4-BE49-F238E27FC236}">
                <a16:creationId xmlns:a16="http://schemas.microsoft.com/office/drawing/2014/main" id="{D52ECA51-BBCB-431E-A9C8-81956E9EE5C6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FA8CEE6-D75D-4E5F-BFAF-3992FD2FD66E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22" name="Gerader Verbinder 12">
            <a:extLst>
              <a:ext uri="{FF2B5EF4-FFF2-40B4-BE49-F238E27FC236}">
                <a16:creationId xmlns:a16="http://schemas.microsoft.com/office/drawing/2014/main" id="{0500CCA0-4BAC-4D17-914B-E45A7BC0575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9">
            <a:extLst>
              <a:ext uri="{FF2B5EF4-FFF2-40B4-BE49-F238E27FC236}">
                <a16:creationId xmlns:a16="http://schemas.microsoft.com/office/drawing/2014/main" id="{C77F2614-11CB-4382-BB63-7B25DFC6D6A8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24" name="Gerader Verbinder 14">
            <a:extLst>
              <a:ext uri="{FF2B5EF4-FFF2-40B4-BE49-F238E27FC236}">
                <a16:creationId xmlns:a16="http://schemas.microsoft.com/office/drawing/2014/main" id="{EEC6ED3B-CE86-4E41-9CA0-3DAA4D0C932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8">
            <a:extLst>
              <a:ext uri="{FF2B5EF4-FFF2-40B4-BE49-F238E27FC236}">
                <a16:creationId xmlns:a16="http://schemas.microsoft.com/office/drawing/2014/main" id="{0779153E-3D2C-4D55-979B-A86ADC01F599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6" name="Gerader Verbinder 15">
            <a:extLst>
              <a:ext uri="{FF2B5EF4-FFF2-40B4-BE49-F238E27FC236}">
                <a16:creationId xmlns:a16="http://schemas.microsoft.com/office/drawing/2014/main" id="{4D121577-8C95-4822-BA32-EC7DB7A12DC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529ABFC4-9C9F-435D-8E20-75A3B090203B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</p:spTree>
    <p:extLst>
      <p:ext uri="{BB962C8B-B14F-4D97-AF65-F5344CB8AC3E}">
        <p14:creationId xmlns:p14="http://schemas.microsoft.com/office/powerpoint/2010/main" val="1372027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Grey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573016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79389F0F-D5AC-4756-88BD-8F6242B3A7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03DF64FA-B545-4817-BB6E-8653C860BFD1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17" name="Gerader Verbinder 14">
            <a:extLst>
              <a:ext uri="{FF2B5EF4-FFF2-40B4-BE49-F238E27FC236}">
                <a16:creationId xmlns:a16="http://schemas.microsoft.com/office/drawing/2014/main" id="{FC9ECC6D-B2E8-49D3-8A06-BE4D2726BA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4CE8007E-0B72-418C-B9AD-2282D5EEDF06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6948092-1FC7-4A80-BD2B-3970AA6EE4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57680B6C-0103-4BC7-8EDA-1524F4AD5460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76B7E60-1EA1-4338-96FB-5D1E398DECA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863F49C-62EC-4576-8B01-799556079CA9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56E060-4430-4117-A0F9-2CCB555FA185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61338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 userDrawn="1"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60" y="2744924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52" name="Gerader Verbinder 14">
            <a:extLst>
              <a:ext uri="{FF2B5EF4-FFF2-40B4-BE49-F238E27FC236}">
                <a16:creationId xmlns:a16="http://schemas.microsoft.com/office/drawing/2014/main" id="{4FF9C5F9-E62C-467F-B2E7-A027CD8299A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18">
            <a:extLst>
              <a:ext uri="{FF2B5EF4-FFF2-40B4-BE49-F238E27FC236}">
                <a16:creationId xmlns:a16="http://schemas.microsoft.com/office/drawing/2014/main" id="{DEAA44B2-2267-45F7-A03F-CAA98D1B33E5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4" name="Gerader Verbinder 15">
            <a:extLst>
              <a:ext uri="{FF2B5EF4-FFF2-40B4-BE49-F238E27FC236}">
                <a16:creationId xmlns:a16="http://schemas.microsoft.com/office/drawing/2014/main" id="{805E448C-6AFC-4B3B-BCA6-9383AAACB86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7">
            <a:extLst>
              <a:ext uri="{FF2B5EF4-FFF2-40B4-BE49-F238E27FC236}">
                <a16:creationId xmlns:a16="http://schemas.microsoft.com/office/drawing/2014/main" id="{389B3694-72E9-4C32-9BD3-CCB0247CF6D0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6" name="Gerader Verbinder 11">
            <a:extLst>
              <a:ext uri="{FF2B5EF4-FFF2-40B4-BE49-F238E27FC236}">
                <a16:creationId xmlns:a16="http://schemas.microsoft.com/office/drawing/2014/main" id="{BAC477BD-E5D8-4CF2-A698-779DF69ACCA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0">
            <a:extLst>
              <a:ext uri="{FF2B5EF4-FFF2-40B4-BE49-F238E27FC236}">
                <a16:creationId xmlns:a16="http://schemas.microsoft.com/office/drawing/2014/main" id="{440B3356-4E07-4503-BD13-6F6DBAD217CB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8" name="Gerader Verbinder 12">
            <a:extLst>
              <a:ext uri="{FF2B5EF4-FFF2-40B4-BE49-F238E27FC236}">
                <a16:creationId xmlns:a16="http://schemas.microsoft.com/office/drawing/2014/main" id="{F698C8B9-EE6D-42DD-AF82-83201A6071B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19">
            <a:extLst>
              <a:ext uri="{FF2B5EF4-FFF2-40B4-BE49-F238E27FC236}">
                <a16:creationId xmlns:a16="http://schemas.microsoft.com/office/drawing/2014/main" id="{8CEA59C0-F681-400B-9296-9F801BAFA679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14F6485-4E17-414F-9FB2-44C203B47FE9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1226316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  <p15:guide id="3" pos="7174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Posi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1570059F-7F12-405F-8FDF-46BA4608EC9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5E55A513-2CB8-4835-86F3-30D79EFF51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08F6906A-BE5F-470A-9223-55F1ED0E50FF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330352E-697B-4E99-AFAE-5BA6154BF0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E6199D89-2BB3-4380-8029-27F74B98A9A0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64B8AB36-E37A-4227-A768-FEB35339C6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7E910D7C-1F8C-4AAA-8F05-D5514E13AD89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EBFB88B7-040D-4F4B-8501-1F129D2CC98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3FE9A710-F07E-4D08-BFDB-B7972C139833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6E60700-659C-4E7C-8CC8-7365EAD3A95B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9C8DCB17-9775-4A4A-912E-BE35DA87212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84189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Posi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52" y="3609020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B2AD923-4F75-43F3-982B-08C76FF86C0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A59DFA89-244B-4539-ADD4-39EA971CDAA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F132613A-60A9-4273-A44B-5E3546595E3D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0DABC18-AAC4-4B0B-A4B7-E01D799A369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BE3BE41-A601-4905-81AC-A4702FCE298D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CC150D5-D2C5-4516-B221-82DA8CBFEA5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C8E37A-AFCF-4F8A-A9B2-A0467B1EA00B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5CF5F2EA-A6F5-4780-B773-1E1AC802A9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86175ACF-42C4-4254-88F6-91082CAA0685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35F6154-E29E-4CAE-A057-3F9201F9482E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85639148-8845-417F-A935-378ABD1F1CB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791997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Posi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81693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C8D9BBC3-DF1E-4301-B052-080ECEAD932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9FEA1639-35B4-4B7D-A7FA-8CEDCE8768A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AB63D3C-9F84-48C2-8943-EF3D14425375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6F1ABBE-7E7D-4151-A7F2-A8D7CED4946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67C48D8-28D2-4956-83F5-EDFBF3C47B9B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EBBAC2E-778A-4EE2-81DC-0BBDE1F7D04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B14970C9-0317-4A5B-964C-F311BEAE9ADC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2F377406-C7CD-46D7-9C97-51A6E39175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56C6A31A-5099-4588-9EB3-DA71F76557DE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B2A308-9ED7-450A-B4E1-7691227D3728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336E5F7-8AA0-4A5B-AEA0-15A9C92CA45C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173978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  <p15:guide id="3" pos="7174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Nega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E8F13117-B162-439B-B0F2-ED762123510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D447D365-01A0-4B34-A795-EE11A730A21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609FA97B-005D-4B2C-9CCD-FCBB6EA1397D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F5F2D8D-2320-4E2D-AA9F-6FDF8EFD201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ACFA7067-3EA5-4152-A67E-D3267BEAF46A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C5ECB209-0A9E-4223-BFDE-0F90BFBCEA6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F859C506-B766-42AF-B924-1C8E1CC48E88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C6C1B001-7368-4F8E-B694-A884C92503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6E2E3EBE-5542-4662-96B8-DBF85AE6C0A5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DC3A66A-1691-42AC-9220-54B6F00CECAE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1ECA9BFE-C313-4ACF-A05E-AA5FCC4442A6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589463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Nega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8" name="Medienplatzhalter 10">
            <a:extLst>
              <a:ext uri="{FF2B5EF4-FFF2-40B4-BE49-F238E27FC236}">
                <a16:creationId xmlns:a16="http://schemas.microsoft.com/office/drawing/2014/main" id="{3151BE65-66F1-438E-A22D-36C5F133FAA7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609020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10652B1F-7576-421B-8410-1B98586C5D1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7AED11FE-83C5-4F4B-AC39-17392EF30840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B80C75D-836E-4B70-8C8F-56B9CAC1412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BE4A474D-AB4A-47AE-A53F-82566ECFDEC8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80DD69D8-2BE6-409D-81C1-F253A10D1F1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B5E249-208C-40B1-BF2C-44E49845B894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1D26CDD2-E64E-4486-8177-18759F6D464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BE07AD09-9E16-48E8-BCA3-67B0F58E6634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29B836-0EDF-4B91-8DDE-85E21C6B53E2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C868179-3A13-4B04-B53C-14D0CE80DF09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237033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pos="7174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igh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803CB24-2B37-451B-A162-63984F0EBC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501588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5085184 h 6858000"/>
              <a:gd name="connsiteX8" fmla="*/ 11712574 w 12191999"/>
              <a:gd name="connsiteY8" fmla="*/ 508518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80526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5015880" y="0"/>
                </a:lnTo>
                <a:lnTo>
                  <a:pt x="8112222" y="0"/>
                </a:lnTo>
                <a:lnTo>
                  <a:pt x="8112222" y="5085184"/>
                </a:lnTo>
                <a:lnTo>
                  <a:pt x="11712574" y="508518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80526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66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62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6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8472664" y="4383208"/>
            <a:ext cx="2757844" cy="342000"/>
          </a:xfrm>
          <a:prstGeom prst="rect">
            <a:avLst/>
          </a:prstGeom>
        </p:spPr>
      </p:pic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44A21EE-495A-4218-8900-A12F32107E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EC4A95F7-8081-40C8-8AC5-5C33B7115462}"/>
              </a:ext>
            </a:extLst>
          </p:cNvPr>
          <p:cNvSpPr/>
          <p:nvPr userDrawn="1"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DD2DD7B1-C9BA-41C8-A166-B05C33FACA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F907A6A5-135D-486F-8CD8-AD007F53933E}"/>
              </a:ext>
            </a:extLst>
          </p:cNvPr>
          <p:cNvSpPr/>
          <p:nvPr userDrawn="1"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14">
            <a:extLst>
              <a:ext uri="{FF2B5EF4-FFF2-40B4-BE49-F238E27FC236}">
                <a16:creationId xmlns:a16="http://schemas.microsoft.com/office/drawing/2014/main" id="{BD993748-350A-4B3A-8994-1F6830086FA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18">
            <a:extLst>
              <a:ext uri="{FF2B5EF4-FFF2-40B4-BE49-F238E27FC236}">
                <a16:creationId xmlns:a16="http://schemas.microsoft.com/office/drawing/2014/main" id="{E1062A76-42FE-40EC-975C-6F2C550381BD}"/>
              </a:ext>
            </a:extLst>
          </p:cNvPr>
          <p:cNvSpPr/>
          <p:nvPr userDrawn="1"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CC8B3A37-4532-42DF-997A-0335B9BF0F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32FA1A8-3D2B-4A19-9DE4-14F8B6EC9E62}"/>
              </a:ext>
            </a:extLst>
          </p:cNvPr>
          <p:cNvSpPr/>
          <p:nvPr userDrawn="1"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058A467-BCB2-4E22-A05B-CAC47B5F6BB5}"/>
              </a:ext>
            </a:extLst>
          </p:cNvPr>
          <p:cNvSpPr/>
          <p:nvPr userDrawn="1"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9" name="Rechteck 20">
            <a:extLst>
              <a:ext uri="{FF2B5EF4-FFF2-40B4-BE49-F238E27FC236}">
                <a16:creationId xmlns:a16="http://schemas.microsoft.com/office/drawing/2014/main" id="{567636DE-0C9D-4F34-97F5-A0357B365368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445376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Picture | Nega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96BE2AE6-5073-4D8D-8DFE-21F3026B64A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79845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B0EF3392-E31D-4B54-9713-53F8A8B89E6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7193CF5-2A1F-4AC8-A008-BA67657374B4}"/>
              </a:ext>
            </a:extLst>
          </p:cNvPr>
          <p:cNvSpPr/>
          <p:nvPr userDrawn="1"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4D100638-9B28-4747-BB92-1EE18FEA25C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D1F9138D-C432-4781-931E-1D99B97F0D55}"/>
              </a:ext>
            </a:extLst>
          </p:cNvPr>
          <p:cNvSpPr/>
          <p:nvPr userDrawn="1"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01D4D36-45B6-40E2-AA6A-8BD09B0170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18D8ABF-87BC-4A97-B69E-EADD2E5C0AC7}"/>
              </a:ext>
            </a:extLst>
          </p:cNvPr>
          <p:cNvSpPr/>
          <p:nvPr userDrawn="1"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D1165561-033C-48D7-8C65-C5EC59DC54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0670AD24-09C3-41A8-ADF3-AD1244A3DBB2}"/>
              </a:ext>
            </a:extLst>
          </p:cNvPr>
          <p:cNvSpPr/>
          <p:nvPr userDrawn="1"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464F4F-9EBB-40C3-8824-B620289F2A5A}"/>
              </a:ext>
            </a:extLst>
          </p:cNvPr>
          <p:cNvSpPr/>
          <p:nvPr userDrawn="1"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57D61752-BFD4-4C77-AB0D-B45F1A14FC53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717122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  <p15:guide id="3" pos="7174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/>
              <a:t>14/01/2022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D6D4AAFF-D2B4-4DE0-8D27-37E521D656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5086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61E6179-32AE-48CF-BDF1-FE41469F28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0396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AFD7F4E-C867-4CC4-8027-BF3C87D4A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45707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40B4B7F-FA24-4155-8088-CA67C471CF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41017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822239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1071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pos="1799" userDrawn="1">
          <p15:clr>
            <a:srgbClr val="FBAE40"/>
          </p15:clr>
        </p15:guide>
        <p15:guide id="6" pos="2207" userDrawn="1">
          <p15:clr>
            <a:srgbClr val="FBAE40"/>
          </p15:clr>
        </p15:guide>
        <p15:guide id="7" pos="3659" userDrawn="1">
          <p15:clr>
            <a:srgbClr val="FBAE40"/>
          </p15:clr>
        </p15:guide>
        <p15:guide id="8" pos="4067" userDrawn="1">
          <p15:clr>
            <a:srgbClr val="FBAE40"/>
          </p15:clr>
        </p15:guide>
        <p15:guide id="9" pos="5518" userDrawn="1">
          <p15:clr>
            <a:srgbClr val="FBAE40"/>
          </p15:clr>
        </p15:guide>
        <p15:guide id="10" pos="5927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| 2 Lines | White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00A1D95-120A-4B02-AC83-C343AFADF6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00A1D95-120A-4B02-AC83-C343AFADF6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32">
            <a:extLst>
              <a:ext uri="{FF2B5EF4-FFF2-40B4-BE49-F238E27FC236}">
                <a16:creationId xmlns:a16="http://schemas.microsoft.com/office/drawing/2014/main" id="{D37240FD-FBB7-4CE3-AD8C-502F91504A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US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3" y="476672"/>
            <a:ext cx="5904979" cy="1260000"/>
          </a:xfrm>
          <a:noFill/>
        </p:spPr>
        <p:txBody>
          <a:bodyPr vert="horz" wrap="square" tIns="0" bIns="0" anchor="t" anchorCtr="0"/>
          <a:lstStyle>
            <a:lvl1pPr>
              <a:lnSpc>
                <a:spcPct val="90000"/>
              </a:lnSpc>
              <a:defRPr sz="42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38A6776F-3133-4A65-BF0C-43B9BF71EA5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8940316" y="5967320"/>
            <a:ext cx="2757600" cy="342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662DC8C3-C41D-4E69-96D8-A306131505C6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US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9AEEC64-8B03-4196-B87F-7F808AE52F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1736812"/>
            <a:ext cx="720000" cy="720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Rechteck 16">
            <a:extLst>
              <a:ext uri="{FF2B5EF4-FFF2-40B4-BE49-F238E27FC236}">
                <a16:creationId xmlns:a16="http://schemas.microsoft.com/office/drawing/2014/main" id="{CACE5BC3-4519-4205-BDCD-FF555C076DB0}"/>
              </a:ext>
            </a:extLst>
          </p:cNvPr>
          <p:cNvSpPr/>
          <p:nvPr userDrawn="1"/>
        </p:nvSpPr>
        <p:spPr bwMode="gray">
          <a:xfrm>
            <a:off x="-1932688" y="872716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22" name="Gerader Verbinder 14">
            <a:extLst>
              <a:ext uri="{FF2B5EF4-FFF2-40B4-BE49-F238E27FC236}">
                <a16:creationId xmlns:a16="http://schemas.microsoft.com/office/drawing/2014/main" id="{E9631EBF-17AB-427E-9FA9-1509733095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73684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8">
            <a:extLst>
              <a:ext uri="{FF2B5EF4-FFF2-40B4-BE49-F238E27FC236}">
                <a16:creationId xmlns:a16="http://schemas.microsoft.com/office/drawing/2014/main" id="{9BB8F163-7B11-4367-98EA-C1FE1F73CFC0}"/>
              </a:ext>
            </a:extLst>
          </p:cNvPr>
          <p:cNvSpPr/>
          <p:nvPr userDrawn="1"/>
        </p:nvSpPr>
        <p:spPr bwMode="gray">
          <a:xfrm>
            <a:off x="-1932688" y="173684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Two-line (4.70)</a:t>
            </a:r>
          </a:p>
        </p:txBody>
      </p:sp>
      <p:cxnSp>
        <p:nvCxnSpPr>
          <p:cNvPr id="24" name="Gerader Verbinder 51">
            <a:extLst>
              <a:ext uri="{FF2B5EF4-FFF2-40B4-BE49-F238E27FC236}">
                <a16:creationId xmlns:a16="http://schemas.microsoft.com/office/drawing/2014/main" id="{52CED497-2B18-45B4-BA94-B65C6471456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160748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52">
            <a:extLst>
              <a:ext uri="{FF2B5EF4-FFF2-40B4-BE49-F238E27FC236}">
                <a16:creationId xmlns:a16="http://schemas.microsoft.com/office/drawing/2014/main" id="{4ADE2757-9C7F-48CB-95C9-69D3D1B635B5}"/>
              </a:ext>
            </a:extLst>
          </p:cNvPr>
          <p:cNvSpPr/>
          <p:nvPr userDrawn="1"/>
        </p:nvSpPr>
        <p:spPr bwMode="gray">
          <a:xfrm>
            <a:off x="-1932688" y="116074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Single-line (6.30)</a:t>
            </a:r>
          </a:p>
        </p:txBody>
      </p:sp>
    </p:spTree>
    <p:extLst>
      <p:ext uri="{BB962C8B-B14F-4D97-AF65-F5344CB8AC3E}">
        <p14:creationId xmlns:p14="http://schemas.microsoft.com/office/powerpoint/2010/main" val="1457111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pos="406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| 1 Line | White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00A1D95-120A-4B02-AC83-C343AFADF6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00A1D95-120A-4B02-AC83-C343AFADF6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32">
            <a:extLst>
              <a:ext uri="{FF2B5EF4-FFF2-40B4-BE49-F238E27FC236}">
                <a16:creationId xmlns:a16="http://schemas.microsoft.com/office/drawing/2014/main" id="{D37240FD-FBB7-4CE3-AD8C-502F91504A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US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3" y="476672"/>
            <a:ext cx="5904979" cy="684076"/>
          </a:xfrm>
          <a:noFill/>
        </p:spPr>
        <p:txBody>
          <a:bodyPr vert="horz" wrap="square" tIns="0" bIns="0" anchor="t" anchorCtr="0"/>
          <a:lstStyle>
            <a:lvl1pPr>
              <a:lnSpc>
                <a:spcPct val="90000"/>
              </a:lnSpc>
              <a:defRPr sz="42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ingle-line title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38A6776F-3133-4A65-BF0C-43B9BF71EA5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8940316" y="5967320"/>
            <a:ext cx="2757600" cy="342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662DC8C3-C41D-4E69-96D8-A306131505C6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US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9AEEC64-8B03-4196-B87F-7F808AE52F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1160748"/>
            <a:ext cx="720000" cy="720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Rechteck 16">
            <a:extLst>
              <a:ext uri="{FF2B5EF4-FFF2-40B4-BE49-F238E27FC236}">
                <a16:creationId xmlns:a16="http://schemas.microsoft.com/office/drawing/2014/main" id="{CACE5BC3-4519-4205-BDCD-FF555C076DB0}"/>
              </a:ext>
            </a:extLst>
          </p:cNvPr>
          <p:cNvSpPr/>
          <p:nvPr userDrawn="1"/>
        </p:nvSpPr>
        <p:spPr bwMode="gray">
          <a:xfrm>
            <a:off x="-1932688" y="872716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22" name="Gerader Verbinder 14">
            <a:extLst>
              <a:ext uri="{FF2B5EF4-FFF2-40B4-BE49-F238E27FC236}">
                <a16:creationId xmlns:a16="http://schemas.microsoft.com/office/drawing/2014/main" id="{E9631EBF-17AB-427E-9FA9-1509733095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73684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8">
            <a:extLst>
              <a:ext uri="{FF2B5EF4-FFF2-40B4-BE49-F238E27FC236}">
                <a16:creationId xmlns:a16="http://schemas.microsoft.com/office/drawing/2014/main" id="{9BB8F163-7B11-4367-98EA-C1FE1F73CFC0}"/>
              </a:ext>
            </a:extLst>
          </p:cNvPr>
          <p:cNvSpPr/>
          <p:nvPr userDrawn="1"/>
        </p:nvSpPr>
        <p:spPr bwMode="gray">
          <a:xfrm>
            <a:off x="-1932688" y="173684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Two-line (4.70)</a:t>
            </a:r>
          </a:p>
        </p:txBody>
      </p:sp>
      <p:cxnSp>
        <p:nvCxnSpPr>
          <p:cNvPr id="24" name="Gerader Verbinder 51">
            <a:extLst>
              <a:ext uri="{FF2B5EF4-FFF2-40B4-BE49-F238E27FC236}">
                <a16:creationId xmlns:a16="http://schemas.microsoft.com/office/drawing/2014/main" id="{52CED497-2B18-45B4-BA94-B65C6471456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160748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52">
            <a:extLst>
              <a:ext uri="{FF2B5EF4-FFF2-40B4-BE49-F238E27FC236}">
                <a16:creationId xmlns:a16="http://schemas.microsoft.com/office/drawing/2014/main" id="{4ADE2757-9C7F-48CB-95C9-69D3D1B635B5}"/>
              </a:ext>
            </a:extLst>
          </p:cNvPr>
          <p:cNvSpPr/>
          <p:nvPr userDrawn="1"/>
        </p:nvSpPr>
        <p:spPr bwMode="gray">
          <a:xfrm>
            <a:off x="-1932688" y="116074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Single-line (6.30)</a:t>
            </a:r>
          </a:p>
        </p:txBody>
      </p:sp>
    </p:spTree>
    <p:extLst>
      <p:ext uri="{BB962C8B-B14F-4D97-AF65-F5344CB8AC3E}">
        <p14:creationId xmlns:p14="http://schemas.microsoft.com/office/powerpoint/2010/main" val="99970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pos="406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| 2 Lines | Black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E9CEC99-96CB-4143-915E-12E3AF173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E9CEC99-96CB-4143-915E-12E3AF173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32">
            <a:extLst>
              <a:ext uri="{FF2B5EF4-FFF2-40B4-BE49-F238E27FC236}">
                <a16:creationId xmlns:a16="http://schemas.microsoft.com/office/drawing/2014/main" id="{931A4AC6-21C7-497E-99BE-27B737BFA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US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3" y="476672"/>
            <a:ext cx="5904000" cy="1260140"/>
          </a:xfrm>
          <a:noFill/>
          <a:ln>
            <a:noFill/>
          </a:ln>
        </p:spPr>
        <p:txBody>
          <a:bodyPr vert="horz" wrap="square" tIns="0" bIns="0" anchor="t" anchorCtr="0"/>
          <a:lstStyle>
            <a:lvl1pPr>
              <a:lnSpc>
                <a:spcPct val="90000"/>
              </a:lnSpc>
              <a:defRPr sz="42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2DD2473A-068F-4124-B2A1-D0D36BCA6D3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8976320" y="5967320"/>
            <a:ext cx="2757600" cy="342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06245D7B-5B26-4314-A2A3-CF5C7ECD407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US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AA9CA24C-FC5E-4E75-91C0-E002F436C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1736812"/>
            <a:ext cx="720000" cy="720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CDA8AE58-66A8-4EFE-B3A8-C2BCA36A0AC2}"/>
              </a:ext>
            </a:extLst>
          </p:cNvPr>
          <p:cNvSpPr/>
          <p:nvPr userDrawn="1"/>
        </p:nvSpPr>
        <p:spPr bwMode="gray">
          <a:xfrm>
            <a:off x="-1932688" y="872716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9" name="Gerader Verbinder 14">
            <a:extLst>
              <a:ext uri="{FF2B5EF4-FFF2-40B4-BE49-F238E27FC236}">
                <a16:creationId xmlns:a16="http://schemas.microsoft.com/office/drawing/2014/main" id="{F2B1C722-1DAB-4049-8438-A65E1F6E8BF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73684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8">
            <a:extLst>
              <a:ext uri="{FF2B5EF4-FFF2-40B4-BE49-F238E27FC236}">
                <a16:creationId xmlns:a16="http://schemas.microsoft.com/office/drawing/2014/main" id="{3B82A232-9965-49DC-9AF7-3C27605EB2CE}"/>
              </a:ext>
            </a:extLst>
          </p:cNvPr>
          <p:cNvSpPr/>
          <p:nvPr userDrawn="1"/>
        </p:nvSpPr>
        <p:spPr bwMode="gray">
          <a:xfrm>
            <a:off x="-1932688" y="173684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Two-line (4.70)</a:t>
            </a:r>
          </a:p>
        </p:txBody>
      </p:sp>
      <p:cxnSp>
        <p:nvCxnSpPr>
          <p:cNvPr id="32" name="Gerader Verbinder 51">
            <a:extLst>
              <a:ext uri="{FF2B5EF4-FFF2-40B4-BE49-F238E27FC236}">
                <a16:creationId xmlns:a16="http://schemas.microsoft.com/office/drawing/2014/main" id="{314DE6FE-654B-433B-9355-896A0C6C7D9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160748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52">
            <a:extLst>
              <a:ext uri="{FF2B5EF4-FFF2-40B4-BE49-F238E27FC236}">
                <a16:creationId xmlns:a16="http://schemas.microsoft.com/office/drawing/2014/main" id="{C3B3D90A-0CF7-436A-B66C-36861D154506}"/>
              </a:ext>
            </a:extLst>
          </p:cNvPr>
          <p:cNvSpPr/>
          <p:nvPr userDrawn="1"/>
        </p:nvSpPr>
        <p:spPr bwMode="gray">
          <a:xfrm>
            <a:off x="-1932688" y="116074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tx1"/>
                </a:solidFill>
              </a:rPr>
              <a:t>Single-line (6.30)</a:t>
            </a:r>
          </a:p>
        </p:txBody>
      </p:sp>
    </p:spTree>
    <p:extLst>
      <p:ext uri="{BB962C8B-B14F-4D97-AF65-F5344CB8AC3E}">
        <p14:creationId xmlns:p14="http://schemas.microsoft.com/office/powerpoint/2010/main" val="3258967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521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pos="406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| 1 Line | Black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E9CEC99-96CB-4143-915E-12E3AF173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E9CEC99-96CB-4143-915E-12E3AF173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32">
            <a:extLst>
              <a:ext uri="{FF2B5EF4-FFF2-40B4-BE49-F238E27FC236}">
                <a16:creationId xmlns:a16="http://schemas.microsoft.com/office/drawing/2014/main" id="{931A4AC6-21C7-497E-99BE-27B737BFA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US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904979" cy="684076"/>
          </a:xfrm>
          <a:noFill/>
          <a:ln>
            <a:noFill/>
          </a:ln>
        </p:spPr>
        <p:txBody>
          <a:bodyPr vert="horz" wrap="square" tIns="0" bIns="0" anchor="t" anchorCtr="0"/>
          <a:lstStyle>
            <a:lvl1pPr>
              <a:lnSpc>
                <a:spcPct val="90000"/>
              </a:lnSpc>
              <a:defRPr sz="42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ngle-line title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2DD2473A-068F-4124-B2A1-D0D36BCA6D3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8976320" y="5967320"/>
            <a:ext cx="2757600" cy="342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06245D7B-5B26-4314-A2A3-CF5C7ECD407F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US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US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AA9CA24C-FC5E-4E75-91C0-E002F436C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1160748"/>
            <a:ext cx="720000" cy="720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CDA8AE58-66A8-4EFE-B3A8-C2BCA36A0AC2}"/>
              </a:ext>
            </a:extLst>
          </p:cNvPr>
          <p:cNvSpPr/>
          <p:nvPr userDrawn="1"/>
        </p:nvSpPr>
        <p:spPr bwMode="gray">
          <a:xfrm>
            <a:off x="-1932688" y="872716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US" sz="1200" b="0" dirty="0">
                <a:solidFill>
                  <a:schemeClr val="bg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9" name="Gerader Verbinder 14">
            <a:extLst>
              <a:ext uri="{FF2B5EF4-FFF2-40B4-BE49-F238E27FC236}">
                <a16:creationId xmlns:a16="http://schemas.microsoft.com/office/drawing/2014/main" id="{F2B1C722-1DAB-4049-8438-A65E1F6E8BF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73684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8">
            <a:extLst>
              <a:ext uri="{FF2B5EF4-FFF2-40B4-BE49-F238E27FC236}">
                <a16:creationId xmlns:a16="http://schemas.microsoft.com/office/drawing/2014/main" id="{3B82A232-9965-49DC-9AF7-3C27605EB2CE}"/>
              </a:ext>
            </a:extLst>
          </p:cNvPr>
          <p:cNvSpPr/>
          <p:nvPr userDrawn="1"/>
        </p:nvSpPr>
        <p:spPr bwMode="gray">
          <a:xfrm>
            <a:off x="-1932688" y="173684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bg1"/>
                </a:solidFill>
              </a:rPr>
              <a:t>Two-line (4.70)</a:t>
            </a:r>
          </a:p>
        </p:txBody>
      </p:sp>
      <p:cxnSp>
        <p:nvCxnSpPr>
          <p:cNvPr id="21" name="Gerader Verbinder 51">
            <a:extLst>
              <a:ext uri="{FF2B5EF4-FFF2-40B4-BE49-F238E27FC236}">
                <a16:creationId xmlns:a16="http://schemas.microsoft.com/office/drawing/2014/main" id="{9A490FF3-5166-4BA7-8E94-46F43A53B6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160748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52">
            <a:extLst>
              <a:ext uri="{FF2B5EF4-FFF2-40B4-BE49-F238E27FC236}">
                <a16:creationId xmlns:a16="http://schemas.microsoft.com/office/drawing/2014/main" id="{5F99EA79-56EC-49E4-9573-6B38AB2D6233}"/>
              </a:ext>
            </a:extLst>
          </p:cNvPr>
          <p:cNvSpPr/>
          <p:nvPr userDrawn="1"/>
        </p:nvSpPr>
        <p:spPr bwMode="gray">
          <a:xfrm>
            <a:off x="-1932688" y="116074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US" sz="1200" b="0" dirty="0">
                <a:solidFill>
                  <a:schemeClr val="bg1"/>
                </a:solidFill>
              </a:rPr>
              <a:t>Single-line (6.30)</a:t>
            </a:r>
          </a:p>
        </p:txBody>
      </p:sp>
    </p:spTree>
    <p:extLst>
      <p:ext uri="{BB962C8B-B14F-4D97-AF65-F5344CB8AC3E}">
        <p14:creationId xmlns:p14="http://schemas.microsoft.com/office/powerpoint/2010/main" val="3102763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521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pos="406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4119F30-12D5-4C1F-AEE1-3AE51D8BB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4119F30-12D5-4C1F-AEE1-3AE51D8BB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1D1EC1D2-D152-48BF-821D-5F4984F635EE}" type="datetime1">
              <a:rPr lang="en-GB" smtClean="0"/>
              <a:t>14/01/2022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Organisational Chart Template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07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igh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23">
            <a:extLst>
              <a:ext uri="{FF2B5EF4-FFF2-40B4-BE49-F238E27FC236}">
                <a16:creationId xmlns:a16="http://schemas.microsoft.com/office/drawing/2014/main" id="{2240A0EA-9681-4032-91F4-BB12E6BE1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465584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4545124 h 6858000"/>
              <a:gd name="connsiteX8" fmla="*/ 11712574 w 12191999"/>
              <a:gd name="connsiteY8" fmla="*/ 454512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373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4655840" y="0"/>
                </a:lnTo>
                <a:lnTo>
                  <a:pt x="8112222" y="0"/>
                </a:lnTo>
                <a:lnTo>
                  <a:pt x="8112222" y="4545124"/>
                </a:lnTo>
                <a:lnTo>
                  <a:pt x="11712574" y="454512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37321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621998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8472264" y="383414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34BD5DD-0628-4A37-A782-F971F15DECA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AC46D0C-8FE9-4625-A839-10E6D6C86706}"/>
              </a:ext>
            </a:extLst>
          </p:cNvPr>
          <p:cNvSpPr/>
          <p:nvPr userDrawn="1"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FDFE0449-24D6-458E-808D-262D8CAF49A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13EBD44B-451B-4372-95E9-FA8EA783702D}"/>
              </a:ext>
            </a:extLst>
          </p:cNvPr>
          <p:cNvSpPr/>
          <p:nvPr userDrawn="1"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2A8444DB-5352-4BD9-BE2F-D4B571E5391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85669543-7B80-4184-8230-3611CD61BD6C}"/>
              </a:ext>
            </a:extLst>
          </p:cNvPr>
          <p:cNvSpPr/>
          <p:nvPr userDrawn="1"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2EF804B-FA8A-488F-AA56-B7A8AECC2F8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CF06136C-5597-4C51-B57D-1A44626B8BAF}"/>
              </a:ext>
            </a:extLst>
          </p:cNvPr>
          <p:cNvSpPr/>
          <p:nvPr userDrawn="1"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E7227D6-F278-4B7D-956D-5CC722B28456}"/>
              </a:ext>
            </a:extLst>
          </p:cNvPr>
          <p:cNvSpPr/>
          <p:nvPr userDrawn="1"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A394185C-D321-44A7-8DF9-D62F0232984B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092930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igh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3442D92-D3EF-46AE-9912-0649F186F5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295800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8112222 w 12191999"/>
              <a:gd name="connsiteY7" fmla="*/ 0 h 6858000"/>
              <a:gd name="connsiteX8" fmla="*/ 8112222 w 12191999"/>
              <a:gd name="connsiteY8" fmla="*/ 4005064 h 6858000"/>
              <a:gd name="connsiteX9" fmla="*/ 11712574 w 12191999"/>
              <a:gd name="connsiteY9" fmla="*/ 4005064 h 6858000"/>
              <a:gd name="connsiteX10" fmla="*/ 1171257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295800" y="0"/>
                </a:lnTo>
                <a:lnTo>
                  <a:pt x="4330863" y="0"/>
                </a:lnTo>
                <a:lnTo>
                  <a:pt x="4547828" y="0"/>
                </a:lnTo>
                <a:lnTo>
                  <a:pt x="8112222" y="0"/>
                </a:lnTo>
                <a:lnTo>
                  <a:pt x="8112222" y="4005064"/>
                </a:lnTo>
                <a:lnTo>
                  <a:pt x="11712574" y="400506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8472264" y="329408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235F4D9E-126D-489E-8AC8-118EAF14581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E76493F2-24AC-4D93-B9B4-8A597BE4B9D7}"/>
              </a:ext>
            </a:extLst>
          </p:cNvPr>
          <p:cNvSpPr/>
          <p:nvPr userDrawn="1"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B069D321-B0F2-4ADC-AC86-476920783EA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9FCEEA83-16F7-4EB6-82CB-F33172F9E135}"/>
              </a:ext>
            </a:extLst>
          </p:cNvPr>
          <p:cNvSpPr/>
          <p:nvPr userDrawn="1"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5FEB54BB-53EC-429A-975C-549373B94D0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5E877814-18E9-4689-9555-230AFCA425F1}"/>
              </a:ext>
            </a:extLst>
          </p:cNvPr>
          <p:cNvSpPr/>
          <p:nvPr userDrawn="1"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F2408DA-833E-4E45-B4A5-CE21DB5755B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AFC713B-E1A9-4470-B16D-F7D0F81355C5}"/>
              </a:ext>
            </a:extLst>
          </p:cNvPr>
          <p:cNvSpPr/>
          <p:nvPr userDrawn="1"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E836B7F-DFE2-48BA-93FF-6382536E2128}"/>
              </a:ext>
            </a:extLst>
          </p:cNvPr>
          <p:cNvSpPr/>
          <p:nvPr userDrawn="1"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F2DEE883-BF02-465A-BFDB-68FC42F0A096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362164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igh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88848E1-450B-4298-9AFC-A297C0AECD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330863 w 12191999"/>
              <a:gd name="connsiteY4" fmla="*/ 0 h 6858000"/>
              <a:gd name="connsiteX5" fmla="*/ 4439816 w 12191999"/>
              <a:gd name="connsiteY5" fmla="*/ 0 h 6858000"/>
              <a:gd name="connsiteX6" fmla="*/ 4547828 w 12191999"/>
              <a:gd name="connsiteY6" fmla="*/ 0 h 6858000"/>
              <a:gd name="connsiteX7" fmla="*/ 8111703 w 12191999"/>
              <a:gd name="connsiteY7" fmla="*/ 0 h 6858000"/>
              <a:gd name="connsiteX8" fmla="*/ 8111703 w 12191999"/>
              <a:gd name="connsiteY8" fmla="*/ 3456000 h 6858000"/>
              <a:gd name="connsiteX9" fmla="*/ 11712624 w 12191999"/>
              <a:gd name="connsiteY9" fmla="*/ 3456000 h 6858000"/>
              <a:gd name="connsiteX10" fmla="*/ 1171262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439816" y="0"/>
                </a:lnTo>
                <a:lnTo>
                  <a:pt x="4547828" y="0"/>
                </a:lnTo>
                <a:lnTo>
                  <a:pt x="8111703" y="0"/>
                </a:lnTo>
                <a:lnTo>
                  <a:pt x="8111703" y="3456000"/>
                </a:lnTo>
                <a:lnTo>
                  <a:pt x="11712624" y="3456000"/>
                </a:lnTo>
                <a:lnTo>
                  <a:pt x="1171262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1744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1703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1744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8471743" y="2754020"/>
            <a:ext cx="2757844" cy="342000"/>
          </a:xfrm>
          <a:prstGeom prst="rect">
            <a:avLst/>
          </a:prstGeom>
        </p:spPr>
      </p:pic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3943B4F-2B93-4CDB-A3AC-37872FCF597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0B22129-5E3F-4587-B814-A00E0F459064}"/>
              </a:ext>
            </a:extLst>
          </p:cNvPr>
          <p:cNvSpPr/>
          <p:nvPr userDrawn="1"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A30C8BC9-5206-47FF-864B-05A01A1E09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D1E5D76-9B7F-4A3A-8645-E897846BCFC7}"/>
              </a:ext>
            </a:extLst>
          </p:cNvPr>
          <p:cNvSpPr/>
          <p:nvPr userDrawn="1"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233AB4A8-DFE8-4704-B449-DBC90FFEFC4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138AB292-2171-4F79-8535-B518F8B3B0B2}"/>
              </a:ext>
            </a:extLst>
          </p:cNvPr>
          <p:cNvSpPr/>
          <p:nvPr userDrawn="1"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7AB4B421-B02F-40D8-8647-D3C04BC3F0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3DCFBF08-EC08-421F-8C9F-A362C25BC550}"/>
              </a:ext>
            </a:extLst>
          </p:cNvPr>
          <p:cNvSpPr/>
          <p:nvPr userDrawn="1"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8F19AE8-31C3-4CF7-9765-3906A43178FF}"/>
              </a:ext>
            </a:extLst>
          </p:cNvPr>
          <p:cNvSpPr/>
          <p:nvPr userDrawn="1"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7" name="Rechteck 20">
            <a:extLst>
              <a:ext uri="{FF2B5EF4-FFF2-40B4-BE49-F238E27FC236}">
                <a16:creationId xmlns:a16="http://schemas.microsoft.com/office/drawing/2014/main" id="{16ADD000-80B1-4BF2-AD83-91B0D313F393}"/>
              </a:ext>
            </a:extLst>
          </p:cNvPr>
          <p:cNvSpPr/>
          <p:nvPr userDrawn="1"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624966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34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eft | Whit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 </a:t>
            </a:r>
            <a:br>
              <a:rPr lang="en-GB" dirty="0"/>
            </a:br>
            <a:r>
              <a:rPr lang="en-GB" dirty="0"/>
              <a:t>in Arial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551384" y="4383208"/>
            <a:ext cx="2757844" cy="342000"/>
          </a:xfrm>
          <a:prstGeom prst="rect">
            <a:avLst/>
          </a:prstGeom>
        </p:spPr>
      </p:pic>
      <p:sp>
        <p:nvSpPr>
          <p:cNvPr id="20" name="Rechteck 1">
            <a:extLst>
              <a:ext uri="{FF2B5EF4-FFF2-40B4-BE49-F238E27FC236}">
                <a16:creationId xmlns:a16="http://schemas.microsoft.com/office/drawing/2014/main" id="{D7DE248F-2823-4B30-97A7-5E5A3E614553}"/>
              </a:ext>
            </a:extLst>
          </p:cNvPr>
          <p:cNvSpPr/>
          <p:nvPr userDrawn="1"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25D1DC-0638-4FC1-B62D-103D9E45918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3D7E8613-14D0-43FA-B4A2-C12F97BF1900}"/>
              </a:ext>
            </a:extLst>
          </p:cNvPr>
          <p:cNvSpPr/>
          <p:nvPr userDrawn="1"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6BB7661D-A83D-4CF3-BE9D-73ADB203DC2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45AC564-649F-4FB3-A72B-CC01BB9063F8}"/>
              </a:ext>
            </a:extLst>
          </p:cNvPr>
          <p:cNvSpPr/>
          <p:nvPr userDrawn="1"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5D41728E-8CF7-4DAC-B786-227EB1BAD58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60783C2C-4B89-458A-A592-BBA39A059498}"/>
              </a:ext>
            </a:extLst>
          </p:cNvPr>
          <p:cNvSpPr/>
          <p:nvPr userDrawn="1"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D5F8176-458E-4605-90AE-255473F5E9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828E34CD-5263-4251-B0E0-445235533E90}"/>
              </a:ext>
            </a:extLst>
          </p:cNvPr>
          <p:cNvSpPr/>
          <p:nvPr userDrawn="1"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22662C9-B00F-4400-828D-06F0654BBA0E}"/>
              </a:ext>
            </a:extLst>
          </p:cNvPr>
          <p:cNvSpPr/>
          <p:nvPr userDrawn="1"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1268539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orient="horz" pos="346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F7BF7CA0-E960-4EB3-8210-8583F337BF60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="" xmlns:a16="http://schemas.microsoft.com/office/drawing/2014/main" xmlns:p14="http://schemas.microsoft.com/office/powerpoint/2010/main" xmlns:p15="http://schemas.microsoft.com/office/powerpoint/2012/main" xmlns:asvg="http://schemas.microsoft.com/office/drawing/2016/SVG/main" r:embed="rId60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1700213"/>
            <a:ext cx="11161712" cy="43930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grpSp>
        <p:nvGrpSpPr>
          <p:cNvPr id="21" name="Gruppieren 20"/>
          <p:cNvGrpSpPr/>
          <p:nvPr userDrawn="1"/>
        </p:nvGrpSpPr>
        <p:grpSpPr bwMode="gray">
          <a:xfrm>
            <a:off x="551384" y="-171400"/>
            <a:ext cx="11161240" cy="72000"/>
            <a:chOff x="551384" y="-243408"/>
            <a:chExt cx="11161240" cy="216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55138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-168688" y="1700808"/>
            <a:ext cx="72000" cy="4392488"/>
            <a:chOff x="-456728" y="1700808"/>
            <a:chExt cx="216000" cy="4392488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9329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F25931F7-C9B2-4AEF-8949-B2C57347550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84352" y="6550324"/>
            <a:ext cx="792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BF76663-E215-40A1-B199-579C8AB47B20}" type="datetime1">
              <a:rPr lang="en-GB"/>
              <a:t>14/01/2022</a:t>
            </a:fld>
            <a:endParaRPr lang="en-GB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9D1E47E8-758C-4E0E-9F77-C5BF4B3F8E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884396" y="6550324"/>
            <a:ext cx="7704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BAF09DF7-FEB4-4BF3-8619-FCE74C4EA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864" y="6550324"/>
            <a:ext cx="288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5A7FA6-661C-4F00-B171-7CC9C2CCE8DB}"/>
              </a:ext>
            </a:extLst>
          </p:cNvPr>
          <p:cNvCxnSpPr/>
          <p:nvPr userDrawn="1"/>
        </p:nvCxnSpPr>
        <p:spPr bwMode="gray">
          <a:xfrm>
            <a:off x="6455817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614D05-FE86-44C3-B30B-4ED71C82B2D4}"/>
              </a:ext>
            </a:extLst>
          </p:cNvPr>
          <p:cNvCxnSpPr/>
          <p:nvPr userDrawn="1"/>
        </p:nvCxnSpPr>
        <p:spPr bwMode="gray">
          <a:xfrm>
            <a:off x="5807968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DD2D862-F12D-4CEE-84FD-3A9AC4B6E5B6}"/>
              </a:ext>
            </a:extLst>
          </p:cNvPr>
          <p:cNvGrpSpPr/>
          <p:nvPr userDrawn="1"/>
        </p:nvGrpSpPr>
        <p:grpSpPr bwMode="gray">
          <a:xfrm>
            <a:off x="3863975" y="-171400"/>
            <a:ext cx="4536281" cy="72000"/>
            <a:chOff x="3863975" y="-171400"/>
            <a:chExt cx="4536281" cy="72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7BECE16-269D-4E9A-9B84-7F60B4AE0CB1}"/>
                </a:ext>
              </a:extLst>
            </p:cNvPr>
            <p:cNvCxnSpPr/>
            <p:nvPr userDrawn="1"/>
          </p:nvCxnSpPr>
          <p:spPr bwMode="gray">
            <a:xfrm>
              <a:off x="8400256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3FA7C3C-7FA6-4CDB-9805-4175F140B416}"/>
                </a:ext>
              </a:extLst>
            </p:cNvPr>
            <p:cNvCxnSpPr/>
            <p:nvPr userDrawn="1"/>
          </p:nvCxnSpPr>
          <p:spPr bwMode="gray">
            <a:xfrm>
              <a:off x="7752407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24105D3-4A85-43F3-BAE6-78D2008211EF}"/>
                </a:ext>
              </a:extLst>
            </p:cNvPr>
            <p:cNvCxnSpPr/>
            <p:nvPr userDrawn="1"/>
          </p:nvCxnSpPr>
          <p:spPr bwMode="gray">
            <a:xfrm>
              <a:off x="4511824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C51D5BD-3B24-442C-9575-E3C237E12149}"/>
                </a:ext>
              </a:extLst>
            </p:cNvPr>
            <p:cNvCxnSpPr/>
            <p:nvPr userDrawn="1"/>
          </p:nvCxnSpPr>
          <p:spPr bwMode="gray">
            <a:xfrm>
              <a:off x="3863975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D09599-A722-421B-B985-21F90F2F366E}"/>
              </a:ext>
            </a:extLst>
          </p:cNvPr>
          <p:cNvGrpSpPr/>
          <p:nvPr userDrawn="1"/>
        </p:nvGrpSpPr>
        <p:grpSpPr bwMode="gray">
          <a:xfrm>
            <a:off x="2855640" y="-171392"/>
            <a:ext cx="6552728" cy="72000"/>
            <a:chOff x="2855640" y="-171392"/>
            <a:chExt cx="6552728" cy="7200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F91E64-D9CA-4E5C-8F94-5DA5E114B04B}"/>
                </a:ext>
              </a:extLst>
            </p:cNvPr>
            <p:cNvCxnSpPr/>
            <p:nvPr userDrawn="1"/>
          </p:nvCxnSpPr>
          <p:spPr bwMode="gray">
            <a:xfrm>
              <a:off x="9408368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1206C0-5549-4016-B972-40D54A316047}"/>
                </a:ext>
              </a:extLst>
            </p:cNvPr>
            <p:cNvCxnSpPr/>
            <p:nvPr userDrawn="1"/>
          </p:nvCxnSpPr>
          <p:spPr bwMode="gray">
            <a:xfrm>
              <a:off x="876051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EB6A447-3F4D-44F0-A383-F28EB320251F}"/>
                </a:ext>
              </a:extLst>
            </p:cNvPr>
            <p:cNvCxnSpPr/>
            <p:nvPr userDrawn="1"/>
          </p:nvCxnSpPr>
          <p:spPr bwMode="gray">
            <a:xfrm>
              <a:off x="350348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A8EE856-A375-49AE-9A88-BFE45857E99C}"/>
                </a:ext>
              </a:extLst>
            </p:cNvPr>
            <p:cNvCxnSpPr/>
            <p:nvPr userDrawn="1"/>
          </p:nvCxnSpPr>
          <p:spPr bwMode="gray">
            <a:xfrm>
              <a:off x="2855640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empower - DO NOT DELETE!!!" hidden="1"/>
          <p:cNvSpPr/>
          <p:nvPr userDrawn="1">
            <p:custDataLst>
              <p:tags r:id="rId5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6" r:id="rId2"/>
    <p:sldLayoutId id="2147483717" r:id="rId3"/>
    <p:sldLayoutId id="2147483740" r:id="rId4"/>
    <p:sldLayoutId id="2147483718" r:id="rId5"/>
    <p:sldLayoutId id="2147483720" r:id="rId6"/>
    <p:sldLayoutId id="2147483721" r:id="rId7"/>
    <p:sldLayoutId id="2147483742" r:id="rId8"/>
    <p:sldLayoutId id="2147483722" r:id="rId9"/>
    <p:sldLayoutId id="2147483723" r:id="rId10"/>
    <p:sldLayoutId id="2147483724" r:id="rId11"/>
    <p:sldLayoutId id="2147483741" r:id="rId12"/>
    <p:sldLayoutId id="2147483694" r:id="rId13"/>
    <p:sldLayoutId id="2147483670" r:id="rId14"/>
    <p:sldLayoutId id="2147483671" r:id="rId15"/>
    <p:sldLayoutId id="2147483672" r:id="rId16"/>
    <p:sldLayoutId id="2147483669" r:id="rId17"/>
    <p:sldLayoutId id="2147483655" r:id="rId18"/>
    <p:sldLayoutId id="2147483673" r:id="rId19"/>
    <p:sldLayoutId id="2147483676" r:id="rId20"/>
    <p:sldLayoutId id="2147483675" r:id="rId21"/>
    <p:sldLayoutId id="2147483674" r:id="rId22"/>
    <p:sldLayoutId id="2147483682" r:id="rId23"/>
    <p:sldLayoutId id="2147483683" r:id="rId24"/>
    <p:sldLayoutId id="2147483684" r:id="rId25"/>
    <p:sldLayoutId id="2147483685" r:id="rId26"/>
    <p:sldLayoutId id="2147483688" r:id="rId27"/>
    <p:sldLayoutId id="2147483687" r:id="rId28"/>
    <p:sldLayoutId id="2147483701" r:id="rId29"/>
    <p:sldLayoutId id="2147483702" r:id="rId30"/>
    <p:sldLayoutId id="2147483692" r:id="rId31"/>
    <p:sldLayoutId id="2147483693" r:id="rId32"/>
    <p:sldLayoutId id="2147483668" r:id="rId33"/>
    <p:sldLayoutId id="2147483744" r:id="rId34"/>
    <p:sldLayoutId id="2147483678" r:id="rId35"/>
    <p:sldLayoutId id="2147483666" r:id="rId36"/>
    <p:sldLayoutId id="2147483738" r:id="rId37"/>
    <p:sldLayoutId id="2147483745" r:id="rId38"/>
    <p:sldLayoutId id="2147483743" r:id="rId39"/>
    <p:sldLayoutId id="2147483710" r:id="rId40"/>
    <p:sldLayoutId id="2147483711" r:id="rId41"/>
    <p:sldLayoutId id="2147483728" r:id="rId42"/>
    <p:sldLayoutId id="2147483727" r:id="rId43"/>
    <p:sldLayoutId id="2147483691" r:id="rId44"/>
    <p:sldLayoutId id="2147483734" r:id="rId45"/>
    <p:sldLayoutId id="2147483733" r:id="rId46"/>
    <p:sldLayoutId id="2147483732" r:id="rId47"/>
    <p:sldLayoutId id="2147483731" r:id="rId48"/>
    <p:sldLayoutId id="2147483730" r:id="rId49"/>
    <p:sldLayoutId id="2147483729" r:id="rId50"/>
    <p:sldLayoutId id="2147483686" r:id="rId51"/>
    <p:sldLayoutId id="2147483746" r:id="rId52"/>
    <p:sldLayoutId id="2147483747" r:id="rId53"/>
    <p:sldLayoutId id="2147483748" r:id="rId54"/>
    <p:sldLayoutId id="2147483749" r:id="rId55"/>
    <p:sldLayoutId id="2147483750" r:id="rId5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2400"/>
        </a:spcBef>
        <a:spcAft>
          <a:spcPts val="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0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82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93.bin"/><Relationship Id="rId2" Type="http://schemas.openxmlformats.org/officeDocument/2006/relationships/tags" Target="../tags/tag383.xml"/><Relationship Id="rId1" Type="http://schemas.openxmlformats.org/officeDocument/2006/relationships/vmlDrawing" Target="../drawings/vmlDrawing93.vml"/><Relationship Id="rId6" Type="http://schemas.openxmlformats.org/officeDocument/2006/relationships/notesSlide" Target="../notesSlides/notesSlide101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85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387.xml"/><Relationship Id="rId7" Type="http://schemas.openxmlformats.org/officeDocument/2006/relationships/oleObject" Target="../embeddings/oleObject94.bin"/><Relationship Id="rId2" Type="http://schemas.openxmlformats.org/officeDocument/2006/relationships/tags" Target="../tags/tag386.xml"/><Relationship Id="rId1" Type="http://schemas.openxmlformats.org/officeDocument/2006/relationships/vmlDrawing" Target="../drawings/vmlDrawing94.vml"/><Relationship Id="rId6" Type="http://schemas.openxmlformats.org/officeDocument/2006/relationships/notesSlide" Target="../notesSlides/notesSlide102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88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390.xml"/><Relationship Id="rId7" Type="http://schemas.openxmlformats.org/officeDocument/2006/relationships/notesSlide" Target="../notesSlides/notesSlide103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95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92.xml"/><Relationship Id="rId10" Type="http://schemas.openxmlformats.org/officeDocument/2006/relationships/image" Target="../media/image26.jpeg"/><Relationship Id="rId4" Type="http://schemas.openxmlformats.org/officeDocument/2006/relationships/tags" Target="../tags/tag391.xml"/><Relationship Id="rId9" Type="http://schemas.openxmlformats.org/officeDocument/2006/relationships/image" Target="../media/image25.emf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6.bin"/><Relationship Id="rId3" Type="http://schemas.openxmlformats.org/officeDocument/2006/relationships/tags" Target="../tags/tag394.xml"/><Relationship Id="rId7" Type="http://schemas.openxmlformats.org/officeDocument/2006/relationships/notesSlide" Target="../notesSlides/notesSlide104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96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96.xml"/><Relationship Id="rId10" Type="http://schemas.openxmlformats.org/officeDocument/2006/relationships/image" Target="../media/image26.jpeg"/><Relationship Id="rId4" Type="http://schemas.openxmlformats.org/officeDocument/2006/relationships/tags" Target="../tags/tag395.xml"/><Relationship Id="rId9" Type="http://schemas.openxmlformats.org/officeDocument/2006/relationships/image" Target="../media/image25.emf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12" Type="http://schemas.openxmlformats.org/officeDocument/2006/relationships/chart" Target="../charts/chart18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97.vml"/><Relationship Id="rId6" Type="http://schemas.openxmlformats.org/officeDocument/2006/relationships/tags" Target="../tags/tag401.xml"/><Relationship Id="rId11" Type="http://schemas.openxmlformats.org/officeDocument/2006/relationships/image" Target="../media/image27.emf"/><Relationship Id="rId5" Type="http://schemas.openxmlformats.org/officeDocument/2006/relationships/tags" Target="../tags/tag400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399.xml"/><Relationship Id="rId9" Type="http://schemas.openxmlformats.org/officeDocument/2006/relationships/notesSlide" Target="../notesSlides/notesSlide105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04.xml"/><Relationship Id="rId7" Type="http://schemas.openxmlformats.org/officeDocument/2006/relationships/oleObject" Target="../embeddings/oleObject98.bin"/><Relationship Id="rId2" Type="http://schemas.openxmlformats.org/officeDocument/2006/relationships/tags" Target="../tags/tag403.xml"/><Relationship Id="rId1" Type="http://schemas.openxmlformats.org/officeDocument/2006/relationships/vmlDrawing" Target="../drawings/vmlDrawing98.vml"/><Relationship Id="rId6" Type="http://schemas.openxmlformats.org/officeDocument/2006/relationships/notesSlide" Target="../notesSlides/notesSlide106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405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07.xml"/><Relationship Id="rId7" Type="http://schemas.openxmlformats.org/officeDocument/2006/relationships/oleObject" Target="../embeddings/oleObject99.bin"/><Relationship Id="rId2" Type="http://schemas.openxmlformats.org/officeDocument/2006/relationships/tags" Target="../tags/tag406.xml"/><Relationship Id="rId1" Type="http://schemas.openxmlformats.org/officeDocument/2006/relationships/vmlDrawing" Target="../drawings/vmlDrawing99.vml"/><Relationship Id="rId6" Type="http://schemas.openxmlformats.org/officeDocument/2006/relationships/notesSlide" Target="../notesSlides/notesSlide107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408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410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409.xml"/><Relationship Id="rId1" Type="http://schemas.openxmlformats.org/officeDocument/2006/relationships/vmlDrawing" Target="../drawings/vmlDrawing100.vml"/><Relationship Id="rId6" Type="http://schemas.openxmlformats.org/officeDocument/2006/relationships/notesSlide" Target="../notesSlides/notesSlide108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411.xml"/><Relationship Id="rId9" Type="http://schemas.openxmlformats.org/officeDocument/2006/relationships/image" Target="../media/image37.png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413.xml"/><Relationship Id="rId7" Type="http://schemas.openxmlformats.org/officeDocument/2006/relationships/image" Target="../media/image37.png"/><Relationship Id="rId2" Type="http://schemas.openxmlformats.org/officeDocument/2006/relationships/tags" Target="../tags/tag412.xml"/><Relationship Id="rId1" Type="http://schemas.openxmlformats.org/officeDocument/2006/relationships/vmlDrawing" Target="../drawings/vmlDrawing101.vml"/><Relationship Id="rId6" Type="http://schemas.openxmlformats.org/officeDocument/2006/relationships/notesSlide" Target="../notesSlides/notesSlide109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414.xml"/><Relationship Id="rId9" Type="http://schemas.openxmlformats.org/officeDocument/2006/relationships/image" Target="../media/image3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1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416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415.xml"/><Relationship Id="rId1" Type="http://schemas.openxmlformats.org/officeDocument/2006/relationships/vmlDrawing" Target="../drawings/vmlDrawing102.vml"/><Relationship Id="rId6" Type="http://schemas.openxmlformats.org/officeDocument/2006/relationships/notesSlide" Target="../notesSlides/notesSlide110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417.xml"/><Relationship Id="rId9" Type="http://schemas.openxmlformats.org/officeDocument/2006/relationships/image" Target="../media/image37.png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419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418.xml"/><Relationship Id="rId1" Type="http://schemas.openxmlformats.org/officeDocument/2006/relationships/vmlDrawing" Target="../drawings/vmlDrawing103.vml"/><Relationship Id="rId6" Type="http://schemas.openxmlformats.org/officeDocument/2006/relationships/notesSlide" Target="../notesSlides/notesSlide111.xml"/><Relationship Id="rId5" Type="http://schemas.openxmlformats.org/officeDocument/2006/relationships/slideLayout" Target="../slideLayouts/slideLayout56.xml"/><Relationship Id="rId4" Type="http://schemas.openxmlformats.org/officeDocument/2006/relationships/tags" Target="../tags/tag420.xml"/><Relationship Id="rId9" Type="http://schemas.openxmlformats.org/officeDocument/2006/relationships/image" Target="../media/image37.png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22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421.xml"/><Relationship Id="rId1" Type="http://schemas.openxmlformats.org/officeDocument/2006/relationships/vmlDrawing" Target="../drawings/vmlDrawing104.vml"/><Relationship Id="rId6" Type="http://schemas.openxmlformats.org/officeDocument/2006/relationships/notesSlide" Target="../notesSlides/notesSlide112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23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25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424.xml"/><Relationship Id="rId1" Type="http://schemas.openxmlformats.org/officeDocument/2006/relationships/vmlDrawing" Target="../drawings/vmlDrawing105.vml"/><Relationship Id="rId6" Type="http://schemas.openxmlformats.org/officeDocument/2006/relationships/notesSlide" Target="../notesSlides/notesSlide11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26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28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427.xml"/><Relationship Id="rId1" Type="http://schemas.openxmlformats.org/officeDocument/2006/relationships/vmlDrawing" Target="../drawings/vmlDrawing106.vml"/><Relationship Id="rId6" Type="http://schemas.openxmlformats.org/officeDocument/2006/relationships/notesSlide" Target="../notesSlides/notesSlide114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29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31.xml"/><Relationship Id="rId7" Type="http://schemas.openxmlformats.org/officeDocument/2006/relationships/oleObject" Target="../embeddings/oleObject107.bin"/><Relationship Id="rId2" Type="http://schemas.openxmlformats.org/officeDocument/2006/relationships/tags" Target="../tags/tag430.xml"/><Relationship Id="rId1" Type="http://schemas.openxmlformats.org/officeDocument/2006/relationships/vmlDrawing" Target="../drawings/vmlDrawing107.vml"/><Relationship Id="rId6" Type="http://schemas.openxmlformats.org/officeDocument/2006/relationships/notesSlide" Target="../notesSlides/notesSlide115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32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34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433.xml"/><Relationship Id="rId1" Type="http://schemas.openxmlformats.org/officeDocument/2006/relationships/vmlDrawing" Target="../drawings/vmlDrawing108.vml"/><Relationship Id="rId6" Type="http://schemas.openxmlformats.org/officeDocument/2006/relationships/notesSlide" Target="../notesSlides/notesSlide116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35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37.xml"/><Relationship Id="rId7" Type="http://schemas.openxmlformats.org/officeDocument/2006/relationships/oleObject" Target="../embeddings/oleObject109.bin"/><Relationship Id="rId2" Type="http://schemas.openxmlformats.org/officeDocument/2006/relationships/tags" Target="../tags/tag436.xml"/><Relationship Id="rId1" Type="http://schemas.openxmlformats.org/officeDocument/2006/relationships/vmlDrawing" Target="../drawings/vmlDrawing109.vml"/><Relationship Id="rId6" Type="http://schemas.openxmlformats.org/officeDocument/2006/relationships/notesSlide" Target="../notesSlides/notesSlide117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38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440.xml"/><Relationship Id="rId7" Type="http://schemas.openxmlformats.org/officeDocument/2006/relationships/notesSlide" Target="../notesSlides/notesSlide118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110.v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2.xml"/><Relationship Id="rId4" Type="http://schemas.openxmlformats.org/officeDocument/2006/relationships/tags" Target="../tags/tag441.xml"/><Relationship Id="rId9" Type="http://schemas.openxmlformats.org/officeDocument/2006/relationships/image" Target="../media/image36.emf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9.xml"/><Relationship Id="rId3" Type="http://schemas.openxmlformats.org/officeDocument/2006/relationships/tags" Target="../tags/tag444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447.xml"/><Relationship Id="rId5" Type="http://schemas.openxmlformats.org/officeDocument/2006/relationships/tags" Target="../tags/tag446.xml"/><Relationship Id="rId4" Type="http://schemas.openxmlformats.org/officeDocument/2006/relationships/tags" Target="../tags/tag445.xml"/><Relationship Id="rId9" Type="http://schemas.openxmlformats.org/officeDocument/2006/relationships/oleObject" Target="../embeddings/oleObject1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9.xml"/><Relationship Id="rId7" Type="http://schemas.openxmlformats.org/officeDocument/2006/relationships/image" Target="../media/image5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0.svg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0.xml"/><Relationship Id="rId3" Type="http://schemas.openxmlformats.org/officeDocument/2006/relationships/tags" Target="../tags/tag449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112.vml"/><Relationship Id="rId6" Type="http://schemas.openxmlformats.org/officeDocument/2006/relationships/tags" Target="../tags/tag452.xml"/><Relationship Id="rId5" Type="http://schemas.openxmlformats.org/officeDocument/2006/relationships/tags" Target="../tags/tag451.xml"/><Relationship Id="rId4" Type="http://schemas.openxmlformats.org/officeDocument/2006/relationships/tags" Target="../tags/tag450.xml"/><Relationship Id="rId9" Type="http://schemas.openxmlformats.org/officeDocument/2006/relationships/oleObject" Target="../embeddings/oleObject112.bin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12" Type="http://schemas.openxmlformats.org/officeDocument/2006/relationships/image" Target="../media/image23.emf"/><Relationship Id="rId2" Type="http://schemas.openxmlformats.org/officeDocument/2006/relationships/tags" Target="../tags/tag453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457.xml"/><Relationship Id="rId11" Type="http://schemas.openxmlformats.org/officeDocument/2006/relationships/oleObject" Target="../embeddings/oleObject113.bin"/><Relationship Id="rId5" Type="http://schemas.openxmlformats.org/officeDocument/2006/relationships/tags" Target="../tags/tag456.xml"/><Relationship Id="rId10" Type="http://schemas.openxmlformats.org/officeDocument/2006/relationships/notesSlide" Target="../notesSlides/notesSlide121.xml"/><Relationship Id="rId4" Type="http://schemas.openxmlformats.org/officeDocument/2006/relationships/tags" Target="../tags/tag455.xml"/><Relationship Id="rId9" Type="http://schemas.openxmlformats.org/officeDocument/2006/relationships/slideLayout" Target="../slideLayouts/slideLayout17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2.xml"/><Relationship Id="rId3" Type="http://schemas.openxmlformats.org/officeDocument/2006/relationships/tags" Target="../tags/tag461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464.xml"/><Relationship Id="rId11" Type="http://schemas.openxmlformats.org/officeDocument/2006/relationships/image" Target="../media/image38.jpeg"/><Relationship Id="rId5" Type="http://schemas.openxmlformats.org/officeDocument/2006/relationships/tags" Target="../tags/tag463.xml"/><Relationship Id="rId10" Type="http://schemas.openxmlformats.org/officeDocument/2006/relationships/image" Target="../media/image23.emf"/><Relationship Id="rId4" Type="http://schemas.openxmlformats.org/officeDocument/2006/relationships/tags" Target="../tags/tag462.xml"/><Relationship Id="rId9" Type="http://schemas.openxmlformats.org/officeDocument/2006/relationships/oleObject" Target="../embeddings/oleObject114.bin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3.xml"/><Relationship Id="rId3" Type="http://schemas.openxmlformats.org/officeDocument/2006/relationships/tags" Target="../tags/tag466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469.xml"/><Relationship Id="rId11" Type="http://schemas.openxmlformats.org/officeDocument/2006/relationships/image" Target="../media/image23.emf"/><Relationship Id="rId5" Type="http://schemas.openxmlformats.org/officeDocument/2006/relationships/tags" Target="../tags/tag468.xml"/><Relationship Id="rId10" Type="http://schemas.openxmlformats.org/officeDocument/2006/relationships/oleObject" Target="../embeddings/oleObject115.bin"/><Relationship Id="rId4" Type="http://schemas.openxmlformats.org/officeDocument/2006/relationships/tags" Target="../tags/tag467.xml"/><Relationship Id="rId9" Type="http://schemas.openxmlformats.org/officeDocument/2006/relationships/image" Target="../media/image38.jpeg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4.xml"/><Relationship Id="rId13" Type="http://schemas.openxmlformats.org/officeDocument/2006/relationships/image" Target="../media/image29.svg"/><Relationship Id="rId3" Type="http://schemas.openxmlformats.org/officeDocument/2006/relationships/tags" Target="../tags/tag471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39.png"/><Relationship Id="rId2" Type="http://schemas.openxmlformats.org/officeDocument/2006/relationships/tags" Target="../tags/tag470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474.xml"/><Relationship Id="rId11" Type="http://schemas.openxmlformats.org/officeDocument/2006/relationships/image" Target="../media/image38.jpeg"/><Relationship Id="rId5" Type="http://schemas.openxmlformats.org/officeDocument/2006/relationships/tags" Target="../tags/tag473.xml"/><Relationship Id="rId10" Type="http://schemas.openxmlformats.org/officeDocument/2006/relationships/image" Target="../media/image23.emf"/><Relationship Id="rId4" Type="http://schemas.openxmlformats.org/officeDocument/2006/relationships/tags" Target="../tags/tag472.xml"/><Relationship Id="rId9" Type="http://schemas.openxmlformats.org/officeDocument/2006/relationships/oleObject" Target="../embeddings/oleObject116.bin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476.xml"/><Relationship Id="rId7" Type="http://schemas.openxmlformats.org/officeDocument/2006/relationships/oleObject" Target="../embeddings/oleObject117.bin"/><Relationship Id="rId2" Type="http://schemas.openxmlformats.org/officeDocument/2006/relationships/tags" Target="../tags/tag475.xml"/><Relationship Id="rId1" Type="http://schemas.openxmlformats.org/officeDocument/2006/relationships/vmlDrawing" Target="../drawings/vmlDrawing117.vml"/><Relationship Id="rId6" Type="http://schemas.openxmlformats.org/officeDocument/2006/relationships/notesSlide" Target="../notesSlides/notesSlide125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477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479.xml"/><Relationship Id="rId7" Type="http://schemas.openxmlformats.org/officeDocument/2006/relationships/oleObject" Target="../embeddings/oleObject118.bin"/><Relationship Id="rId2" Type="http://schemas.openxmlformats.org/officeDocument/2006/relationships/tags" Target="../tags/tag478.xml"/><Relationship Id="rId1" Type="http://schemas.openxmlformats.org/officeDocument/2006/relationships/vmlDrawing" Target="../drawings/vmlDrawing118.vml"/><Relationship Id="rId6" Type="http://schemas.openxmlformats.org/officeDocument/2006/relationships/notesSlide" Target="../notesSlides/notesSlide126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480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482.xml"/><Relationship Id="rId7" Type="http://schemas.openxmlformats.org/officeDocument/2006/relationships/notesSlide" Target="../notesSlides/notesSlide127.xml"/><Relationship Id="rId2" Type="http://schemas.openxmlformats.org/officeDocument/2006/relationships/tags" Target="../tags/tag481.xml"/><Relationship Id="rId1" Type="http://schemas.openxmlformats.org/officeDocument/2006/relationships/vmlDrawing" Target="../drawings/vmlDrawing119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84.xml"/><Relationship Id="rId4" Type="http://schemas.openxmlformats.org/officeDocument/2006/relationships/tags" Target="../tags/tag483.xml"/><Relationship Id="rId9" Type="http://schemas.openxmlformats.org/officeDocument/2006/relationships/image" Target="../media/image23.emf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0.bin"/><Relationship Id="rId3" Type="http://schemas.openxmlformats.org/officeDocument/2006/relationships/tags" Target="../tags/tag486.xml"/><Relationship Id="rId7" Type="http://schemas.openxmlformats.org/officeDocument/2006/relationships/notesSlide" Target="../notesSlides/notesSlide128.xml"/><Relationship Id="rId2" Type="http://schemas.openxmlformats.org/officeDocument/2006/relationships/tags" Target="../tags/tag485.xml"/><Relationship Id="rId1" Type="http://schemas.openxmlformats.org/officeDocument/2006/relationships/vmlDrawing" Target="../drawings/vmlDrawing120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88.xml"/><Relationship Id="rId4" Type="http://schemas.openxmlformats.org/officeDocument/2006/relationships/tags" Target="../tags/tag487.xml"/><Relationship Id="rId9" Type="http://schemas.openxmlformats.org/officeDocument/2006/relationships/image" Target="../media/image23.emf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490.xml"/><Relationship Id="rId7" Type="http://schemas.openxmlformats.org/officeDocument/2006/relationships/notesSlide" Target="../notesSlides/notesSlide129.xml"/><Relationship Id="rId2" Type="http://schemas.openxmlformats.org/officeDocument/2006/relationships/tags" Target="../tags/tag489.xml"/><Relationship Id="rId1" Type="http://schemas.openxmlformats.org/officeDocument/2006/relationships/vmlDrawing" Target="../drawings/vmlDrawing121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92.xml"/><Relationship Id="rId4" Type="http://schemas.openxmlformats.org/officeDocument/2006/relationships/tags" Target="../tags/tag491.xml"/><Relationship Id="rId9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41.xml"/><Relationship Id="rId7" Type="http://schemas.openxmlformats.org/officeDocument/2006/relationships/image" Target="../media/image5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52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2.bin"/><Relationship Id="rId3" Type="http://schemas.openxmlformats.org/officeDocument/2006/relationships/tags" Target="../tags/tag494.xml"/><Relationship Id="rId7" Type="http://schemas.openxmlformats.org/officeDocument/2006/relationships/notesSlide" Target="../notesSlides/notesSlide130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122.vml"/><Relationship Id="rId6" Type="http://schemas.openxmlformats.org/officeDocument/2006/relationships/slideLayout" Target="../slideLayouts/slideLayout40.xml"/><Relationship Id="rId5" Type="http://schemas.openxmlformats.org/officeDocument/2006/relationships/tags" Target="../tags/tag496.xml"/><Relationship Id="rId4" Type="http://schemas.openxmlformats.org/officeDocument/2006/relationships/tags" Target="../tags/tag495.xml"/><Relationship Id="rId9" Type="http://schemas.openxmlformats.org/officeDocument/2006/relationships/image" Target="../media/image23.emf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3.bin"/><Relationship Id="rId3" Type="http://schemas.openxmlformats.org/officeDocument/2006/relationships/tags" Target="../tags/tag498.xml"/><Relationship Id="rId7" Type="http://schemas.openxmlformats.org/officeDocument/2006/relationships/notesSlide" Target="../notesSlides/notesSlide131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123.vml"/><Relationship Id="rId6" Type="http://schemas.openxmlformats.org/officeDocument/2006/relationships/slideLayout" Target="../slideLayouts/slideLayout40.xml"/><Relationship Id="rId5" Type="http://schemas.openxmlformats.org/officeDocument/2006/relationships/tags" Target="../tags/tag500.xml"/><Relationship Id="rId4" Type="http://schemas.openxmlformats.org/officeDocument/2006/relationships/tags" Target="../tags/tag499.xml"/><Relationship Id="rId9" Type="http://schemas.openxmlformats.org/officeDocument/2006/relationships/image" Target="../media/image23.emf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4.bin"/><Relationship Id="rId3" Type="http://schemas.openxmlformats.org/officeDocument/2006/relationships/tags" Target="../tags/tag502.xml"/><Relationship Id="rId7" Type="http://schemas.openxmlformats.org/officeDocument/2006/relationships/notesSlide" Target="../notesSlides/notesSlide132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124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504.xml"/><Relationship Id="rId4" Type="http://schemas.openxmlformats.org/officeDocument/2006/relationships/tags" Target="../tags/tag503.xml"/><Relationship Id="rId9" Type="http://schemas.openxmlformats.org/officeDocument/2006/relationships/image" Target="../media/image23.emf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506.xml"/><Relationship Id="rId7" Type="http://schemas.openxmlformats.org/officeDocument/2006/relationships/notesSlide" Target="../notesSlides/notesSlide133.xml"/><Relationship Id="rId2" Type="http://schemas.openxmlformats.org/officeDocument/2006/relationships/tags" Target="../tags/tag505.xml"/><Relationship Id="rId1" Type="http://schemas.openxmlformats.org/officeDocument/2006/relationships/vmlDrawing" Target="../drawings/vmlDrawing125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508.xml"/><Relationship Id="rId4" Type="http://schemas.openxmlformats.org/officeDocument/2006/relationships/tags" Target="../tags/tag507.xml"/><Relationship Id="rId9" Type="http://schemas.openxmlformats.org/officeDocument/2006/relationships/image" Target="../media/image40.emf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4.xml"/><Relationship Id="rId3" Type="http://schemas.openxmlformats.org/officeDocument/2006/relationships/tags" Target="../tags/tag510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509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513.xml"/><Relationship Id="rId5" Type="http://schemas.openxmlformats.org/officeDocument/2006/relationships/tags" Target="../tags/tag512.xml"/><Relationship Id="rId10" Type="http://schemas.openxmlformats.org/officeDocument/2006/relationships/image" Target="../media/image23.emf"/><Relationship Id="rId4" Type="http://schemas.openxmlformats.org/officeDocument/2006/relationships/tags" Target="../tags/tag511.xml"/><Relationship Id="rId9" Type="http://schemas.openxmlformats.org/officeDocument/2006/relationships/oleObject" Target="../embeddings/oleObject126.bin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7.bin"/><Relationship Id="rId3" Type="http://schemas.openxmlformats.org/officeDocument/2006/relationships/tags" Target="../tags/tag515.xml"/><Relationship Id="rId7" Type="http://schemas.openxmlformats.org/officeDocument/2006/relationships/notesSlide" Target="../notesSlides/notesSlide135.xml"/><Relationship Id="rId2" Type="http://schemas.openxmlformats.org/officeDocument/2006/relationships/tags" Target="../tags/tag514.xml"/><Relationship Id="rId1" Type="http://schemas.openxmlformats.org/officeDocument/2006/relationships/vmlDrawing" Target="../drawings/vmlDrawing127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517.xml"/><Relationship Id="rId4" Type="http://schemas.openxmlformats.org/officeDocument/2006/relationships/tags" Target="../tags/tag516.xml"/><Relationship Id="rId9" Type="http://schemas.openxmlformats.org/officeDocument/2006/relationships/image" Target="../media/image41.emf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8.bin"/><Relationship Id="rId3" Type="http://schemas.openxmlformats.org/officeDocument/2006/relationships/tags" Target="../tags/tag519.xml"/><Relationship Id="rId7" Type="http://schemas.openxmlformats.org/officeDocument/2006/relationships/notesSlide" Target="../notesSlides/notesSlide136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128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521.xml"/><Relationship Id="rId4" Type="http://schemas.openxmlformats.org/officeDocument/2006/relationships/tags" Target="../tags/tag520.xml"/><Relationship Id="rId9" Type="http://schemas.openxmlformats.org/officeDocument/2006/relationships/image" Target="../media/image3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43.xml"/><Relationship Id="rId7" Type="http://schemas.openxmlformats.org/officeDocument/2006/relationships/image" Target="../media/image5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45.xml"/><Relationship Id="rId7" Type="http://schemas.openxmlformats.org/officeDocument/2006/relationships/image" Target="../media/image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5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47.xml"/><Relationship Id="rId7" Type="http://schemas.openxmlformats.org/officeDocument/2006/relationships/image" Target="../media/image5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tags" Target="../tags/tag87.xml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42" Type="http://schemas.openxmlformats.org/officeDocument/2006/relationships/tags" Target="../tags/tag90.xml"/><Relationship Id="rId47" Type="http://schemas.openxmlformats.org/officeDocument/2006/relationships/image" Target="../media/image5.emf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46" Type="http://schemas.openxmlformats.org/officeDocument/2006/relationships/oleObject" Target="../embeddings/oleObject23.bin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29" Type="http://schemas.openxmlformats.org/officeDocument/2006/relationships/tags" Target="../tags/tag77.xml"/><Relationship Id="rId41" Type="http://schemas.openxmlformats.org/officeDocument/2006/relationships/tags" Target="../tags/tag8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notesSlide" Target="../notesSlides/notesSlide18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4" Type="http://schemas.openxmlformats.org/officeDocument/2006/relationships/slideLayout" Target="../slideLayouts/slideLayout1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tags" Target="../tags/tag9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tags" Target="../tags/tag129.xml"/><Relationship Id="rId3" Type="http://schemas.openxmlformats.org/officeDocument/2006/relationships/tags" Target="../tags/tag93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tags" Target="../tags/tag132.xml"/><Relationship Id="rId47" Type="http://schemas.openxmlformats.org/officeDocument/2006/relationships/image" Target="../media/image5.emf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46" Type="http://schemas.openxmlformats.org/officeDocument/2006/relationships/oleObject" Target="../embeddings/oleObject24.bin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tags" Target="../tags/tag13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tags" Target="../tags/tag130.xml"/><Relationship Id="rId45" Type="http://schemas.openxmlformats.org/officeDocument/2006/relationships/notesSlide" Target="../notesSlides/notesSlide19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4" Type="http://schemas.openxmlformats.org/officeDocument/2006/relationships/slideLayout" Target="../slideLayouts/slideLayout17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43" Type="http://schemas.openxmlformats.org/officeDocument/2006/relationships/tags" Target="../tags/tag1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2.xml"/><Relationship Id="rId7" Type="http://schemas.openxmlformats.org/officeDocument/2006/relationships/image" Target="../media/image6.jp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.xml"/><Relationship Id="rId9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20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9.emf"/><Relationship Id="rId4" Type="http://schemas.openxmlformats.org/officeDocument/2006/relationships/tags" Target="../tags/tag136.xml"/><Relationship Id="rId9" Type="http://schemas.openxmlformats.org/officeDocument/2006/relationships/image" Target="../media/image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5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5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42.xml"/><Relationship Id="rId7" Type="http://schemas.openxmlformats.org/officeDocument/2006/relationships/image" Target="../media/image5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4.xml"/><Relationship Id="rId7" Type="http://schemas.openxmlformats.org/officeDocument/2006/relationships/image" Target="../media/image5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5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5.emf"/><Relationship Id="rId2" Type="http://schemas.openxmlformats.org/officeDocument/2006/relationships/tags" Target="../tags/tag14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5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52.xml"/><Relationship Id="rId7" Type="http://schemas.openxmlformats.org/officeDocument/2006/relationships/image" Target="../media/image5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54.xml"/><Relationship Id="rId7" Type="http://schemas.openxmlformats.org/officeDocument/2006/relationships/image" Target="../media/image5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5.xml"/><Relationship Id="rId7" Type="http://schemas.openxmlformats.org/officeDocument/2006/relationships/image" Target="../media/image6.jp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6.xml"/><Relationship Id="rId9" Type="http://schemas.openxmlformats.org/officeDocument/2006/relationships/image" Target="../media/image5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56.xml"/><Relationship Id="rId7" Type="http://schemas.openxmlformats.org/officeDocument/2006/relationships/image" Target="../media/image5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58.xml"/><Relationship Id="rId7" Type="http://schemas.openxmlformats.org/officeDocument/2006/relationships/image" Target="../media/image5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60.xml"/><Relationship Id="rId7" Type="http://schemas.openxmlformats.org/officeDocument/2006/relationships/image" Target="../media/image5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62.xml"/><Relationship Id="rId7" Type="http://schemas.openxmlformats.org/officeDocument/2006/relationships/image" Target="../media/image5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33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9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164.xml"/><Relationship Id="rId7" Type="http://schemas.openxmlformats.org/officeDocument/2006/relationships/image" Target="../media/image5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166.xml"/><Relationship Id="rId7" Type="http://schemas.openxmlformats.org/officeDocument/2006/relationships/image" Target="../media/image5.emf"/><Relationship Id="rId2" Type="http://schemas.openxmlformats.org/officeDocument/2006/relationships/tags" Target="../tags/tag165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7.xml"/><Relationship Id="rId4" Type="http://schemas.openxmlformats.org/officeDocument/2006/relationships/image" Target="../media/image7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68.xml"/><Relationship Id="rId4" Type="http://schemas.openxmlformats.org/officeDocument/2006/relationships/image" Target="../media/image22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6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7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8.xml"/><Relationship Id="rId7" Type="http://schemas.openxmlformats.org/officeDocument/2006/relationships/image" Target="../media/image6.jp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9.xml"/><Relationship Id="rId9" Type="http://schemas.openxmlformats.org/officeDocument/2006/relationships/image" Target="../media/image5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5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40.xml"/><Relationship Id="rId4" Type="http://schemas.openxmlformats.org/officeDocument/2006/relationships/slideLayout" Target="../slideLayouts/slideLayout3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5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5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3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5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notesSlide" Target="../notesSlides/notesSlide43.xml"/><Relationship Id="rId4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7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5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45.xml"/><Relationship Id="rId4" Type="http://schemas.openxmlformats.org/officeDocument/2006/relationships/slideLayout" Target="../slideLayouts/slideLayout4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5.emf"/><Relationship Id="rId2" Type="http://schemas.openxmlformats.org/officeDocument/2006/relationships/tags" Target="../tags/tag18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46.xml"/><Relationship Id="rId4" Type="http://schemas.openxmlformats.org/officeDocument/2006/relationships/slideLayout" Target="../slideLayouts/slideLayout4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5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47.xml"/><Relationship Id="rId4" Type="http://schemas.openxmlformats.org/officeDocument/2006/relationships/slideLayout" Target="../slideLayouts/slideLayout4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87.xml"/><Relationship Id="rId7" Type="http://schemas.openxmlformats.org/officeDocument/2006/relationships/image" Target="../media/image5.emf"/><Relationship Id="rId2" Type="http://schemas.openxmlformats.org/officeDocument/2006/relationships/tags" Target="../tags/tag186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48.xml"/><Relationship Id="rId4" Type="http://schemas.openxmlformats.org/officeDocument/2006/relationships/slideLayout" Target="../slideLayouts/slideLayout50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89.xml"/><Relationship Id="rId7" Type="http://schemas.openxmlformats.org/officeDocument/2006/relationships/image" Target="../media/image5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notesSlide" Target="../notesSlides/notesSlide49.xml"/><Relationship Id="rId4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1.xml"/><Relationship Id="rId7" Type="http://schemas.openxmlformats.org/officeDocument/2006/relationships/image" Target="../media/image6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2.xml"/><Relationship Id="rId9" Type="http://schemas.openxmlformats.org/officeDocument/2006/relationships/image" Target="../media/image5.emf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91.xml"/><Relationship Id="rId7" Type="http://schemas.openxmlformats.org/officeDocument/2006/relationships/image" Target="../media/image5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50.xml"/><Relationship Id="rId4" Type="http://schemas.openxmlformats.org/officeDocument/2006/relationships/slideLayout" Target="../slideLayouts/slideLayout48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93.xml"/><Relationship Id="rId7" Type="http://schemas.openxmlformats.org/officeDocument/2006/relationships/image" Target="../media/image5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notesSlide" Target="../notesSlides/notesSlide51.xml"/><Relationship Id="rId4" Type="http://schemas.openxmlformats.org/officeDocument/2006/relationships/slideLayout" Target="../slideLayouts/slideLayout4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95.xml"/><Relationship Id="rId7" Type="http://schemas.openxmlformats.org/officeDocument/2006/relationships/image" Target="../media/image5.emf"/><Relationship Id="rId2" Type="http://schemas.openxmlformats.org/officeDocument/2006/relationships/tags" Target="../tags/tag194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52.xml"/><Relationship Id="rId4" Type="http://schemas.openxmlformats.org/officeDocument/2006/relationships/slideLayout" Target="../slideLayouts/slideLayout4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97.xml"/><Relationship Id="rId7" Type="http://schemas.openxmlformats.org/officeDocument/2006/relationships/image" Target="../media/image5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53.xml"/><Relationship Id="rId4" Type="http://schemas.openxmlformats.org/officeDocument/2006/relationships/slideLayout" Target="../slideLayouts/slideLayout4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5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54.xml"/><Relationship Id="rId4" Type="http://schemas.openxmlformats.org/officeDocument/2006/relationships/slideLayout" Target="../slideLayouts/slideLayout51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5.xml"/><Relationship Id="rId3" Type="http://schemas.openxmlformats.org/officeDocument/2006/relationships/tags" Target="../tags/tag201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55.vml"/><Relationship Id="rId6" Type="http://schemas.openxmlformats.org/officeDocument/2006/relationships/tags" Target="../tags/tag204.xml"/><Relationship Id="rId11" Type="http://schemas.openxmlformats.org/officeDocument/2006/relationships/chart" Target="../charts/chart1.xml"/><Relationship Id="rId5" Type="http://schemas.openxmlformats.org/officeDocument/2006/relationships/tags" Target="../tags/tag203.xml"/><Relationship Id="rId10" Type="http://schemas.openxmlformats.org/officeDocument/2006/relationships/image" Target="../media/image23.emf"/><Relationship Id="rId4" Type="http://schemas.openxmlformats.org/officeDocument/2006/relationships/tags" Target="../tags/tag202.xml"/><Relationship Id="rId9" Type="http://schemas.openxmlformats.org/officeDocument/2006/relationships/oleObject" Target="../embeddings/oleObject55.bin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6.xml"/><Relationship Id="rId3" Type="http://schemas.openxmlformats.org/officeDocument/2006/relationships/tags" Target="../tags/tag206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56.vml"/><Relationship Id="rId6" Type="http://schemas.openxmlformats.org/officeDocument/2006/relationships/tags" Target="../tags/tag209.xml"/><Relationship Id="rId11" Type="http://schemas.openxmlformats.org/officeDocument/2006/relationships/chart" Target="../charts/chart2.xml"/><Relationship Id="rId5" Type="http://schemas.openxmlformats.org/officeDocument/2006/relationships/tags" Target="../tags/tag208.xml"/><Relationship Id="rId10" Type="http://schemas.openxmlformats.org/officeDocument/2006/relationships/image" Target="../media/image23.emf"/><Relationship Id="rId4" Type="http://schemas.openxmlformats.org/officeDocument/2006/relationships/tags" Target="../tags/tag207.xml"/><Relationship Id="rId9" Type="http://schemas.openxmlformats.org/officeDocument/2006/relationships/oleObject" Target="../embeddings/oleObject56.bin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7.xml"/><Relationship Id="rId3" Type="http://schemas.openxmlformats.org/officeDocument/2006/relationships/tags" Target="../tags/tag211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57.vml"/><Relationship Id="rId6" Type="http://schemas.openxmlformats.org/officeDocument/2006/relationships/tags" Target="../tags/tag214.xml"/><Relationship Id="rId11" Type="http://schemas.openxmlformats.org/officeDocument/2006/relationships/chart" Target="../charts/chart3.xml"/><Relationship Id="rId5" Type="http://schemas.openxmlformats.org/officeDocument/2006/relationships/tags" Target="../tags/tag213.xml"/><Relationship Id="rId10" Type="http://schemas.openxmlformats.org/officeDocument/2006/relationships/image" Target="../media/image23.emf"/><Relationship Id="rId4" Type="http://schemas.openxmlformats.org/officeDocument/2006/relationships/tags" Target="../tags/tag212.xml"/><Relationship Id="rId9" Type="http://schemas.openxmlformats.org/officeDocument/2006/relationships/oleObject" Target="../embeddings/oleObject57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8.xml"/><Relationship Id="rId3" Type="http://schemas.openxmlformats.org/officeDocument/2006/relationships/tags" Target="../tags/tag216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58.vml"/><Relationship Id="rId6" Type="http://schemas.openxmlformats.org/officeDocument/2006/relationships/tags" Target="../tags/tag219.xml"/><Relationship Id="rId11" Type="http://schemas.openxmlformats.org/officeDocument/2006/relationships/chart" Target="../charts/chart4.xml"/><Relationship Id="rId5" Type="http://schemas.openxmlformats.org/officeDocument/2006/relationships/tags" Target="../tags/tag218.xml"/><Relationship Id="rId10" Type="http://schemas.openxmlformats.org/officeDocument/2006/relationships/image" Target="../media/image23.emf"/><Relationship Id="rId4" Type="http://schemas.openxmlformats.org/officeDocument/2006/relationships/tags" Target="../tags/tag217.xml"/><Relationship Id="rId9" Type="http://schemas.openxmlformats.org/officeDocument/2006/relationships/oleObject" Target="../embeddings/oleObject58.bin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9.xml"/><Relationship Id="rId3" Type="http://schemas.openxmlformats.org/officeDocument/2006/relationships/tags" Target="../tags/tag221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9.vml"/><Relationship Id="rId6" Type="http://schemas.openxmlformats.org/officeDocument/2006/relationships/tags" Target="../tags/tag224.xml"/><Relationship Id="rId11" Type="http://schemas.openxmlformats.org/officeDocument/2006/relationships/chart" Target="../charts/chart5.xml"/><Relationship Id="rId5" Type="http://schemas.openxmlformats.org/officeDocument/2006/relationships/tags" Target="../tags/tag223.xml"/><Relationship Id="rId10" Type="http://schemas.openxmlformats.org/officeDocument/2006/relationships/image" Target="../media/image23.emf"/><Relationship Id="rId4" Type="http://schemas.openxmlformats.org/officeDocument/2006/relationships/tags" Target="../tags/tag222.xml"/><Relationship Id="rId9" Type="http://schemas.openxmlformats.org/officeDocument/2006/relationships/oleObject" Target="../embeddings/oleObject5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4.xml"/><Relationship Id="rId7" Type="http://schemas.openxmlformats.org/officeDocument/2006/relationships/image" Target="../media/image6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5.xml"/><Relationship Id="rId9" Type="http://schemas.openxmlformats.org/officeDocument/2006/relationships/image" Target="../media/image5.emf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226.xml"/><Relationship Id="rId7" Type="http://schemas.openxmlformats.org/officeDocument/2006/relationships/notesSlide" Target="../notesSlides/notesSlide60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8.xml"/><Relationship Id="rId10" Type="http://schemas.openxmlformats.org/officeDocument/2006/relationships/chart" Target="../charts/chart6.xml"/><Relationship Id="rId4" Type="http://schemas.openxmlformats.org/officeDocument/2006/relationships/tags" Target="../tags/tag227.xml"/><Relationship Id="rId9" Type="http://schemas.openxmlformats.org/officeDocument/2006/relationships/image" Target="../media/image24.emf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1.xml"/><Relationship Id="rId3" Type="http://schemas.openxmlformats.org/officeDocument/2006/relationships/tags" Target="../tags/tag230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61.vml"/><Relationship Id="rId6" Type="http://schemas.openxmlformats.org/officeDocument/2006/relationships/tags" Target="../tags/tag233.xml"/><Relationship Id="rId11" Type="http://schemas.openxmlformats.org/officeDocument/2006/relationships/chart" Target="../charts/chart7.xml"/><Relationship Id="rId5" Type="http://schemas.openxmlformats.org/officeDocument/2006/relationships/tags" Target="../tags/tag232.xml"/><Relationship Id="rId10" Type="http://schemas.openxmlformats.org/officeDocument/2006/relationships/image" Target="../media/image5.emf"/><Relationship Id="rId4" Type="http://schemas.openxmlformats.org/officeDocument/2006/relationships/tags" Target="../tags/tag231.xml"/><Relationship Id="rId9" Type="http://schemas.openxmlformats.org/officeDocument/2006/relationships/oleObject" Target="../embeddings/oleObject61.bin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2.xml"/><Relationship Id="rId3" Type="http://schemas.openxmlformats.org/officeDocument/2006/relationships/tags" Target="../tags/tag235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2.vml"/><Relationship Id="rId6" Type="http://schemas.openxmlformats.org/officeDocument/2006/relationships/tags" Target="../tags/tag238.xml"/><Relationship Id="rId11" Type="http://schemas.openxmlformats.org/officeDocument/2006/relationships/chart" Target="../charts/chart8.xml"/><Relationship Id="rId5" Type="http://schemas.openxmlformats.org/officeDocument/2006/relationships/tags" Target="../tags/tag237.xml"/><Relationship Id="rId10" Type="http://schemas.openxmlformats.org/officeDocument/2006/relationships/image" Target="../media/image5.emf"/><Relationship Id="rId4" Type="http://schemas.openxmlformats.org/officeDocument/2006/relationships/tags" Target="../tags/tag236.xml"/><Relationship Id="rId9" Type="http://schemas.openxmlformats.org/officeDocument/2006/relationships/oleObject" Target="../embeddings/oleObject62.bin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3.xml"/><Relationship Id="rId3" Type="http://schemas.openxmlformats.org/officeDocument/2006/relationships/tags" Target="../tags/tag240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63.vml"/><Relationship Id="rId6" Type="http://schemas.openxmlformats.org/officeDocument/2006/relationships/tags" Target="../tags/tag243.xml"/><Relationship Id="rId11" Type="http://schemas.openxmlformats.org/officeDocument/2006/relationships/chart" Target="../charts/chart9.xml"/><Relationship Id="rId5" Type="http://schemas.openxmlformats.org/officeDocument/2006/relationships/tags" Target="../tags/tag242.xml"/><Relationship Id="rId10" Type="http://schemas.openxmlformats.org/officeDocument/2006/relationships/image" Target="../media/image5.emf"/><Relationship Id="rId4" Type="http://schemas.openxmlformats.org/officeDocument/2006/relationships/tags" Target="../tags/tag241.xml"/><Relationship Id="rId9" Type="http://schemas.openxmlformats.org/officeDocument/2006/relationships/oleObject" Target="../embeddings/oleObject63.bin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4.xml"/><Relationship Id="rId3" Type="http://schemas.openxmlformats.org/officeDocument/2006/relationships/tags" Target="../tags/tag245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64.vml"/><Relationship Id="rId6" Type="http://schemas.openxmlformats.org/officeDocument/2006/relationships/tags" Target="../tags/tag248.xml"/><Relationship Id="rId11" Type="http://schemas.openxmlformats.org/officeDocument/2006/relationships/chart" Target="../charts/chart10.xml"/><Relationship Id="rId5" Type="http://schemas.openxmlformats.org/officeDocument/2006/relationships/tags" Target="../tags/tag247.xml"/><Relationship Id="rId10" Type="http://schemas.openxmlformats.org/officeDocument/2006/relationships/image" Target="../media/image5.emf"/><Relationship Id="rId4" Type="http://schemas.openxmlformats.org/officeDocument/2006/relationships/tags" Target="../tags/tag246.xml"/><Relationship Id="rId9" Type="http://schemas.openxmlformats.org/officeDocument/2006/relationships/oleObject" Target="../embeddings/oleObject64.bin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5.xml"/><Relationship Id="rId3" Type="http://schemas.openxmlformats.org/officeDocument/2006/relationships/tags" Target="../tags/tag250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65.vml"/><Relationship Id="rId6" Type="http://schemas.openxmlformats.org/officeDocument/2006/relationships/tags" Target="../tags/tag253.xml"/><Relationship Id="rId11" Type="http://schemas.openxmlformats.org/officeDocument/2006/relationships/chart" Target="../charts/chart11.xml"/><Relationship Id="rId5" Type="http://schemas.openxmlformats.org/officeDocument/2006/relationships/tags" Target="../tags/tag252.xml"/><Relationship Id="rId10" Type="http://schemas.openxmlformats.org/officeDocument/2006/relationships/image" Target="../media/image5.emf"/><Relationship Id="rId4" Type="http://schemas.openxmlformats.org/officeDocument/2006/relationships/tags" Target="../tags/tag251.xml"/><Relationship Id="rId9" Type="http://schemas.openxmlformats.org/officeDocument/2006/relationships/oleObject" Target="../embeddings/oleObject65.bin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6.xml"/><Relationship Id="rId3" Type="http://schemas.openxmlformats.org/officeDocument/2006/relationships/tags" Target="../tags/tag255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tags" Target="../tags/tag258.xml"/><Relationship Id="rId11" Type="http://schemas.openxmlformats.org/officeDocument/2006/relationships/chart" Target="../charts/chart12.xml"/><Relationship Id="rId5" Type="http://schemas.openxmlformats.org/officeDocument/2006/relationships/tags" Target="../tags/tag257.xml"/><Relationship Id="rId10" Type="http://schemas.openxmlformats.org/officeDocument/2006/relationships/image" Target="../media/image5.emf"/><Relationship Id="rId4" Type="http://schemas.openxmlformats.org/officeDocument/2006/relationships/tags" Target="../tags/tag256.xml"/><Relationship Id="rId9" Type="http://schemas.openxmlformats.org/officeDocument/2006/relationships/oleObject" Target="../embeddings/oleObject66.bin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260.xml"/><Relationship Id="rId7" Type="http://schemas.openxmlformats.org/officeDocument/2006/relationships/image" Target="../media/image5.emf"/><Relationship Id="rId2" Type="http://schemas.openxmlformats.org/officeDocument/2006/relationships/tags" Target="../tags/tag259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6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9.emf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262.xml"/><Relationship Id="rId7" Type="http://schemas.openxmlformats.org/officeDocument/2006/relationships/notesSlide" Target="../notesSlides/notesSlide68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68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264.xml"/><Relationship Id="rId10" Type="http://schemas.openxmlformats.org/officeDocument/2006/relationships/image" Target="../media/image26.jpeg"/><Relationship Id="rId4" Type="http://schemas.openxmlformats.org/officeDocument/2006/relationships/tags" Target="../tags/tag263.xml"/><Relationship Id="rId9" Type="http://schemas.openxmlformats.org/officeDocument/2006/relationships/image" Target="../media/image25.emf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chart" Target="../charts/chart14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69.vml"/><Relationship Id="rId6" Type="http://schemas.openxmlformats.org/officeDocument/2006/relationships/tags" Target="../tags/tag269.xml"/><Relationship Id="rId11" Type="http://schemas.openxmlformats.org/officeDocument/2006/relationships/image" Target="../media/image27.emf"/><Relationship Id="rId5" Type="http://schemas.openxmlformats.org/officeDocument/2006/relationships/tags" Target="../tags/tag268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267.xml"/><Relationship Id="rId9" Type="http://schemas.openxmlformats.org/officeDocument/2006/relationships/notesSlide" Target="../notesSlides/notesSlide6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7" Type="http://schemas.openxmlformats.org/officeDocument/2006/relationships/image" Target="../media/image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8.xml"/><Relationship Id="rId9" Type="http://schemas.openxmlformats.org/officeDocument/2006/relationships/image" Target="../media/image5.emf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272.xml"/><Relationship Id="rId7" Type="http://schemas.openxmlformats.org/officeDocument/2006/relationships/oleObject" Target="../embeddings/oleObject70.bin"/><Relationship Id="rId2" Type="http://schemas.openxmlformats.org/officeDocument/2006/relationships/tags" Target="../tags/tag271.xml"/><Relationship Id="rId1" Type="http://schemas.openxmlformats.org/officeDocument/2006/relationships/vmlDrawing" Target="../drawings/vmlDrawing70.vml"/><Relationship Id="rId6" Type="http://schemas.openxmlformats.org/officeDocument/2006/relationships/notesSlide" Target="../notesSlides/notesSlide70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27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275.xml"/><Relationship Id="rId7" Type="http://schemas.openxmlformats.org/officeDocument/2006/relationships/oleObject" Target="../embeddings/oleObject71.bin"/><Relationship Id="rId2" Type="http://schemas.openxmlformats.org/officeDocument/2006/relationships/tags" Target="../tags/tag274.xml"/><Relationship Id="rId1" Type="http://schemas.openxmlformats.org/officeDocument/2006/relationships/vmlDrawing" Target="../drawings/vmlDrawing71.vml"/><Relationship Id="rId6" Type="http://schemas.openxmlformats.org/officeDocument/2006/relationships/notesSlide" Target="../notesSlides/notesSlide71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276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2.xml"/><Relationship Id="rId3" Type="http://schemas.openxmlformats.org/officeDocument/2006/relationships/tags" Target="../tags/tag278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72.vml"/><Relationship Id="rId6" Type="http://schemas.openxmlformats.org/officeDocument/2006/relationships/tags" Target="../tags/tag281.xml"/><Relationship Id="rId11" Type="http://schemas.openxmlformats.org/officeDocument/2006/relationships/image" Target="../media/image29.jpeg"/><Relationship Id="rId5" Type="http://schemas.openxmlformats.org/officeDocument/2006/relationships/tags" Target="../tags/tag280.xml"/><Relationship Id="rId10" Type="http://schemas.openxmlformats.org/officeDocument/2006/relationships/image" Target="../media/image5.emf"/><Relationship Id="rId4" Type="http://schemas.openxmlformats.org/officeDocument/2006/relationships/tags" Target="../tags/tag279.xml"/><Relationship Id="rId9" Type="http://schemas.openxmlformats.org/officeDocument/2006/relationships/oleObject" Target="../embeddings/oleObject72.bin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3.xml"/><Relationship Id="rId3" Type="http://schemas.openxmlformats.org/officeDocument/2006/relationships/tags" Target="../tags/tag283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86.xml"/><Relationship Id="rId11" Type="http://schemas.openxmlformats.org/officeDocument/2006/relationships/image" Target="../media/image29.jpeg"/><Relationship Id="rId5" Type="http://schemas.openxmlformats.org/officeDocument/2006/relationships/tags" Target="../tags/tag285.xml"/><Relationship Id="rId10" Type="http://schemas.openxmlformats.org/officeDocument/2006/relationships/image" Target="../media/image5.emf"/><Relationship Id="rId4" Type="http://schemas.openxmlformats.org/officeDocument/2006/relationships/tags" Target="../tags/tag284.xml"/><Relationship Id="rId9" Type="http://schemas.openxmlformats.org/officeDocument/2006/relationships/oleObject" Target="../embeddings/oleObject73.bin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4.xml"/><Relationship Id="rId3" Type="http://schemas.openxmlformats.org/officeDocument/2006/relationships/tags" Target="../tags/tag288.xml"/><Relationship Id="rId7" Type="http://schemas.openxmlformats.org/officeDocument/2006/relationships/slideLayout" Target="../slideLayouts/slideLayout40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74.vml"/><Relationship Id="rId6" Type="http://schemas.openxmlformats.org/officeDocument/2006/relationships/tags" Target="../tags/tag291.xml"/><Relationship Id="rId11" Type="http://schemas.openxmlformats.org/officeDocument/2006/relationships/image" Target="../media/image29.jpeg"/><Relationship Id="rId5" Type="http://schemas.openxmlformats.org/officeDocument/2006/relationships/tags" Target="../tags/tag290.xml"/><Relationship Id="rId10" Type="http://schemas.openxmlformats.org/officeDocument/2006/relationships/image" Target="../media/image5.emf"/><Relationship Id="rId4" Type="http://schemas.openxmlformats.org/officeDocument/2006/relationships/tags" Target="../tags/tag289.xml"/><Relationship Id="rId9" Type="http://schemas.openxmlformats.org/officeDocument/2006/relationships/oleObject" Target="../embeddings/oleObject74.bin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5.xml"/><Relationship Id="rId3" Type="http://schemas.openxmlformats.org/officeDocument/2006/relationships/tags" Target="../tags/tag293.xml"/><Relationship Id="rId7" Type="http://schemas.openxmlformats.org/officeDocument/2006/relationships/slideLayout" Target="../slideLayouts/slideLayout2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75.vml"/><Relationship Id="rId6" Type="http://schemas.openxmlformats.org/officeDocument/2006/relationships/tags" Target="../tags/tag296.xml"/><Relationship Id="rId11" Type="http://schemas.openxmlformats.org/officeDocument/2006/relationships/image" Target="../media/image30.jpeg"/><Relationship Id="rId5" Type="http://schemas.openxmlformats.org/officeDocument/2006/relationships/tags" Target="../tags/tag295.xml"/><Relationship Id="rId10" Type="http://schemas.openxmlformats.org/officeDocument/2006/relationships/image" Target="../media/image24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75.bin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6.xml"/><Relationship Id="rId3" Type="http://schemas.openxmlformats.org/officeDocument/2006/relationships/tags" Target="../tags/tag298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01.xml"/><Relationship Id="rId11" Type="http://schemas.openxmlformats.org/officeDocument/2006/relationships/image" Target="../media/image30.jpeg"/><Relationship Id="rId5" Type="http://schemas.openxmlformats.org/officeDocument/2006/relationships/tags" Target="../tags/tag300.xml"/><Relationship Id="rId10" Type="http://schemas.openxmlformats.org/officeDocument/2006/relationships/image" Target="../media/image24.emf"/><Relationship Id="rId4" Type="http://schemas.openxmlformats.org/officeDocument/2006/relationships/tags" Target="../tags/tag299.xml"/><Relationship Id="rId9" Type="http://schemas.openxmlformats.org/officeDocument/2006/relationships/oleObject" Target="../embeddings/oleObject76.bin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image" Target="../media/image30.jpeg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12" Type="http://schemas.openxmlformats.org/officeDocument/2006/relationships/image" Target="../media/image28.emf"/><Relationship Id="rId2" Type="http://schemas.openxmlformats.org/officeDocument/2006/relationships/tags" Target="../tags/tag302.xml"/><Relationship Id="rId1" Type="http://schemas.openxmlformats.org/officeDocument/2006/relationships/vmlDrawing" Target="../drawings/vmlDrawing77.vml"/><Relationship Id="rId6" Type="http://schemas.openxmlformats.org/officeDocument/2006/relationships/tags" Target="../tags/tag306.xml"/><Relationship Id="rId11" Type="http://schemas.openxmlformats.org/officeDocument/2006/relationships/oleObject" Target="../embeddings/oleObject77.bin"/><Relationship Id="rId5" Type="http://schemas.openxmlformats.org/officeDocument/2006/relationships/tags" Target="../tags/tag305.xml"/><Relationship Id="rId10" Type="http://schemas.openxmlformats.org/officeDocument/2006/relationships/notesSlide" Target="../notesSlides/notesSlide77.xml"/><Relationship Id="rId4" Type="http://schemas.openxmlformats.org/officeDocument/2006/relationships/tags" Target="../tags/tag304.xml"/><Relationship Id="rId9" Type="http://schemas.openxmlformats.org/officeDocument/2006/relationships/slideLayout" Target="../slideLayouts/slideLayout19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image" Target="../media/image30.jpeg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28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78.vml"/><Relationship Id="rId6" Type="http://schemas.openxmlformats.org/officeDocument/2006/relationships/tags" Target="../tags/tag313.xml"/><Relationship Id="rId11" Type="http://schemas.openxmlformats.org/officeDocument/2006/relationships/oleObject" Target="../embeddings/oleObject78.bin"/><Relationship Id="rId5" Type="http://schemas.openxmlformats.org/officeDocument/2006/relationships/tags" Target="../tags/tag312.xml"/><Relationship Id="rId10" Type="http://schemas.openxmlformats.org/officeDocument/2006/relationships/notesSlide" Target="../notesSlides/notesSlide78.xml"/><Relationship Id="rId4" Type="http://schemas.openxmlformats.org/officeDocument/2006/relationships/tags" Target="../tags/tag311.xml"/><Relationship Id="rId9" Type="http://schemas.openxmlformats.org/officeDocument/2006/relationships/slideLayout" Target="../slideLayouts/slideLayout17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317.xml"/><Relationship Id="rId7" Type="http://schemas.openxmlformats.org/officeDocument/2006/relationships/notesSlide" Target="../notesSlides/notesSlide79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79.v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2.jpg"/><Relationship Id="rId5" Type="http://schemas.openxmlformats.org/officeDocument/2006/relationships/tags" Target="../tags/tag319.xml"/><Relationship Id="rId10" Type="http://schemas.openxmlformats.org/officeDocument/2006/relationships/image" Target="../media/image31.png"/><Relationship Id="rId4" Type="http://schemas.openxmlformats.org/officeDocument/2006/relationships/tags" Target="../tags/tag318.xml"/><Relationship Id="rId9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30.xml"/><Relationship Id="rId7" Type="http://schemas.openxmlformats.org/officeDocument/2006/relationships/image" Target="../media/image6.jpg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31.xml"/><Relationship Id="rId9" Type="http://schemas.openxmlformats.org/officeDocument/2006/relationships/image" Target="../media/image5.emf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321.xml"/><Relationship Id="rId7" Type="http://schemas.openxmlformats.org/officeDocument/2006/relationships/notesSlide" Target="../notesSlides/notesSlide80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80.v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2.jpg"/><Relationship Id="rId5" Type="http://schemas.openxmlformats.org/officeDocument/2006/relationships/tags" Target="../tags/tag323.xml"/><Relationship Id="rId10" Type="http://schemas.openxmlformats.org/officeDocument/2006/relationships/image" Target="../media/image33.png"/><Relationship Id="rId4" Type="http://schemas.openxmlformats.org/officeDocument/2006/relationships/tags" Target="../tags/tag322.xml"/><Relationship Id="rId9" Type="http://schemas.openxmlformats.org/officeDocument/2006/relationships/image" Target="../media/image24.emf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325.xml"/><Relationship Id="rId7" Type="http://schemas.openxmlformats.org/officeDocument/2006/relationships/notesSlide" Target="../notesSlides/notesSlide81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81.v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5.png"/><Relationship Id="rId5" Type="http://schemas.openxmlformats.org/officeDocument/2006/relationships/tags" Target="../tags/tag327.xml"/><Relationship Id="rId10" Type="http://schemas.openxmlformats.org/officeDocument/2006/relationships/image" Target="../media/image32.jpg"/><Relationship Id="rId4" Type="http://schemas.openxmlformats.org/officeDocument/2006/relationships/tags" Target="../tags/tag326.xml"/><Relationship Id="rId9" Type="http://schemas.openxmlformats.org/officeDocument/2006/relationships/image" Target="../media/image34.emf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329.xml"/><Relationship Id="rId7" Type="http://schemas.openxmlformats.org/officeDocument/2006/relationships/notesSlide" Target="../notesSlides/notesSlide82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82.v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5.png"/><Relationship Id="rId5" Type="http://schemas.openxmlformats.org/officeDocument/2006/relationships/tags" Target="../tags/tag331.xml"/><Relationship Id="rId10" Type="http://schemas.openxmlformats.org/officeDocument/2006/relationships/image" Target="../media/image32.jpg"/><Relationship Id="rId4" Type="http://schemas.openxmlformats.org/officeDocument/2006/relationships/tags" Target="../tags/tag330.xml"/><Relationship Id="rId9" Type="http://schemas.openxmlformats.org/officeDocument/2006/relationships/image" Target="../media/image34.emf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333.xml"/><Relationship Id="rId7" Type="http://schemas.openxmlformats.org/officeDocument/2006/relationships/oleObject" Target="../embeddings/oleObject83.bin"/><Relationship Id="rId2" Type="http://schemas.openxmlformats.org/officeDocument/2006/relationships/tags" Target="../tags/tag332.xml"/><Relationship Id="rId1" Type="http://schemas.openxmlformats.org/officeDocument/2006/relationships/vmlDrawing" Target="../drawings/vmlDrawing83.vml"/><Relationship Id="rId6" Type="http://schemas.openxmlformats.org/officeDocument/2006/relationships/notesSlide" Target="../notesSlides/notesSlide83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34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336.xml"/><Relationship Id="rId7" Type="http://schemas.openxmlformats.org/officeDocument/2006/relationships/oleObject" Target="../embeddings/oleObject84.bin"/><Relationship Id="rId2" Type="http://schemas.openxmlformats.org/officeDocument/2006/relationships/tags" Target="../tags/tag335.xml"/><Relationship Id="rId1" Type="http://schemas.openxmlformats.org/officeDocument/2006/relationships/vmlDrawing" Target="../drawings/vmlDrawing84.vml"/><Relationship Id="rId6" Type="http://schemas.openxmlformats.org/officeDocument/2006/relationships/notesSlide" Target="../notesSlides/notesSlide84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37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339.xml"/><Relationship Id="rId7" Type="http://schemas.openxmlformats.org/officeDocument/2006/relationships/oleObject" Target="../embeddings/oleObject85.bin"/><Relationship Id="rId2" Type="http://schemas.openxmlformats.org/officeDocument/2006/relationships/tags" Target="../tags/tag338.xml"/><Relationship Id="rId1" Type="http://schemas.openxmlformats.org/officeDocument/2006/relationships/vmlDrawing" Target="../drawings/vmlDrawing85.vml"/><Relationship Id="rId6" Type="http://schemas.openxmlformats.org/officeDocument/2006/relationships/notesSlide" Target="../notesSlides/notesSlide85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40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.bin"/><Relationship Id="rId3" Type="http://schemas.openxmlformats.org/officeDocument/2006/relationships/tags" Target="../tags/tag342.xml"/><Relationship Id="rId7" Type="http://schemas.openxmlformats.org/officeDocument/2006/relationships/notesSlide" Target="../notesSlides/notesSlide8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86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44.xml"/><Relationship Id="rId4" Type="http://schemas.openxmlformats.org/officeDocument/2006/relationships/tags" Target="../tags/tag343.xml"/><Relationship Id="rId9" Type="http://schemas.openxmlformats.org/officeDocument/2006/relationships/image" Target="../media/image23.emf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346.xml"/><Relationship Id="rId7" Type="http://schemas.openxmlformats.org/officeDocument/2006/relationships/notesSlide" Target="../notesSlides/notesSlide87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87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48.xml"/><Relationship Id="rId4" Type="http://schemas.openxmlformats.org/officeDocument/2006/relationships/tags" Target="../tags/tag347.xml"/><Relationship Id="rId9" Type="http://schemas.openxmlformats.org/officeDocument/2006/relationships/image" Target="../media/image36.emf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350.xml"/><Relationship Id="rId7" Type="http://schemas.openxmlformats.org/officeDocument/2006/relationships/notesSlide" Target="../notesSlides/notesSlide88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88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52.xml"/><Relationship Id="rId4" Type="http://schemas.openxmlformats.org/officeDocument/2006/relationships/tags" Target="../tags/tag351.xml"/><Relationship Id="rId9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9.bin"/><Relationship Id="rId3" Type="http://schemas.openxmlformats.org/officeDocument/2006/relationships/tags" Target="../tags/tag354.xml"/><Relationship Id="rId7" Type="http://schemas.openxmlformats.org/officeDocument/2006/relationships/notesSlide" Target="../notesSlides/notesSlide89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89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56.xml"/><Relationship Id="rId4" Type="http://schemas.openxmlformats.org/officeDocument/2006/relationships/tags" Target="../tags/tag355.xml"/><Relationship Id="rId9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tags" Target="../tags/tag363.xml"/><Relationship Id="rId3" Type="http://schemas.openxmlformats.org/officeDocument/2006/relationships/tags" Target="../tags/tag358.xml"/><Relationship Id="rId7" Type="http://schemas.openxmlformats.org/officeDocument/2006/relationships/tags" Target="../tags/tag362.xml"/><Relationship Id="rId12" Type="http://schemas.openxmlformats.org/officeDocument/2006/relationships/image" Target="../media/image28.emf"/><Relationship Id="rId2" Type="http://schemas.openxmlformats.org/officeDocument/2006/relationships/tags" Target="../tags/tag357.xml"/><Relationship Id="rId1" Type="http://schemas.openxmlformats.org/officeDocument/2006/relationships/vmlDrawing" Target="../drawings/vmlDrawing90.vml"/><Relationship Id="rId6" Type="http://schemas.openxmlformats.org/officeDocument/2006/relationships/tags" Target="../tags/tag361.xml"/><Relationship Id="rId11" Type="http://schemas.openxmlformats.org/officeDocument/2006/relationships/oleObject" Target="../embeddings/oleObject90.bin"/><Relationship Id="rId5" Type="http://schemas.openxmlformats.org/officeDocument/2006/relationships/tags" Target="../tags/tag360.xml"/><Relationship Id="rId10" Type="http://schemas.openxmlformats.org/officeDocument/2006/relationships/notesSlide" Target="../notesSlides/notesSlide90.xml"/><Relationship Id="rId4" Type="http://schemas.openxmlformats.org/officeDocument/2006/relationships/tags" Target="../tags/tag359.xml"/><Relationship Id="rId9" Type="http://schemas.openxmlformats.org/officeDocument/2006/relationships/slideLayout" Target="../slideLayouts/slideLayout17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image" Target="../media/image5.emf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12" Type="http://schemas.openxmlformats.org/officeDocument/2006/relationships/oleObject" Target="../embeddings/oleObject91.bin"/><Relationship Id="rId2" Type="http://schemas.openxmlformats.org/officeDocument/2006/relationships/tags" Target="../tags/tag364.xml"/><Relationship Id="rId16" Type="http://schemas.openxmlformats.org/officeDocument/2006/relationships/chart" Target="../charts/chart17.xml"/><Relationship Id="rId1" Type="http://schemas.openxmlformats.org/officeDocument/2006/relationships/vmlDrawing" Target="../drawings/vmlDrawing91.vml"/><Relationship Id="rId6" Type="http://schemas.openxmlformats.org/officeDocument/2006/relationships/tags" Target="../tags/tag368.xml"/><Relationship Id="rId11" Type="http://schemas.openxmlformats.org/officeDocument/2006/relationships/notesSlide" Target="../notesSlides/notesSlide91.xml"/><Relationship Id="rId5" Type="http://schemas.openxmlformats.org/officeDocument/2006/relationships/tags" Target="../tags/tag367.xml"/><Relationship Id="rId15" Type="http://schemas.openxmlformats.org/officeDocument/2006/relationships/chart" Target="../charts/chart16.xml"/><Relationship Id="rId10" Type="http://schemas.openxmlformats.org/officeDocument/2006/relationships/slideLayout" Target="../slideLayouts/slideLayout17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chart" Target="../charts/chart15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73.xml"/><Relationship Id="rId7" Type="http://schemas.openxmlformats.org/officeDocument/2006/relationships/oleObject" Target="../embeddings/oleObject92.bin"/><Relationship Id="rId2" Type="http://schemas.openxmlformats.org/officeDocument/2006/relationships/tags" Target="../tags/tag372.xml"/><Relationship Id="rId1" Type="http://schemas.openxmlformats.org/officeDocument/2006/relationships/vmlDrawing" Target="../drawings/vmlDrawing92.vml"/><Relationship Id="rId6" Type="http://schemas.openxmlformats.org/officeDocument/2006/relationships/notesSlide" Target="../notesSlides/notesSlide92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374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5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8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9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80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5DF1DD-3AB9-4D4B-9F8C-399C8D965EFE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5DF1DD-3AB9-4D4B-9F8C-399C8D965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 in Liebherr Head Black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6005958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6168A17-67B7-4A51-B685-B30B066417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6168A17-67B7-4A51-B685-B30B06641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is the </a:t>
            </a:r>
            <a:br>
              <a:rPr lang="en-US" dirty="0" smtClean="0"/>
            </a:br>
            <a:r>
              <a:rPr lang="en-US" dirty="0" smtClean="0"/>
              <a:t>title of the presentation 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69592532"/>
      </p:ext>
    </p:extLst>
  </p:cSld>
  <p:clrMapOvr>
    <a:masterClrMapping/>
  </p:clrMapOvr>
  <p:transition spd="slow"/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Title 289">
            <a:extLst>
              <a:ext uri="{FF2B5EF4-FFF2-40B4-BE49-F238E27FC236}">
                <a16:creationId xmlns:a16="http://schemas.microsoft.com/office/drawing/2014/main" id="{1E98223E-5E8E-4858-B0C8-81C392D1E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Australia highlighted</a:t>
            </a:r>
            <a:endParaRPr lang="en-US" dirty="0"/>
          </a:p>
        </p:txBody>
      </p:sp>
      <p:sp>
        <p:nvSpPr>
          <p:cNvPr id="291" name="Text Placeholder 29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Date Placeholder 29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98" name="Footer Placeholder 29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99" name="Slide Number Placeholder 29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0</a:t>
            </a:fld>
            <a:endParaRPr lang="en-US" dirty="0"/>
          </a:p>
        </p:txBody>
      </p:sp>
      <p:grpSp>
        <p:nvGrpSpPr>
          <p:cNvPr id="288" name="Gruppieren 287">
            <a:extLst>
              <a:ext uri="{FF2B5EF4-FFF2-40B4-BE49-F238E27FC236}">
                <a16:creationId xmlns:a16="http://schemas.microsoft.com/office/drawing/2014/main" id="{F89987A7-95C0-420E-A253-73C7314E6326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3288"/>
            <a:ext cx="7074679" cy="4248000"/>
            <a:chOff x="566738" y="109537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26423F0-0330-403A-BFD0-91AB12E24154}"/>
                </a:ext>
              </a:extLst>
            </p:cNvPr>
            <p:cNvSpPr/>
            <p:nvPr/>
          </p:nvSpPr>
          <p:spPr>
            <a:xfrm>
              <a:off x="3335742" y="228010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D70A1A11-9466-49D1-88FB-992F3586251D}"/>
                </a:ext>
              </a:extLst>
            </p:cNvPr>
            <p:cNvSpPr/>
            <p:nvPr/>
          </p:nvSpPr>
          <p:spPr>
            <a:xfrm>
              <a:off x="2778240" y="3547081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20C1FA36-1523-46AE-AA51-0E0F50F8DF50}"/>
                </a:ext>
              </a:extLst>
            </p:cNvPr>
            <p:cNvSpPr/>
            <p:nvPr/>
          </p:nvSpPr>
          <p:spPr>
            <a:xfrm>
              <a:off x="2613500" y="3902666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EBAB5B4-C8A4-4310-9077-E2AFAA5BD451}"/>
                </a:ext>
              </a:extLst>
            </p:cNvPr>
            <p:cNvSpPr/>
            <p:nvPr/>
          </p:nvSpPr>
          <p:spPr>
            <a:xfrm>
              <a:off x="2604330" y="4021221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1A890648-0A7C-4A28-9D37-56DF469032E0}"/>
                </a:ext>
              </a:extLst>
            </p:cNvPr>
            <p:cNvSpPr/>
            <p:nvPr/>
          </p:nvSpPr>
          <p:spPr>
            <a:xfrm>
              <a:off x="2716028" y="4258333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FC7B8ED7-AA9E-490C-B868-5BE5349C2D88}"/>
                </a:ext>
              </a:extLst>
            </p:cNvPr>
            <p:cNvSpPr/>
            <p:nvPr/>
          </p:nvSpPr>
          <p:spPr>
            <a:xfrm>
              <a:off x="2809799" y="4376806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F012EC0-294C-413A-A11F-4365B876B21E}"/>
                </a:ext>
              </a:extLst>
            </p:cNvPr>
            <p:cNvSpPr/>
            <p:nvPr/>
          </p:nvSpPr>
          <p:spPr>
            <a:xfrm>
              <a:off x="2933560" y="4613919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A9413F9-4AF1-449D-A3E1-BE007B8D1087}"/>
                </a:ext>
              </a:extLst>
            </p:cNvPr>
            <p:cNvSpPr/>
            <p:nvPr/>
          </p:nvSpPr>
          <p:spPr>
            <a:xfrm>
              <a:off x="2933560" y="4850948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0C0D775A-F527-46E1-9142-944C39EFAC92}"/>
                </a:ext>
              </a:extLst>
            </p:cNvPr>
            <p:cNvSpPr/>
            <p:nvPr/>
          </p:nvSpPr>
          <p:spPr>
            <a:xfrm>
              <a:off x="2933560" y="5088060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805E20D-3CD8-4B01-AB1E-3A46B46EC0FF}"/>
                </a:ext>
              </a:extLst>
            </p:cNvPr>
            <p:cNvSpPr/>
            <p:nvPr/>
          </p:nvSpPr>
          <p:spPr>
            <a:xfrm>
              <a:off x="2933560" y="5443645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8F553E2-7512-4B84-B485-A4A8ACDBBB14}"/>
                </a:ext>
              </a:extLst>
            </p:cNvPr>
            <p:cNvSpPr/>
            <p:nvPr/>
          </p:nvSpPr>
          <p:spPr>
            <a:xfrm>
              <a:off x="2933560" y="5325171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D3566A5-2D2F-4D31-80CC-E7D2D23AB3E4}"/>
                </a:ext>
              </a:extLst>
            </p:cNvPr>
            <p:cNvSpPr/>
            <p:nvPr/>
          </p:nvSpPr>
          <p:spPr>
            <a:xfrm>
              <a:off x="2933560" y="4732474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9A00F75-626B-430F-8F83-64ED1D9DFAB2}"/>
                </a:ext>
              </a:extLst>
            </p:cNvPr>
            <p:cNvSpPr/>
            <p:nvPr/>
          </p:nvSpPr>
          <p:spPr>
            <a:xfrm>
              <a:off x="2933560" y="4969504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EB928E7-0F43-4949-9A62-6672CA6BEAB0}"/>
                </a:ext>
              </a:extLst>
            </p:cNvPr>
            <p:cNvSpPr/>
            <p:nvPr/>
          </p:nvSpPr>
          <p:spPr>
            <a:xfrm>
              <a:off x="2933560" y="5206615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DCAA9DD-49CB-4753-B535-64FB77DEFEBC}"/>
                </a:ext>
              </a:extLst>
            </p:cNvPr>
            <p:cNvSpPr/>
            <p:nvPr/>
          </p:nvSpPr>
          <p:spPr>
            <a:xfrm>
              <a:off x="2933560" y="4495362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EE5A341-4F3D-4F92-A32B-89ADEE7E5699}"/>
                </a:ext>
              </a:extLst>
            </p:cNvPr>
            <p:cNvSpPr/>
            <p:nvPr/>
          </p:nvSpPr>
          <p:spPr>
            <a:xfrm>
              <a:off x="2667945" y="4139777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2149326-552E-4642-BCEB-281EAE5BAFE8}"/>
                </a:ext>
              </a:extLst>
            </p:cNvPr>
            <p:cNvSpPr/>
            <p:nvPr/>
          </p:nvSpPr>
          <p:spPr>
            <a:xfrm>
              <a:off x="2707932" y="3784192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1CDABE60-638E-4DE7-BE34-A2F76BB1E259}"/>
                </a:ext>
              </a:extLst>
            </p:cNvPr>
            <p:cNvSpPr/>
            <p:nvPr/>
          </p:nvSpPr>
          <p:spPr>
            <a:xfrm>
              <a:off x="2707932" y="3665636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4D75AB0F-4007-4295-B10A-CF302635AC9F}"/>
                </a:ext>
              </a:extLst>
            </p:cNvPr>
            <p:cNvSpPr/>
            <p:nvPr/>
          </p:nvSpPr>
          <p:spPr>
            <a:xfrm>
              <a:off x="3105239" y="5799313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0AD95A4B-8865-4FA2-BE47-B3AB73F3020D}"/>
                </a:ext>
              </a:extLst>
            </p:cNvPr>
            <p:cNvSpPr/>
            <p:nvPr/>
          </p:nvSpPr>
          <p:spPr>
            <a:xfrm>
              <a:off x="3000811" y="5680757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FFD9DF47-842E-4146-B860-1B63F2244442}"/>
                </a:ext>
              </a:extLst>
            </p:cNvPr>
            <p:cNvSpPr/>
            <p:nvPr/>
          </p:nvSpPr>
          <p:spPr>
            <a:xfrm>
              <a:off x="2933560" y="5562200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906330B-2EC5-432D-A30B-179CC739A635}"/>
                </a:ext>
              </a:extLst>
            </p:cNvPr>
            <p:cNvSpPr/>
            <p:nvPr/>
          </p:nvSpPr>
          <p:spPr>
            <a:xfrm>
              <a:off x="9680425" y="5680757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A2B66CF9-635B-4F46-BCBB-8C5FF308CF3B}"/>
                </a:ext>
              </a:extLst>
            </p:cNvPr>
            <p:cNvSpPr/>
            <p:nvPr/>
          </p:nvSpPr>
          <p:spPr>
            <a:xfrm>
              <a:off x="9794437" y="5562200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02BCF86-7052-4BCB-B1E4-696831B357AC}"/>
                </a:ext>
              </a:extLst>
            </p:cNvPr>
            <p:cNvSpPr/>
            <p:nvPr/>
          </p:nvSpPr>
          <p:spPr>
            <a:xfrm>
              <a:off x="9901179" y="5443645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E92AC68-78E4-4545-8E9B-8107BEA14DD6}"/>
                </a:ext>
              </a:extLst>
            </p:cNvPr>
            <p:cNvSpPr/>
            <p:nvPr/>
          </p:nvSpPr>
          <p:spPr>
            <a:xfrm>
              <a:off x="9982391" y="5443645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E02B44D-27C4-4DAD-BACE-0FCDD8E506D8}"/>
                </a:ext>
              </a:extLst>
            </p:cNvPr>
            <p:cNvSpPr/>
            <p:nvPr/>
          </p:nvSpPr>
          <p:spPr>
            <a:xfrm>
              <a:off x="9114909" y="5443645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F7855871-4A01-45C3-9B17-48A8A8244E67}"/>
                </a:ext>
              </a:extLst>
            </p:cNvPr>
            <p:cNvSpPr/>
            <p:nvPr/>
          </p:nvSpPr>
          <p:spPr>
            <a:xfrm>
              <a:off x="9019569" y="5206615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8C4A5A1-FF4C-47CC-A898-E347F6F31511}"/>
                </a:ext>
              </a:extLst>
            </p:cNvPr>
            <p:cNvSpPr/>
            <p:nvPr/>
          </p:nvSpPr>
          <p:spPr>
            <a:xfrm>
              <a:off x="8989827" y="5088060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3E0754A-28BF-4265-841C-E771514526BB}"/>
                </a:ext>
              </a:extLst>
            </p:cNvPr>
            <p:cNvSpPr/>
            <p:nvPr/>
          </p:nvSpPr>
          <p:spPr>
            <a:xfrm>
              <a:off x="8896634" y="4969504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D0F2C850-761A-447E-819B-A60097DCEA92}"/>
                </a:ext>
              </a:extLst>
            </p:cNvPr>
            <p:cNvSpPr/>
            <p:nvPr/>
          </p:nvSpPr>
          <p:spPr>
            <a:xfrm>
              <a:off x="8330622" y="4969504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2C165EB-2BF6-47A9-B136-E27B1C9D9B6B}"/>
                </a:ext>
              </a:extLst>
            </p:cNvPr>
            <p:cNvSpPr/>
            <p:nvPr/>
          </p:nvSpPr>
          <p:spPr>
            <a:xfrm>
              <a:off x="8330622" y="4732474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87218F7-1DB6-41E5-87A9-AA653ED0D064}"/>
                </a:ext>
              </a:extLst>
            </p:cNvPr>
            <p:cNvSpPr/>
            <p:nvPr/>
          </p:nvSpPr>
          <p:spPr>
            <a:xfrm>
              <a:off x="8354829" y="4613919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607E8983-458B-4E31-96B6-556C6EB11515}"/>
                </a:ext>
              </a:extLst>
            </p:cNvPr>
            <p:cNvSpPr/>
            <p:nvPr/>
          </p:nvSpPr>
          <p:spPr>
            <a:xfrm>
              <a:off x="8589876" y="4495362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DD3DCC24-6E99-4AA3-8380-6A3DB35579BC}"/>
                </a:ext>
              </a:extLst>
            </p:cNvPr>
            <p:cNvSpPr/>
            <p:nvPr/>
          </p:nvSpPr>
          <p:spPr>
            <a:xfrm>
              <a:off x="8693313" y="4376806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C1925C6-CE36-4E70-8BDD-8632F58178AF}"/>
                </a:ext>
              </a:extLst>
            </p:cNvPr>
            <p:cNvSpPr/>
            <p:nvPr/>
          </p:nvSpPr>
          <p:spPr>
            <a:xfrm>
              <a:off x="9208019" y="4376806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F3E79E0-D9AF-4D66-8985-CD004C588217}"/>
                </a:ext>
              </a:extLst>
            </p:cNvPr>
            <p:cNvSpPr/>
            <p:nvPr/>
          </p:nvSpPr>
          <p:spPr>
            <a:xfrm>
              <a:off x="9208019" y="4258333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37CAADD-5FA6-4E32-9C39-E9CD882487DB}"/>
                </a:ext>
              </a:extLst>
            </p:cNvPr>
            <p:cNvSpPr/>
            <p:nvPr/>
          </p:nvSpPr>
          <p:spPr>
            <a:xfrm>
              <a:off x="8838720" y="4258333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6A085CE8-8B53-4CF0-9BEA-619126E22DE1}"/>
                </a:ext>
              </a:extLst>
            </p:cNvPr>
            <p:cNvSpPr/>
            <p:nvPr/>
          </p:nvSpPr>
          <p:spPr>
            <a:xfrm>
              <a:off x="8355160" y="4850948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61EB4D2-3791-4C56-8CA0-82E524E9AC36}"/>
                </a:ext>
              </a:extLst>
            </p:cNvPr>
            <p:cNvSpPr/>
            <p:nvPr/>
          </p:nvSpPr>
          <p:spPr>
            <a:xfrm>
              <a:off x="10018082" y="5206615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D9FCB78C-DF6C-4A31-80FA-200309C08BEE}"/>
                </a:ext>
              </a:extLst>
            </p:cNvPr>
            <p:cNvSpPr/>
            <p:nvPr/>
          </p:nvSpPr>
          <p:spPr>
            <a:xfrm>
              <a:off x="10001228" y="5325171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8C7F5CAF-9278-4327-BA53-14CD84C6E787}"/>
                </a:ext>
              </a:extLst>
            </p:cNvPr>
            <p:cNvSpPr/>
            <p:nvPr/>
          </p:nvSpPr>
          <p:spPr>
            <a:xfrm>
              <a:off x="5487842" y="4850948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3AB5626-CFF8-4974-8720-4A1D99C27F1E}"/>
                </a:ext>
              </a:extLst>
            </p:cNvPr>
            <p:cNvSpPr/>
            <p:nvPr/>
          </p:nvSpPr>
          <p:spPr>
            <a:xfrm>
              <a:off x="5440997" y="4732474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A0DA510D-8AEA-437D-9EBD-CA4E9A71931E}"/>
                </a:ext>
              </a:extLst>
            </p:cNvPr>
            <p:cNvSpPr/>
            <p:nvPr/>
          </p:nvSpPr>
          <p:spPr>
            <a:xfrm>
              <a:off x="5412659" y="4613919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1AC9A28-5E7A-40C2-AF6C-A9BDC795DD3F}"/>
                </a:ext>
              </a:extLst>
            </p:cNvPr>
            <p:cNvSpPr/>
            <p:nvPr/>
          </p:nvSpPr>
          <p:spPr>
            <a:xfrm>
              <a:off x="5374986" y="4495362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6CB7D10-6A05-48FB-90C6-7DC3C364A0CF}"/>
                </a:ext>
              </a:extLst>
            </p:cNvPr>
            <p:cNvSpPr/>
            <p:nvPr/>
          </p:nvSpPr>
          <p:spPr>
            <a:xfrm>
              <a:off x="6297987" y="4495362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FE0CD560-4B91-460C-93C2-64E2C788B8C8}"/>
                </a:ext>
              </a:extLst>
            </p:cNvPr>
            <p:cNvSpPr/>
            <p:nvPr/>
          </p:nvSpPr>
          <p:spPr>
            <a:xfrm>
              <a:off x="6297987" y="4376806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3A8999E6-D7BA-42B7-B0C9-1DE1EDC6F487}"/>
                </a:ext>
              </a:extLst>
            </p:cNvPr>
            <p:cNvSpPr/>
            <p:nvPr/>
          </p:nvSpPr>
          <p:spPr>
            <a:xfrm>
              <a:off x="6432158" y="4258333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DD6301FF-03C3-49F4-8427-0429AF722EF8}"/>
                </a:ext>
              </a:extLst>
            </p:cNvPr>
            <p:cNvSpPr/>
            <p:nvPr/>
          </p:nvSpPr>
          <p:spPr>
            <a:xfrm>
              <a:off x="6277167" y="4613919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4A69E88-EA73-4A0A-9741-002143E33A7C}"/>
                </a:ext>
              </a:extLst>
            </p:cNvPr>
            <p:cNvSpPr/>
            <p:nvPr/>
          </p:nvSpPr>
          <p:spPr>
            <a:xfrm>
              <a:off x="5343096" y="4376806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A5649F2C-64EE-4249-B171-E8D8C18C40B4}"/>
                </a:ext>
              </a:extLst>
            </p:cNvPr>
            <p:cNvSpPr/>
            <p:nvPr/>
          </p:nvSpPr>
          <p:spPr>
            <a:xfrm>
              <a:off x="5382339" y="4139777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4D3AC1BC-9FE1-4D52-A21B-9FBF1F9E1F47}"/>
                </a:ext>
              </a:extLst>
            </p:cNvPr>
            <p:cNvSpPr/>
            <p:nvPr/>
          </p:nvSpPr>
          <p:spPr>
            <a:xfrm>
              <a:off x="5339709" y="4021221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28728EE-D2C5-4345-A1D8-1F3FF666026C}"/>
                </a:ext>
              </a:extLst>
            </p:cNvPr>
            <p:cNvSpPr/>
            <p:nvPr/>
          </p:nvSpPr>
          <p:spPr>
            <a:xfrm>
              <a:off x="5261552" y="3902666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870A5BDD-3276-4A5E-A7FB-57259477B6F0}"/>
                </a:ext>
              </a:extLst>
            </p:cNvPr>
            <p:cNvSpPr/>
            <p:nvPr/>
          </p:nvSpPr>
          <p:spPr>
            <a:xfrm>
              <a:off x="5294021" y="3784192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139B7DD0-4BC3-41EE-B227-27495E08D980}"/>
                </a:ext>
              </a:extLst>
            </p:cNvPr>
            <p:cNvSpPr/>
            <p:nvPr/>
          </p:nvSpPr>
          <p:spPr>
            <a:xfrm>
              <a:off x="4621351" y="3665636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E133663-9D7C-44E5-B4A9-C7BF7770BDEB}"/>
                </a:ext>
              </a:extLst>
            </p:cNvPr>
            <p:cNvSpPr/>
            <p:nvPr/>
          </p:nvSpPr>
          <p:spPr>
            <a:xfrm>
              <a:off x="4517335" y="3547081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BC5EBC29-3020-4BDB-940C-6C0A531D322C}"/>
                </a:ext>
              </a:extLst>
            </p:cNvPr>
            <p:cNvSpPr/>
            <p:nvPr/>
          </p:nvSpPr>
          <p:spPr>
            <a:xfrm>
              <a:off x="4492302" y="3428525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C43F73E-E632-4FA4-9904-191AD01E86BB}"/>
                </a:ext>
              </a:extLst>
            </p:cNvPr>
            <p:cNvSpPr/>
            <p:nvPr/>
          </p:nvSpPr>
          <p:spPr>
            <a:xfrm>
              <a:off x="4492302" y="3191495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1447C844-D4BF-49CC-A8B8-24628F07DAE3}"/>
                </a:ext>
              </a:extLst>
            </p:cNvPr>
            <p:cNvSpPr/>
            <p:nvPr/>
          </p:nvSpPr>
          <p:spPr>
            <a:xfrm>
              <a:off x="4591195" y="3072939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F75D6D87-3476-4812-BA9D-086C3E6913CD}"/>
                </a:ext>
              </a:extLst>
            </p:cNvPr>
            <p:cNvSpPr/>
            <p:nvPr/>
          </p:nvSpPr>
          <p:spPr>
            <a:xfrm>
              <a:off x="4703637" y="2954383"/>
              <a:ext cx="1710096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9C2CBDC4-7C88-408C-AC45-5EDC69929145}"/>
                </a:ext>
              </a:extLst>
            </p:cNvPr>
            <p:cNvSpPr/>
            <p:nvPr/>
          </p:nvSpPr>
          <p:spPr>
            <a:xfrm>
              <a:off x="4809635" y="2835827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4FB84D04-1243-4B4F-83F1-E290A9B2EFED}"/>
                </a:ext>
              </a:extLst>
            </p:cNvPr>
            <p:cNvSpPr/>
            <p:nvPr/>
          </p:nvSpPr>
          <p:spPr>
            <a:xfrm>
              <a:off x="5043773" y="2717354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708DC03C-30A3-45A9-B328-5B6884E4E273}"/>
                </a:ext>
              </a:extLst>
            </p:cNvPr>
            <p:cNvSpPr/>
            <p:nvPr/>
          </p:nvSpPr>
          <p:spPr>
            <a:xfrm>
              <a:off x="4750895" y="2717354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7C9B8F9A-9667-45E5-86CE-D8E60A900C2A}"/>
                </a:ext>
              </a:extLst>
            </p:cNvPr>
            <p:cNvSpPr/>
            <p:nvPr/>
          </p:nvSpPr>
          <p:spPr>
            <a:xfrm>
              <a:off x="5351440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BC6B85BB-FE89-4D64-A714-355822088635}"/>
                </a:ext>
              </a:extLst>
            </p:cNvPr>
            <p:cNvSpPr/>
            <p:nvPr/>
          </p:nvSpPr>
          <p:spPr>
            <a:xfrm>
              <a:off x="5581695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274D751-0B9D-4BC6-93C1-FF885904A588}"/>
                </a:ext>
              </a:extLst>
            </p:cNvPr>
            <p:cNvSpPr/>
            <p:nvPr/>
          </p:nvSpPr>
          <p:spPr>
            <a:xfrm>
              <a:off x="4527167" y="3309968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70541CBD-B99C-4E45-A47D-2D90F08C5B40}"/>
                </a:ext>
              </a:extLst>
            </p:cNvPr>
            <p:cNvSpPr/>
            <p:nvPr/>
          </p:nvSpPr>
          <p:spPr>
            <a:xfrm>
              <a:off x="5382339" y="4258333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FD518C81-C37D-46A9-B424-E95801D7733B}"/>
                </a:ext>
              </a:extLst>
            </p:cNvPr>
            <p:cNvSpPr/>
            <p:nvPr/>
          </p:nvSpPr>
          <p:spPr>
            <a:xfrm>
              <a:off x="2273778" y="3428525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1624749A-178F-4E16-B374-288020BC8910}"/>
                </a:ext>
              </a:extLst>
            </p:cNvPr>
            <p:cNvSpPr/>
            <p:nvPr/>
          </p:nvSpPr>
          <p:spPr>
            <a:xfrm>
              <a:off x="2319134" y="3309968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74487AF1-82D6-4739-A13B-4801D473D109}"/>
                </a:ext>
              </a:extLst>
            </p:cNvPr>
            <p:cNvSpPr/>
            <p:nvPr/>
          </p:nvSpPr>
          <p:spPr>
            <a:xfrm>
              <a:off x="2861849" y="3309968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EF899E9F-B1F1-4BAE-8E60-97D2309F7897}"/>
                </a:ext>
              </a:extLst>
            </p:cNvPr>
            <p:cNvSpPr/>
            <p:nvPr/>
          </p:nvSpPr>
          <p:spPr>
            <a:xfrm>
              <a:off x="3033527" y="3309968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E665622C-1093-48EB-8B7E-AA0B99C70F85}"/>
                </a:ext>
              </a:extLst>
            </p:cNvPr>
            <p:cNvSpPr/>
            <p:nvPr/>
          </p:nvSpPr>
          <p:spPr>
            <a:xfrm>
              <a:off x="1957766" y="3309968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BD16EB27-687F-4F56-9867-068DE397A754}"/>
                </a:ext>
              </a:extLst>
            </p:cNvPr>
            <p:cNvSpPr/>
            <p:nvPr/>
          </p:nvSpPr>
          <p:spPr>
            <a:xfrm>
              <a:off x="1902496" y="3191495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1F3A616-5CC5-4406-A4C6-C133599C77EB}"/>
                </a:ext>
              </a:extLst>
            </p:cNvPr>
            <p:cNvSpPr/>
            <p:nvPr/>
          </p:nvSpPr>
          <p:spPr>
            <a:xfrm>
              <a:off x="2533279" y="3191495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1727A6B6-5F30-461D-A075-BDB90EDBD697}"/>
                </a:ext>
              </a:extLst>
            </p:cNvPr>
            <p:cNvSpPr/>
            <p:nvPr/>
          </p:nvSpPr>
          <p:spPr>
            <a:xfrm>
              <a:off x="2609039" y="3072939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4EE33FF2-612E-44EC-A045-266FD1F2F061}"/>
                </a:ext>
              </a:extLst>
            </p:cNvPr>
            <p:cNvSpPr/>
            <p:nvPr/>
          </p:nvSpPr>
          <p:spPr>
            <a:xfrm>
              <a:off x="1831610" y="3072939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B794667D-888E-49EC-9B44-C0BE53572DE7}"/>
                </a:ext>
              </a:extLst>
            </p:cNvPr>
            <p:cNvSpPr/>
            <p:nvPr/>
          </p:nvSpPr>
          <p:spPr>
            <a:xfrm>
              <a:off x="1744201" y="2954383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D176A766-D598-4507-B635-C8614DBA91EB}"/>
                </a:ext>
              </a:extLst>
            </p:cNvPr>
            <p:cNvSpPr/>
            <p:nvPr/>
          </p:nvSpPr>
          <p:spPr>
            <a:xfrm>
              <a:off x="1617961" y="2835827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C35D0901-B5CC-4EA4-AD44-5263103807F0}"/>
                </a:ext>
              </a:extLst>
            </p:cNvPr>
            <p:cNvSpPr/>
            <p:nvPr/>
          </p:nvSpPr>
          <p:spPr>
            <a:xfrm>
              <a:off x="1510724" y="2717354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8765BB1-39FF-4407-BBCA-8D8956259E8B}"/>
                </a:ext>
              </a:extLst>
            </p:cNvPr>
            <p:cNvSpPr/>
            <p:nvPr/>
          </p:nvSpPr>
          <p:spPr>
            <a:xfrm>
              <a:off x="1479495" y="2598798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E17FB97C-4B7F-43C3-A7FF-E9D0095555F2}"/>
                </a:ext>
              </a:extLst>
            </p:cNvPr>
            <p:cNvSpPr/>
            <p:nvPr/>
          </p:nvSpPr>
          <p:spPr>
            <a:xfrm>
              <a:off x="1479495" y="2480242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63ACD84B-51C9-47C5-AC81-A48DED3ED53F}"/>
                </a:ext>
              </a:extLst>
            </p:cNvPr>
            <p:cNvSpPr/>
            <p:nvPr/>
          </p:nvSpPr>
          <p:spPr>
            <a:xfrm>
              <a:off x="1479495" y="2361687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91873006-206D-4391-9D3B-1CCCC4D17CEE}"/>
                </a:ext>
              </a:extLst>
            </p:cNvPr>
            <p:cNvSpPr/>
            <p:nvPr/>
          </p:nvSpPr>
          <p:spPr>
            <a:xfrm>
              <a:off x="1479495" y="1887545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0A94A15-514E-45A5-A10B-1BFF1652CE3F}"/>
                </a:ext>
              </a:extLst>
            </p:cNvPr>
            <p:cNvSpPr/>
            <p:nvPr/>
          </p:nvSpPr>
          <p:spPr>
            <a:xfrm>
              <a:off x="1479495" y="1768989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1663CD53-0822-4D0E-A128-93C902CFD556}"/>
                </a:ext>
              </a:extLst>
            </p:cNvPr>
            <p:cNvSpPr/>
            <p:nvPr/>
          </p:nvSpPr>
          <p:spPr>
            <a:xfrm>
              <a:off x="1450578" y="1650516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05E9BCA-6C2B-471D-9C36-D61E8DB2296E}"/>
                </a:ext>
              </a:extLst>
            </p:cNvPr>
            <p:cNvSpPr/>
            <p:nvPr/>
          </p:nvSpPr>
          <p:spPr>
            <a:xfrm>
              <a:off x="1371348" y="1531960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37B588E9-A876-48C5-85AE-EEA5272FC4AC}"/>
                </a:ext>
              </a:extLst>
            </p:cNvPr>
            <p:cNvSpPr/>
            <p:nvPr/>
          </p:nvSpPr>
          <p:spPr>
            <a:xfrm>
              <a:off x="752048" y="1531960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E3A74BBB-737E-434E-99FB-941A1C2A5DF9}"/>
                </a:ext>
              </a:extLst>
            </p:cNvPr>
            <p:cNvSpPr/>
            <p:nvPr/>
          </p:nvSpPr>
          <p:spPr>
            <a:xfrm>
              <a:off x="566738" y="1650516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C18F9C4B-7845-4075-B879-6AAA265DC252}"/>
                </a:ext>
              </a:extLst>
            </p:cNvPr>
            <p:cNvSpPr/>
            <p:nvPr/>
          </p:nvSpPr>
          <p:spPr>
            <a:xfrm>
              <a:off x="785343" y="1413404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54E139F2-9ECD-47F2-B005-DF650525CCA8}"/>
                </a:ext>
              </a:extLst>
            </p:cNvPr>
            <p:cNvSpPr/>
            <p:nvPr/>
          </p:nvSpPr>
          <p:spPr>
            <a:xfrm>
              <a:off x="1261385" y="1413404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907C68E-0DEB-464E-8AE3-13050DB61CD4}"/>
                </a:ext>
              </a:extLst>
            </p:cNvPr>
            <p:cNvSpPr/>
            <p:nvPr/>
          </p:nvSpPr>
          <p:spPr>
            <a:xfrm>
              <a:off x="745852" y="1294848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76F2D462-353E-4381-A7F6-D8FCBD9DD09C}"/>
                </a:ext>
              </a:extLst>
            </p:cNvPr>
            <p:cNvSpPr/>
            <p:nvPr/>
          </p:nvSpPr>
          <p:spPr>
            <a:xfrm>
              <a:off x="745852" y="1176293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35F1E830-3CDD-45D1-A0E7-C67D2F69D5E0}"/>
                </a:ext>
              </a:extLst>
            </p:cNvPr>
            <p:cNvSpPr/>
            <p:nvPr/>
          </p:nvSpPr>
          <p:spPr>
            <a:xfrm>
              <a:off x="983625" y="1057819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E1BAD746-62C0-482F-9371-502699589E76}"/>
                </a:ext>
              </a:extLst>
            </p:cNvPr>
            <p:cNvSpPr/>
            <p:nvPr/>
          </p:nvSpPr>
          <p:spPr>
            <a:xfrm>
              <a:off x="854824" y="939263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4FABA6DA-310E-4983-B3CC-981DE3E0822E}"/>
                </a:ext>
              </a:extLst>
            </p:cNvPr>
            <p:cNvSpPr/>
            <p:nvPr/>
          </p:nvSpPr>
          <p:spPr>
            <a:xfrm>
              <a:off x="2270803" y="939263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86B2DA10-A063-4CD7-B15D-907CC474B45A}"/>
                </a:ext>
              </a:extLst>
            </p:cNvPr>
            <p:cNvSpPr/>
            <p:nvPr/>
          </p:nvSpPr>
          <p:spPr>
            <a:xfrm>
              <a:off x="2739905" y="939263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24A52F6B-0F4D-4CE1-87E8-63030A05EB1F}"/>
                </a:ext>
              </a:extLst>
            </p:cNvPr>
            <p:cNvSpPr/>
            <p:nvPr/>
          </p:nvSpPr>
          <p:spPr>
            <a:xfrm>
              <a:off x="2764194" y="820707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6ED689C1-5AC2-4C66-9024-165CD6A5B5D8}"/>
                </a:ext>
              </a:extLst>
            </p:cNvPr>
            <p:cNvSpPr/>
            <p:nvPr/>
          </p:nvSpPr>
          <p:spPr>
            <a:xfrm>
              <a:off x="3054016" y="702151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B5A4A7E0-0C39-492F-A7A5-9C1A0BAC51D8}"/>
                </a:ext>
              </a:extLst>
            </p:cNvPr>
            <p:cNvSpPr/>
            <p:nvPr/>
          </p:nvSpPr>
          <p:spPr>
            <a:xfrm>
              <a:off x="2495358" y="583677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9514C4D7-F041-43BF-B016-3DA67585279D}"/>
                </a:ext>
              </a:extLst>
            </p:cNvPr>
            <p:cNvSpPr/>
            <p:nvPr/>
          </p:nvSpPr>
          <p:spPr>
            <a:xfrm>
              <a:off x="2832850" y="583677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E6972B82-954A-454F-ABF7-F7A635F54A06}"/>
                </a:ext>
              </a:extLst>
            </p:cNvPr>
            <p:cNvSpPr/>
            <p:nvPr/>
          </p:nvSpPr>
          <p:spPr>
            <a:xfrm>
              <a:off x="3026918" y="583677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7A445D2F-F320-4E5E-B955-E491103511B5}"/>
                </a:ext>
              </a:extLst>
            </p:cNvPr>
            <p:cNvSpPr/>
            <p:nvPr/>
          </p:nvSpPr>
          <p:spPr>
            <a:xfrm>
              <a:off x="2436369" y="465122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486ED197-F6BB-46F1-8A21-70B42A181EC7}"/>
                </a:ext>
              </a:extLst>
            </p:cNvPr>
            <p:cNvSpPr/>
            <p:nvPr/>
          </p:nvSpPr>
          <p:spPr>
            <a:xfrm>
              <a:off x="2763533" y="346566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DD12EC63-6EF4-4DF8-ACB9-7E62109646B1}"/>
                </a:ext>
              </a:extLst>
            </p:cNvPr>
            <p:cNvSpPr/>
            <p:nvPr/>
          </p:nvSpPr>
          <p:spPr>
            <a:xfrm>
              <a:off x="2946201" y="346566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B8778657-822F-4BE1-AF1B-0B69224C8BC1}"/>
                </a:ext>
              </a:extLst>
            </p:cNvPr>
            <p:cNvSpPr/>
            <p:nvPr/>
          </p:nvSpPr>
          <p:spPr>
            <a:xfrm>
              <a:off x="3167946" y="346566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052EE3CD-237A-4D93-80B1-AE82D710E27C}"/>
                </a:ext>
              </a:extLst>
            </p:cNvPr>
            <p:cNvSpPr/>
            <p:nvPr/>
          </p:nvSpPr>
          <p:spPr>
            <a:xfrm>
              <a:off x="3252215" y="228010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70DA5CE9-20FD-4DA0-B884-95979068CF9D}"/>
                </a:ext>
              </a:extLst>
            </p:cNvPr>
            <p:cNvSpPr/>
            <p:nvPr/>
          </p:nvSpPr>
          <p:spPr>
            <a:xfrm>
              <a:off x="3374406" y="228010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3C1B4C93-226B-445D-8DD6-5BAD19FEE090}"/>
                </a:ext>
              </a:extLst>
            </p:cNvPr>
            <p:cNvSpPr/>
            <p:nvPr/>
          </p:nvSpPr>
          <p:spPr>
            <a:xfrm>
              <a:off x="3581281" y="109537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560D23A7-4E55-409C-870E-990BA50F9B08}"/>
                </a:ext>
              </a:extLst>
            </p:cNvPr>
            <p:cNvSpPr/>
            <p:nvPr/>
          </p:nvSpPr>
          <p:spPr>
            <a:xfrm>
              <a:off x="2946201" y="465122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EDD96195-E4DE-4BA6-979B-0A45FE933862}"/>
                </a:ext>
              </a:extLst>
            </p:cNvPr>
            <p:cNvSpPr/>
            <p:nvPr/>
          </p:nvSpPr>
          <p:spPr>
            <a:xfrm>
              <a:off x="3167946" y="465122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FD3C2C24-22E3-486C-B70A-02F4593FA023}"/>
                </a:ext>
              </a:extLst>
            </p:cNvPr>
            <p:cNvSpPr/>
            <p:nvPr/>
          </p:nvSpPr>
          <p:spPr>
            <a:xfrm>
              <a:off x="3201984" y="820707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F7B1E649-F830-434D-953C-63EAFB32D3C5}"/>
                </a:ext>
              </a:extLst>
            </p:cNvPr>
            <p:cNvSpPr/>
            <p:nvPr/>
          </p:nvSpPr>
          <p:spPr>
            <a:xfrm>
              <a:off x="2739905" y="1057819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8E5C6E75-8818-4BA2-9448-1BA3D7EAFA47}"/>
                </a:ext>
              </a:extLst>
            </p:cNvPr>
            <p:cNvSpPr/>
            <p:nvPr/>
          </p:nvSpPr>
          <p:spPr>
            <a:xfrm>
              <a:off x="2947275" y="1057819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BEC47144-3D16-4402-8420-98EB14380A12}"/>
                </a:ext>
              </a:extLst>
            </p:cNvPr>
            <p:cNvSpPr/>
            <p:nvPr/>
          </p:nvSpPr>
          <p:spPr>
            <a:xfrm>
              <a:off x="2982387" y="939263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5053242E-FA6B-4DF0-B5F2-B6F236BA0C2C}"/>
                </a:ext>
              </a:extLst>
            </p:cNvPr>
            <p:cNvSpPr/>
            <p:nvPr/>
          </p:nvSpPr>
          <p:spPr>
            <a:xfrm>
              <a:off x="2739905" y="1176293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CB5E205-7CD9-4879-8BA0-B294CBFE879B}"/>
                </a:ext>
              </a:extLst>
            </p:cNvPr>
            <p:cNvSpPr/>
            <p:nvPr/>
          </p:nvSpPr>
          <p:spPr>
            <a:xfrm>
              <a:off x="2991723" y="1176293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154C9FD6-5556-49A6-AEBC-3D3D5ACC8725}"/>
                </a:ext>
              </a:extLst>
            </p:cNvPr>
            <p:cNvSpPr/>
            <p:nvPr/>
          </p:nvSpPr>
          <p:spPr>
            <a:xfrm>
              <a:off x="3200993" y="1176293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57E9424F-208E-4FFF-9819-99D9CD6C12A4}"/>
                </a:ext>
              </a:extLst>
            </p:cNvPr>
            <p:cNvSpPr/>
            <p:nvPr/>
          </p:nvSpPr>
          <p:spPr>
            <a:xfrm>
              <a:off x="3262212" y="1294848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87DB4A24-1A35-4E70-BF56-41CD172B9B88}"/>
                </a:ext>
              </a:extLst>
            </p:cNvPr>
            <p:cNvSpPr/>
            <p:nvPr/>
          </p:nvSpPr>
          <p:spPr>
            <a:xfrm>
              <a:off x="3190005" y="1531960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670CEB06-C8FF-4FDD-9605-CD5289E517CB}"/>
                </a:ext>
              </a:extLst>
            </p:cNvPr>
            <p:cNvSpPr/>
            <p:nvPr/>
          </p:nvSpPr>
          <p:spPr>
            <a:xfrm>
              <a:off x="3190831" y="1413404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3D1E5807-3BEB-484A-AE30-90A5B98D96C3}"/>
                </a:ext>
              </a:extLst>
            </p:cNvPr>
            <p:cNvSpPr/>
            <p:nvPr/>
          </p:nvSpPr>
          <p:spPr>
            <a:xfrm>
              <a:off x="2270803" y="820707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3058FC42-F85B-44CA-8B39-5C5A77FBD6DC}"/>
                </a:ext>
              </a:extLst>
            </p:cNvPr>
            <p:cNvSpPr/>
            <p:nvPr/>
          </p:nvSpPr>
          <p:spPr>
            <a:xfrm>
              <a:off x="2207601" y="702151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1A9DD3A7-4DFE-4F4A-BA2C-1D0D15014C18}"/>
                </a:ext>
              </a:extLst>
            </p:cNvPr>
            <p:cNvSpPr/>
            <p:nvPr/>
          </p:nvSpPr>
          <p:spPr>
            <a:xfrm>
              <a:off x="1043275" y="820707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EFBACD26-5C9E-4B7A-9902-A4AADF50FC04}"/>
                </a:ext>
              </a:extLst>
            </p:cNvPr>
            <p:cNvSpPr/>
            <p:nvPr/>
          </p:nvSpPr>
          <p:spPr>
            <a:xfrm>
              <a:off x="1043275" y="702151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9FACEDF5-11BF-4DFA-92FF-1D42039E8B71}"/>
                </a:ext>
              </a:extLst>
            </p:cNvPr>
            <p:cNvSpPr/>
            <p:nvPr/>
          </p:nvSpPr>
          <p:spPr>
            <a:xfrm>
              <a:off x="1237922" y="583677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93DFDFD1-3237-4738-95C1-75D58FC0715E}"/>
                </a:ext>
              </a:extLst>
            </p:cNvPr>
            <p:cNvSpPr/>
            <p:nvPr/>
          </p:nvSpPr>
          <p:spPr>
            <a:xfrm>
              <a:off x="2971316" y="1887545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5706197A-F24B-4C24-BC69-01CDF6B0DFF1}"/>
                </a:ext>
              </a:extLst>
            </p:cNvPr>
            <p:cNvSpPr/>
            <p:nvPr/>
          </p:nvSpPr>
          <p:spPr>
            <a:xfrm>
              <a:off x="2971316" y="1768989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B4C7B642-633A-423C-9BFE-82108BF125BE}"/>
                </a:ext>
              </a:extLst>
            </p:cNvPr>
            <p:cNvSpPr/>
            <p:nvPr/>
          </p:nvSpPr>
          <p:spPr>
            <a:xfrm>
              <a:off x="3018656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227493E2-4A0D-48EA-916D-708DBC47FF5C}"/>
                </a:ext>
              </a:extLst>
            </p:cNvPr>
            <p:cNvSpPr/>
            <p:nvPr/>
          </p:nvSpPr>
          <p:spPr>
            <a:xfrm>
              <a:off x="3743872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2E36D9A3-DD1F-45AD-BFBE-EAED49C0CF0D}"/>
                </a:ext>
              </a:extLst>
            </p:cNvPr>
            <p:cNvSpPr/>
            <p:nvPr/>
          </p:nvSpPr>
          <p:spPr>
            <a:xfrm>
              <a:off x="3718425" y="1531960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F33694A9-770F-42B6-A48D-43C5722FD5BE}"/>
                </a:ext>
              </a:extLst>
            </p:cNvPr>
            <p:cNvSpPr/>
            <p:nvPr/>
          </p:nvSpPr>
          <p:spPr>
            <a:xfrm>
              <a:off x="4414146" y="1531960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72606CDC-4A41-45B3-9290-5FAA9ACF1CD6}"/>
                </a:ext>
              </a:extLst>
            </p:cNvPr>
            <p:cNvSpPr/>
            <p:nvPr/>
          </p:nvSpPr>
          <p:spPr>
            <a:xfrm>
              <a:off x="3718425" y="1413404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970EFF83-FCC9-499C-964E-0C7B45541133}"/>
                </a:ext>
              </a:extLst>
            </p:cNvPr>
            <p:cNvSpPr/>
            <p:nvPr/>
          </p:nvSpPr>
          <p:spPr>
            <a:xfrm>
              <a:off x="3718425" y="1294848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88C6EC73-BA03-48FC-8548-CE3B1DAD45E9}"/>
                </a:ext>
              </a:extLst>
            </p:cNvPr>
            <p:cNvSpPr/>
            <p:nvPr/>
          </p:nvSpPr>
          <p:spPr>
            <a:xfrm>
              <a:off x="3718425" y="1365155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EB1A89AF-3709-40C2-9513-5CC740FB91B3}"/>
                </a:ext>
              </a:extLst>
            </p:cNvPr>
            <p:cNvSpPr/>
            <p:nvPr/>
          </p:nvSpPr>
          <p:spPr>
            <a:xfrm>
              <a:off x="3718425" y="1176293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6B8E380B-4CCB-4071-B481-E524323555D9}"/>
                </a:ext>
              </a:extLst>
            </p:cNvPr>
            <p:cNvSpPr/>
            <p:nvPr/>
          </p:nvSpPr>
          <p:spPr>
            <a:xfrm>
              <a:off x="3752711" y="1057819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C1319BAE-C42E-4D03-BC5A-FFB542C61DC4}"/>
                </a:ext>
              </a:extLst>
            </p:cNvPr>
            <p:cNvSpPr/>
            <p:nvPr/>
          </p:nvSpPr>
          <p:spPr>
            <a:xfrm>
              <a:off x="3540715" y="702151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22EA1B5D-3017-4191-99E9-2D67C00E40BB}"/>
                </a:ext>
              </a:extLst>
            </p:cNvPr>
            <p:cNvSpPr/>
            <p:nvPr/>
          </p:nvSpPr>
          <p:spPr>
            <a:xfrm>
              <a:off x="5192897" y="702151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55FCA50E-A43C-4613-870B-6A3EAAF022CC}"/>
                </a:ext>
              </a:extLst>
            </p:cNvPr>
            <p:cNvSpPr/>
            <p:nvPr/>
          </p:nvSpPr>
          <p:spPr>
            <a:xfrm>
              <a:off x="5333264" y="583677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B5EA113F-9088-4B41-9200-269A1082DF2A}"/>
                </a:ext>
              </a:extLst>
            </p:cNvPr>
            <p:cNvSpPr/>
            <p:nvPr/>
          </p:nvSpPr>
          <p:spPr>
            <a:xfrm>
              <a:off x="5273862" y="820707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5AA49A55-7874-47EF-91E0-C8BB05C59CC7}"/>
                </a:ext>
              </a:extLst>
            </p:cNvPr>
            <p:cNvSpPr/>
            <p:nvPr/>
          </p:nvSpPr>
          <p:spPr>
            <a:xfrm>
              <a:off x="3540715" y="583677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8ED13278-43C4-419B-84AF-2D491774EACE}"/>
                </a:ext>
              </a:extLst>
            </p:cNvPr>
            <p:cNvSpPr/>
            <p:nvPr/>
          </p:nvSpPr>
          <p:spPr>
            <a:xfrm>
              <a:off x="3737509" y="465122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04BFE758-EFE5-44EB-9528-B06F707023DB}"/>
                </a:ext>
              </a:extLst>
            </p:cNvPr>
            <p:cNvSpPr/>
            <p:nvPr/>
          </p:nvSpPr>
          <p:spPr>
            <a:xfrm>
              <a:off x="3807156" y="346566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B1052047-1499-43AD-BAFB-B19E31111334}"/>
                </a:ext>
              </a:extLst>
            </p:cNvPr>
            <p:cNvSpPr/>
            <p:nvPr/>
          </p:nvSpPr>
          <p:spPr>
            <a:xfrm>
              <a:off x="4239576" y="228010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1D678984-4794-40C6-A77C-B964033A4BD3}"/>
                </a:ext>
              </a:extLst>
            </p:cNvPr>
            <p:cNvSpPr/>
            <p:nvPr/>
          </p:nvSpPr>
          <p:spPr>
            <a:xfrm>
              <a:off x="3752711" y="820707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93804FF2-BC49-41D2-9353-170448BBDE7E}"/>
                </a:ext>
              </a:extLst>
            </p:cNvPr>
            <p:cNvSpPr/>
            <p:nvPr/>
          </p:nvSpPr>
          <p:spPr>
            <a:xfrm>
              <a:off x="3752711" y="939263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7AE12CB6-4773-4F81-B956-98F371BF7707}"/>
                </a:ext>
              </a:extLst>
            </p:cNvPr>
            <p:cNvSpPr/>
            <p:nvPr/>
          </p:nvSpPr>
          <p:spPr>
            <a:xfrm>
              <a:off x="3834420" y="1768989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ED440035-7D75-497B-8C3C-FA12861B1C5A}"/>
                </a:ext>
              </a:extLst>
            </p:cNvPr>
            <p:cNvSpPr/>
            <p:nvPr/>
          </p:nvSpPr>
          <p:spPr>
            <a:xfrm>
              <a:off x="3288980" y="1768989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5D5B789A-0F1B-4CBE-A7DB-2AA6117B229D}"/>
                </a:ext>
              </a:extLst>
            </p:cNvPr>
            <p:cNvSpPr/>
            <p:nvPr/>
          </p:nvSpPr>
          <p:spPr>
            <a:xfrm>
              <a:off x="1544844" y="2243130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E434E998-ACE6-4630-89CA-764A9D9EAA4B}"/>
                </a:ext>
              </a:extLst>
            </p:cNvPr>
            <p:cNvSpPr/>
            <p:nvPr/>
          </p:nvSpPr>
          <p:spPr>
            <a:xfrm>
              <a:off x="3386386" y="2243130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4D1B1E3A-8DE9-4A40-BF37-08AF042984DD}"/>
                </a:ext>
              </a:extLst>
            </p:cNvPr>
            <p:cNvSpPr/>
            <p:nvPr/>
          </p:nvSpPr>
          <p:spPr>
            <a:xfrm>
              <a:off x="1544844" y="2124657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CD537417-900D-4E7F-B6F3-0F09FAF41B56}"/>
                </a:ext>
              </a:extLst>
            </p:cNvPr>
            <p:cNvSpPr/>
            <p:nvPr/>
          </p:nvSpPr>
          <p:spPr>
            <a:xfrm>
              <a:off x="2886881" y="2006101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4983F89C-BEDB-4CC6-B293-DEEE87F9EB20}"/>
                </a:ext>
              </a:extLst>
            </p:cNvPr>
            <p:cNvSpPr/>
            <p:nvPr/>
          </p:nvSpPr>
          <p:spPr>
            <a:xfrm>
              <a:off x="1544844" y="2006101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14F7E31C-88F4-495E-A394-D142170E28C7}"/>
                </a:ext>
              </a:extLst>
            </p:cNvPr>
            <p:cNvSpPr/>
            <p:nvPr/>
          </p:nvSpPr>
          <p:spPr>
            <a:xfrm>
              <a:off x="1667284" y="2954383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78478DFD-9229-40F8-8003-8A8BB425916A}"/>
                </a:ext>
              </a:extLst>
            </p:cNvPr>
            <p:cNvSpPr/>
            <p:nvPr/>
          </p:nvSpPr>
          <p:spPr>
            <a:xfrm>
              <a:off x="2609039" y="2954383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2D63244B-3EF7-4BEC-9556-729C9100056C}"/>
                </a:ext>
              </a:extLst>
            </p:cNvPr>
            <p:cNvSpPr/>
            <p:nvPr/>
          </p:nvSpPr>
          <p:spPr>
            <a:xfrm>
              <a:off x="1723381" y="3072939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227AE8EE-1C41-452B-A884-B3B03667E0DA}"/>
                </a:ext>
              </a:extLst>
            </p:cNvPr>
            <p:cNvSpPr/>
            <p:nvPr/>
          </p:nvSpPr>
          <p:spPr>
            <a:xfrm>
              <a:off x="7253044" y="3547081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473E35B9-DC9E-49C1-A9EF-D6063B99C5EF}"/>
                </a:ext>
              </a:extLst>
            </p:cNvPr>
            <p:cNvSpPr/>
            <p:nvPr/>
          </p:nvSpPr>
          <p:spPr>
            <a:xfrm>
              <a:off x="7195956" y="3428525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3D23A8A5-2B32-4118-84B1-717A85AE7B64}"/>
                </a:ext>
              </a:extLst>
            </p:cNvPr>
            <p:cNvSpPr/>
            <p:nvPr/>
          </p:nvSpPr>
          <p:spPr>
            <a:xfrm>
              <a:off x="6269567" y="3428525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9052F163-7518-453D-BD05-F42AD11A884B}"/>
                </a:ext>
              </a:extLst>
            </p:cNvPr>
            <p:cNvSpPr/>
            <p:nvPr/>
          </p:nvSpPr>
          <p:spPr>
            <a:xfrm>
              <a:off x="7156960" y="3309968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807B98DB-8A72-4F4B-9A2A-4E9CA5FD832E}"/>
                </a:ext>
              </a:extLst>
            </p:cNvPr>
            <p:cNvSpPr/>
            <p:nvPr/>
          </p:nvSpPr>
          <p:spPr>
            <a:xfrm>
              <a:off x="6211735" y="3309968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14AE247E-EFCE-4236-9E3E-E302D7A0AEC2}"/>
                </a:ext>
              </a:extLst>
            </p:cNvPr>
            <p:cNvSpPr/>
            <p:nvPr/>
          </p:nvSpPr>
          <p:spPr>
            <a:xfrm>
              <a:off x="6134901" y="3191495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643E4A1C-23DB-49A9-9C1F-50C6559C1F9F}"/>
                </a:ext>
              </a:extLst>
            </p:cNvPr>
            <p:cNvSpPr/>
            <p:nvPr/>
          </p:nvSpPr>
          <p:spPr>
            <a:xfrm>
              <a:off x="6055010" y="3072939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20A5F79B-218E-41E9-95BC-5874ADF12802}"/>
                </a:ext>
              </a:extLst>
            </p:cNvPr>
            <p:cNvSpPr/>
            <p:nvPr/>
          </p:nvSpPr>
          <p:spPr>
            <a:xfrm>
              <a:off x="6015849" y="2835827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C475FF9A-D843-49FA-9A17-9ECF325C2ECE}"/>
                </a:ext>
              </a:extLst>
            </p:cNvPr>
            <p:cNvSpPr/>
            <p:nvPr/>
          </p:nvSpPr>
          <p:spPr>
            <a:xfrm>
              <a:off x="5751804" y="2717354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625645AF-A966-47F5-A62B-6197A0A7B79B}"/>
                </a:ext>
              </a:extLst>
            </p:cNvPr>
            <p:cNvSpPr/>
            <p:nvPr/>
          </p:nvSpPr>
          <p:spPr>
            <a:xfrm>
              <a:off x="8778905" y="2717354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19405EA8-FB73-4211-B294-7D6FD5B2D747}"/>
                </a:ext>
              </a:extLst>
            </p:cNvPr>
            <p:cNvSpPr/>
            <p:nvPr/>
          </p:nvSpPr>
          <p:spPr>
            <a:xfrm>
              <a:off x="7791627" y="3309968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E9904142-5E7A-41EB-8C11-0AAF09FDFFCB}"/>
                </a:ext>
              </a:extLst>
            </p:cNvPr>
            <p:cNvSpPr/>
            <p:nvPr/>
          </p:nvSpPr>
          <p:spPr>
            <a:xfrm>
              <a:off x="8226607" y="3309968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472E9A71-64AC-4212-A19D-6F701300E656}"/>
                </a:ext>
              </a:extLst>
            </p:cNvPr>
            <p:cNvSpPr/>
            <p:nvPr/>
          </p:nvSpPr>
          <p:spPr>
            <a:xfrm>
              <a:off x="7918032" y="3428525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E0DFBD3C-2E3B-407C-9A6E-825D1B9E20C9}"/>
                </a:ext>
              </a:extLst>
            </p:cNvPr>
            <p:cNvSpPr/>
            <p:nvPr/>
          </p:nvSpPr>
          <p:spPr>
            <a:xfrm>
              <a:off x="8089462" y="3547081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FDB1F85D-49EA-4479-AA4A-0FAF9AF940A6}"/>
                </a:ext>
              </a:extLst>
            </p:cNvPr>
            <p:cNvSpPr/>
            <p:nvPr/>
          </p:nvSpPr>
          <p:spPr>
            <a:xfrm>
              <a:off x="7938851" y="3547081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48F32120-F045-4521-89DF-686FBE09A3EC}"/>
                </a:ext>
              </a:extLst>
            </p:cNvPr>
            <p:cNvSpPr/>
            <p:nvPr/>
          </p:nvSpPr>
          <p:spPr>
            <a:xfrm>
              <a:off x="7982308" y="3665636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8C060A06-8721-4966-8A2E-9102A297B244}"/>
                </a:ext>
              </a:extLst>
            </p:cNvPr>
            <p:cNvSpPr/>
            <p:nvPr/>
          </p:nvSpPr>
          <p:spPr>
            <a:xfrm>
              <a:off x="8060298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2B6EA6E6-8DB0-4282-9397-0A1C93B25856}"/>
                </a:ext>
              </a:extLst>
            </p:cNvPr>
            <p:cNvSpPr/>
            <p:nvPr/>
          </p:nvSpPr>
          <p:spPr>
            <a:xfrm>
              <a:off x="8367966" y="3784192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67C28877-97A3-4611-99C1-482A83CDE797}"/>
                </a:ext>
              </a:extLst>
            </p:cNvPr>
            <p:cNvSpPr/>
            <p:nvPr/>
          </p:nvSpPr>
          <p:spPr>
            <a:xfrm>
              <a:off x="8265602" y="3902666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23C195EC-2999-4B22-9012-C33EF319405C}"/>
                </a:ext>
              </a:extLst>
            </p:cNvPr>
            <p:cNvSpPr/>
            <p:nvPr/>
          </p:nvSpPr>
          <p:spPr>
            <a:xfrm>
              <a:off x="8384489" y="4021221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364B8B18-D7ED-49A7-9814-3FC003A9BDF3}"/>
                </a:ext>
              </a:extLst>
            </p:cNvPr>
            <p:cNvSpPr/>
            <p:nvPr/>
          </p:nvSpPr>
          <p:spPr>
            <a:xfrm>
              <a:off x="8554268" y="4021221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CA5AB39A-5CD2-44B8-BC5A-1E541BEB7B58}"/>
                </a:ext>
              </a:extLst>
            </p:cNvPr>
            <p:cNvSpPr/>
            <p:nvPr/>
          </p:nvSpPr>
          <p:spPr>
            <a:xfrm>
              <a:off x="9018742" y="4021221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D8A6F673-9BEF-4E61-832E-2A664BE4B1A3}"/>
                </a:ext>
              </a:extLst>
            </p:cNvPr>
            <p:cNvSpPr/>
            <p:nvPr/>
          </p:nvSpPr>
          <p:spPr>
            <a:xfrm>
              <a:off x="9134076" y="4139777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567D5247-B0D5-4520-880E-C4CE53CC5DFE}"/>
                </a:ext>
              </a:extLst>
            </p:cNvPr>
            <p:cNvSpPr/>
            <p:nvPr/>
          </p:nvSpPr>
          <p:spPr>
            <a:xfrm>
              <a:off x="9384159" y="4139777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7A10953E-DB0C-4ED5-9CEA-619CA44BD7F3}"/>
                </a:ext>
              </a:extLst>
            </p:cNvPr>
            <p:cNvSpPr/>
            <p:nvPr/>
          </p:nvSpPr>
          <p:spPr>
            <a:xfrm>
              <a:off x="9545180" y="4021221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8823E9EA-3E18-4822-AEE3-07AE797269C2}"/>
                </a:ext>
              </a:extLst>
            </p:cNvPr>
            <p:cNvSpPr/>
            <p:nvPr/>
          </p:nvSpPr>
          <p:spPr>
            <a:xfrm>
              <a:off x="8920015" y="3902666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864B4461-C101-4EE7-82C3-13C3EB110877}"/>
                </a:ext>
              </a:extLst>
            </p:cNvPr>
            <p:cNvSpPr/>
            <p:nvPr/>
          </p:nvSpPr>
          <p:spPr>
            <a:xfrm>
              <a:off x="8920015" y="3900517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607985B5-E92D-4EA4-9A36-1174B184CAD2}"/>
                </a:ext>
              </a:extLst>
            </p:cNvPr>
            <p:cNvSpPr/>
            <p:nvPr/>
          </p:nvSpPr>
          <p:spPr>
            <a:xfrm>
              <a:off x="8574344" y="3902666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A70E12A2-A11A-4246-89FD-E5A040E273C0}"/>
                </a:ext>
              </a:extLst>
            </p:cNvPr>
            <p:cNvSpPr/>
            <p:nvPr/>
          </p:nvSpPr>
          <p:spPr>
            <a:xfrm>
              <a:off x="8047410" y="4021221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9F0E9657-FFF1-4C30-9A88-435D33B41C38}"/>
                </a:ext>
              </a:extLst>
            </p:cNvPr>
            <p:cNvSpPr/>
            <p:nvPr/>
          </p:nvSpPr>
          <p:spPr>
            <a:xfrm>
              <a:off x="7989826" y="3902666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387CDB83-A204-4B70-A312-BD931224CE6A}"/>
                </a:ext>
              </a:extLst>
            </p:cNvPr>
            <p:cNvSpPr/>
            <p:nvPr/>
          </p:nvSpPr>
          <p:spPr>
            <a:xfrm>
              <a:off x="8481399" y="3665636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70345515-BB4C-4A9F-B1A7-05BAE0B562BE}"/>
                </a:ext>
              </a:extLst>
            </p:cNvPr>
            <p:cNvSpPr/>
            <p:nvPr/>
          </p:nvSpPr>
          <p:spPr>
            <a:xfrm>
              <a:off x="8679020" y="3665636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8841D19-C9E7-4229-A7F8-95BBAE0442A4}"/>
                </a:ext>
              </a:extLst>
            </p:cNvPr>
            <p:cNvSpPr/>
            <p:nvPr/>
          </p:nvSpPr>
          <p:spPr>
            <a:xfrm>
              <a:off x="8651095" y="3547081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86EBA385-BD45-4608-BE92-8095DCE43406}"/>
                </a:ext>
              </a:extLst>
            </p:cNvPr>
            <p:cNvSpPr/>
            <p:nvPr/>
          </p:nvSpPr>
          <p:spPr>
            <a:xfrm>
              <a:off x="8582110" y="3428525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9EBEAECA-45B8-4203-9365-5D069AD5CF07}"/>
                </a:ext>
              </a:extLst>
            </p:cNvPr>
            <p:cNvSpPr/>
            <p:nvPr/>
          </p:nvSpPr>
          <p:spPr>
            <a:xfrm>
              <a:off x="8582110" y="3309968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CF6AA585-7329-42C9-9343-1ABE7A09D678}"/>
                </a:ext>
              </a:extLst>
            </p:cNvPr>
            <p:cNvSpPr/>
            <p:nvPr/>
          </p:nvSpPr>
          <p:spPr>
            <a:xfrm>
              <a:off x="8544849" y="3072939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454D755D-12BF-4A55-850D-B6C783573B86}"/>
                </a:ext>
              </a:extLst>
            </p:cNvPr>
            <p:cNvSpPr/>
            <p:nvPr/>
          </p:nvSpPr>
          <p:spPr>
            <a:xfrm>
              <a:off x="6561785" y="3072939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ACC4F4CB-8B2B-4F7E-BED6-2C9626C2B6CD}"/>
                </a:ext>
              </a:extLst>
            </p:cNvPr>
            <p:cNvSpPr/>
            <p:nvPr/>
          </p:nvSpPr>
          <p:spPr>
            <a:xfrm>
              <a:off x="6483380" y="2954383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A6A86D86-7339-4C74-84FB-B8BC5D892153}"/>
                </a:ext>
              </a:extLst>
            </p:cNvPr>
            <p:cNvSpPr/>
            <p:nvPr/>
          </p:nvSpPr>
          <p:spPr>
            <a:xfrm>
              <a:off x="7921584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EA1FAFC2-3C4C-472A-A064-DA0DF4793549}"/>
                </a:ext>
              </a:extLst>
            </p:cNvPr>
            <p:cNvSpPr/>
            <p:nvPr/>
          </p:nvSpPr>
          <p:spPr>
            <a:xfrm>
              <a:off x="7716362" y="3191495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B5447F0E-EF85-4142-8A3F-22C64D79E0F5}"/>
                </a:ext>
              </a:extLst>
            </p:cNvPr>
            <p:cNvSpPr/>
            <p:nvPr/>
          </p:nvSpPr>
          <p:spPr>
            <a:xfrm>
              <a:off x="7034934" y="3191495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8AC5486E-57EB-42C1-9B1A-3D30A262D2E2}"/>
                </a:ext>
              </a:extLst>
            </p:cNvPr>
            <p:cNvSpPr/>
            <p:nvPr/>
          </p:nvSpPr>
          <p:spPr>
            <a:xfrm>
              <a:off x="7391346" y="3665636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15763B7E-21EF-4333-A79C-A679B0133498}"/>
                </a:ext>
              </a:extLst>
            </p:cNvPr>
            <p:cNvSpPr/>
            <p:nvPr/>
          </p:nvSpPr>
          <p:spPr>
            <a:xfrm>
              <a:off x="5824838" y="465122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3006C892-8CAA-4FCF-8018-4FB09170B23D}"/>
                </a:ext>
              </a:extLst>
            </p:cNvPr>
            <p:cNvSpPr/>
            <p:nvPr/>
          </p:nvSpPr>
          <p:spPr>
            <a:xfrm>
              <a:off x="5989577" y="465122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D8B01C6C-1ADD-4993-892B-2FC66A46D63D}"/>
                </a:ext>
              </a:extLst>
            </p:cNvPr>
            <p:cNvSpPr/>
            <p:nvPr/>
          </p:nvSpPr>
          <p:spPr>
            <a:xfrm>
              <a:off x="6098962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8A046FBD-9879-44C9-A0D9-1113FE09C74A}"/>
                </a:ext>
              </a:extLst>
            </p:cNvPr>
            <p:cNvSpPr/>
            <p:nvPr/>
          </p:nvSpPr>
          <p:spPr>
            <a:xfrm>
              <a:off x="6697112" y="346566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41DA3984-A6BF-436C-9C07-5C692D8F4D7E}"/>
                </a:ext>
              </a:extLst>
            </p:cNvPr>
            <p:cNvSpPr/>
            <p:nvPr/>
          </p:nvSpPr>
          <p:spPr>
            <a:xfrm>
              <a:off x="6940255" y="346566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66DE706-D4B8-45B9-A555-131794EAECED}"/>
                </a:ext>
              </a:extLst>
            </p:cNvPr>
            <p:cNvSpPr/>
            <p:nvPr/>
          </p:nvSpPr>
          <p:spPr>
            <a:xfrm>
              <a:off x="6940255" y="465122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0D6DBA9A-1C91-4F55-A41F-09C85AB64F33}"/>
                </a:ext>
              </a:extLst>
            </p:cNvPr>
            <p:cNvSpPr/>
            <p:nvPr/>
          </p:nvSpPr>
          <p:spPr>
            <a:xfrm>
              <a:off x="7050549" y="583677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2A25EF9E-9CBF-42D4-BEF3-B4077CF98D15}"/>
                </a:ext>
              </a:extLst>
            </p:cNvPr>
            <p:cNvSpPr/>
            <p:nvPr/>
          </p:nvSpPr>
          <p:spPr>
            <a:xfrm>
              <a:off x="6891924" y="702151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6F94A067-891F-46CA-AE0C-B5FC0FCB9778}"/>
                </a:ext>
              </a:extLst>
            </p:cNvPr>
            <p:cNvSpPr/>
            <p:nvPr/>
          </p:nvSpPr>
          <p:spPr>
            <a:xfrm>
              <a:off x="6829465" y="820707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9CA3B58D-02FA-4368-8DED-16B8033BABBF}"/>
                </a:ext>
              </a:extLst>
            </p:cNvPr>
            <p:cNvSpPr/>
            <p:nvPr/>
          </p:nvSpPr>
          <p:spPr>
            <a:xfrm>
              <a:off x="6772128" y="939263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B33B79D7-12A1-40D5-830B-24D4B73B9A0C}"/>
                </a:ext>
              </a:extLst>
            </p:cNvPr>
            <p:cNvSpPr/>
            <p:nvPr/>
          </p:nvSpPr>
          <p:spPr>
            <a:xfrm>
              <a:off x="6656877" y="1057819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6DE5134E-A7C0-48B1-A44B-2D791D601FE8}"/>
                </a:ext>
              </a:extLst>
            </p:cNvPr>
            <p:cNvSpPr/>
            <p:nvPr/>
          </p:nvSpPr>
          <p:spPr>
            <a:xfrm>
              <a:off x="6530721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50D64FFC-FBF1-4189-B719-8A8F57D89DFF}"/>
                </a:ext>
              </a:extLst>
            </p:cNvPr>
            <p:cNvSpPr/>
            <p:nvPr/>
          </p:nvSpPr>
          <p:spPr>
            <a:xfrm>
              <a:off x="6163569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E23C8962-1DCD-4A12-9881-6310BD48A43E}"/>
                </a:ext>
              </a:extLst>
            </p:cNvPr>
            <p:cNvSpPr/>
            <p:nvPr/>
          </p:nvSpPr>
          <p:spPr>
            <a:xfrm>
              <a:off x="6204960" y="1176293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1A33B703-54F3-4A1D-A135-1A9E4D83AE39}"/>
                </a:ext>
              </a:extLst>
            </p:cNvPr>
            <p:cNvSpPr/>
            <p:nvPr/>
          </p:nvSpPr>
          <p:spPr>
            <a:xfrm>
              <a:off x="6163569" y="939263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22097B90-8835-4B75-8C56-6E9DEDD70BC7}"/>
                </a:ext>
              </a:extLst>
            </p:cNvPr>
            <p:cNvSpPr/>
            <p:nvPr/>
          </p:nvSpPr>
          <p:spPr>
            <a:xfrm>
              <a:off x="6239494" y="820707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750D939-691F-4019-A573-2B6072F1EB0C}"/>
                </a:ext>
              </a:extLst>
            </p:cNvPr>
            <p:cNvSpPr/>
            <p:nvPr/>
          </p:nvSpPr>
          <p:spPr>
            <a:xfrm>
              <a:off x="6346318" y="702151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C2AA7963-B9DA-4C79-A45A-4733B70974F9}"/>
                </a:ext>
              </a:extLst>
            </p:cNvPr>
            <p:cNvSpPr/>
            <p:nvPr/>
          </p:nvSpPr>
          <p:spPr>
            <a:xfrm>
              <a:off x="9184804" y="1176293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FF12BB73-D985-404B-8B08-A355D9E5EADE}"/>
                </a:ext>
              </a:extLst>
            </p:cNvPr>
            <p:cNvSpPr/>
            <p:nvPr/>
          </p:nvSpPr>
          <p:spPr>
            <a:xfrm>
              <a:off x="6713057" y="1176293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B91B7A26-A982-4545-A6DD-694B9F341E94}"/>
                </a:ext>
              </a:extLst>
            </p:cNvPr>
            <p:cNvSpPr/>
            <p:nvPr/>
          </p:nvSpPr>
          <p:spPr>
            <a:xfrm>
              <a:off x="6779481" y="1294848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C4E922E8-7C46-44C3-A8BF-B4DF5DCEAE10}"/>
                </a:ext>
              </a:extLst>
            </p:cNvPr>
            <p:cNvSpPr/>
            <p:nvPr/>
          </p:nvSpPr>
          <p:spPr>
            <a:xfrm>
              <a:off x="9175715" y="1294848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1762FEBB-FA8B-4496-A543-4ED81B5ACF05}"/>
                </a:ext>
              </a:extLst>
            </p:cNvPr>
            <p:cNvSpPr/>
            <p:nvPr/>
          </p:nvSpPr>
          <p:spPr>
            <a:xfrm>
              <a:off x="9129367" y="1531960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3195734B-25CC-4B89-B962-70088BC12792}"/>
                </a:ext>
              </a:extLst>
            </p:cNvPr>
            <p:cNvSpPr/>
            <p:nvPr/>
          </p:nvSpPr>
          <p:spPr>
            <a:xfrm>
              <a:off x="5973880" y="1531960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6780EE74-08CA-4C70-BCB0-57FB4238B1CE}"/>
                </a:ext>
              </a:extLst>
            </p:cNvPr>
            <p:cNvSpPr/>
            <p:nvPr/>
          </p:nvSpPr>
          <p:spPr>
            <a:xfrm>
              <a:off x="9129367" y="1650516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DFAB0DD7-0325-47F0-B574-11F5936CA0CA}"/>
                </a:ext>
              </a:extLst>
            </p:cNvPr>
            <p:cNvSpPr/>
            <p:nvPr/>
          </p:nvSpPr>
          <p:spPr>
            <a:xfrm>
              <a:off x="9215124" y="1768989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FE6B2DD2-A68B-454F-A707-88ACDA8EA267}"/>
                </a:ext>
              </a:extLst>
            </p:cNvPr>
            <p:cNvSpPr/>
            <p:nvPr/>
          </p:nvSpPr>
          <p:spPr>
            <a:xfrm>
              <a:off x="9175715" y="1413404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FC28DC60-F0EC-4B3D-858E-1BF3142F1441}"/>
                </a:ext>
              </a:extLst>
            </p:cNvPr>
            <p:cNvSpPr/>
            <p:nvPr/>
          </p:nvSpPr>
          <p:spPr>
            <a:xfrm>
              <a:off x="6153159" y="1413404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D53D14BF-8103-4E27-9BE3-7FF08ED4F097}"/>
                </a:ext>
              </a:extLst>
            </p:cNvPr>
            <p:cNvSpPr/>
            <p:nvPr/>
          </p:nvSpPr>
          <p:spPr>
            <a:xfrm>
              <a:off x="6026589" y="1413404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300C6DBD-F6AD-4C6A-9CFF-0AE5B8381781}"/>
                </a:ext>
              </a:extLst>
            </p:cNvPr>
            <p:cNvSpPr/>
            <p:nvPr/>
          </p:nvSpPr>
          <p:spPr>
            <a:xfrm>
              <a:off x="5357388" y="1413404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E00B1ABA-7E18-4775-84C1-E1FD23919BBB}"/>
                </a:ext>
              </a:extLst>
            </p:cNvPr>
            <p:cNvSpPr/>
            <p:nvPr/>
          </p:nvSpPr>
          <p:spPr>
            <a:xfrm>
              <a:off x="5293113" y="1531960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720D0EA3-A662-4D57-BA53-A408FF8F166B}"/>
                </a:ext>
              </a:extLst>
            </p:cNvPr>
            <p:cNvSpPr/>
            <p:nvPr/>
          </p:nvSpPr>
          <p:spPr>
            <a:xfrm>
              <a:off x="5217269" y="1650516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A334B4E4-91FD-496B-BB3D-3992B689FEA3}"/>
                </a:ext>
              </a:extLst>
            </p:cNvPr>
            <p:cNvSpPr/>
            <p:nvPr/>
          </p:nvSpPr>
          <p:spPr>
            <a:xfrm>
              <a:off x="5112593" y="1768989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46DD4FCB-EABC-4F0A-9AD8-3DB07E4214B1}"/>
                </a:ext>
              </a:extLst>
            </p:cNvPr>
            <p:cNvSpPr/>
            <p:nvPr/>
          </p:nvSpPr>
          <p:spPr>
            <a:xfrm>
              <a:off x="5112593" y="1887545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1A1367BD-A4BD-4759-9D34-62808875D898}"/>
                </a:ext>
              </a:extLst>
            </p:cNvPr>
            <p:cNvSpPr/>
            <p:nvPr/>
          </p:nvSpPr>
          <p:spPr>
            <a:xfrm>
              <a:off x="4823432" y="1887545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776A44DC-4483-4298-BA69-B672AD93564A}"/>
                </a:ext>
              </a:extLst>
            </p:cNvPr>
            <p:cNvSpPr/>
            <p:nvPr/>
          </p:nvSpPr>
          <p:spPr>
            <a:xfrm>
              <a:off x="4779893" y="2006101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8292448D-BB1D-4891-A1F4-50951151905F}"/>
                </a:ext>
              </a:extLst>
            </p:cNvPr>
            <p:cNvSpPr/>
            <p:nvPr/>
          </p:nvSpPr>
          <p:spPr>
            <a:xfrm>
              <a:off x="5207190" y="2006101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F75C0101-D9E9-4B57-A602-6B7A0577DA27}"/>
                </a:ext>
              </a:extLst>
            </p:cNvPr>
            <p:cNvSpPr/>
            <p:nvPr/>
          </p:nvSpPr>
          <p:spPr>
            <a:xfrm>
              <a:off x="5326820" y="2006101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F037A473-C0B7-4193-A816-E42E16B65BA1}"/>
                </a:ext>
              </a:extLst>
            </p:cNvPr>
            <p:cNvSpPr/>
            <p:nvPr/>
          </p:nvSpPr>
          <p:spPr>
            <a:xfrm>
              <a:off x="4874408" y="2124657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29BBFF6F-45FD-4881-9C04-C1E9C9AF40E9}"/>
                </a:ext>
              </a:extLst>
            </p:cNvPr>
            <p:cNvSpPr/>
            <p:nvPr/>
          </p:nvSpPr>
          <p:spPr>
            <a:xfrm>
              <a:off x="4724375" y="2124657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47247D8E-BDF3-423A-860E-29FA1F066397}"/>
                </a:ext>
              </a:extLst>
            </p:cNvPr>
            <p:cNvSpPr/>
            <p:nvPr/>
          </p:nvSpPr>
          <p:spPr>
            <a:xfrm>
              <a:off x="5276011" y="1887545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578B136E-5C1C-4370-A54D-929C45DAD550}"/>
                </a:ext>
              </a:extLst>
            </p:cNvPr>
            <p:cNvSpPr/>
            <p:nvPr/>
          </p:nvSpPr>
          <p:spPr>
            <a:xfrm>
              <a:off x="5526424" y="1650516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34156C9C-68F6-46C4-A4CB-020CF77BA6D0}"/>
                </a:ext>
              </a:extLst>
            </p:cNvPr>
            <p:cNvSpPr/>
            <p:nvPr/>
          </p:nvSpPr>
          <p:spPr>
            <a:xfrm>
              <a:off x="5526424" y="1768989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ABA363E4-FBB1-4591-B57F-B8C6848E65FE}"/>
                </a:ext>
              </a:extLst>
            </p:cNvPr>
            <p:cNvSpPr/>
            <p:nvPr/>
          </p:nvSpPr>
          <p:spPr>
            <a:xfrm>
              <a:off x="5596566" y="1887545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D21B620E-8586-46D0-AF12-004C8F1BE371}"/>
                </a:ext>
              </a:extLst>
            </p:cNvPr>
            <p:cNvSpPr/>
            <p:nvPr/>
          </p:nvSpPr>
          <p:spPr>
            <a:xfrm>
              <a:off x="5541873" y="2006101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B686CE60-E11A-4010-979D-2D1535A3F40D}"/>
                </a:ext>
              </a:extLst>
            </p:cNvPr>
            <p:cNvSpPr/>
            <p:nvPr/>
          </p:nvSpPr>
          <p:spPr>
            <a:xfrm>
              <a:off x="5117303" y="2124657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E1241D8A-6304-45D6-BFE9-4E80612F409F}"/>
                </a:ext>
              </a:extLst>
            </p:cNvPr>
            <p:cNvSpPr/>
            <p:nvPr/>
          </p:nvSpPr>
          <p:spPr>
            <a:xfrm>
              <a:off x="5024606" y="2243130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E1BDF973-C49B-45C9-8B76-EC0BAF960378}"/>
                </a:ext>
              </a:extLst>
            </p:cNvPr>
            <p:cNvSpPr/>
            <p:nvPr/>
          </p:nvSpPr>
          <p:spPr>
            <a:xfrm>
              <a:off x="6465040" y="2361687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E2D444D2-1673-45AE-9DC8-4456A01CF135}"/>
                </a:ext>
              </a:extLst>
            </p:cNvPr>
            <p:cNvSpPr/>
            <p:nvPr/>
          </p:nvSpPr>
          <p:spPr>
            <a:xfrm>
              <a:off x="6048152" y="2361687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9F904CCE-2CE9-4EA0-92EC-CC2EC733A7C8}"/>
                </a:ext>
              </a:extLst>
            </p:cNvPr>
            <p:cNvSpPr/>
            <p:nvPr/>
          </p:nvSpPr>
          <p:spPr>
            <a:xfrm>
              <a:off x="4937692" y="2361687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A5A0E910-81A3-4A59-BF46-DF5D64BDDAC7}"/>
                </a:ext>
              </a:extLst>
            </p:cNvPr>
            <p:cNvSpPr/>
            <p:nvPr/>
          </p:nvSpPr>
          <p:spPr>
            <a:xfrm>
              <a:off x="4750647" y="2480242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E9D57D72-D685-4343-95BA-E7BF66C8E365}"/>
                </a:ext>
              </a:extLst>
            </p:cNvPr>
            <p:cNvSpPr/>
            <p:nvPr/>
          </p:nvSpPr>
          <p:spPr>
            <a:xfrm>
              <a:off x="5280554" y="2480242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1943E746-5D3F-4A09-84FF-A091B38BFA78}"/>
                </a:ext>
              </a:extLst>
            </p:cNvPr>
            <p:cNvSpPr/>
            <p:nvPr/>
          </p:nvSpPr>
          <p:spPr>
            <a:xfrm>
              <a:off x="5444963" y="2480242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9708C26B-5ED4-4AF8-A316-1E9CF591F1EE}"/>
                </a:ext>
              </a:extLst>
            </p:cNvPr>
            <p:cNvSpPr/>
            <p:nvPr/>
          </p:nvSpPr>
          <p:spPr>
            <a:xfrm>
              <a:off x="6125812" y="2480242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747FAE6A-F70B-4FDA-B2F8-3FBC8336D659}"/>
                </a:ext>
              </a:extLst>
            </p:cNvPr>
            <p:cNvSpPr/>
            <p:nvPr/>
          </p:nvSpPr>
          <p:spPr>
            <a:xfrm>
              <a:off x="6465040" y="2480242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7EFF7761-D6CD-420B-BC09-B3B74E392566}"/>
                </a:ext>
              </a:extLst>
            </p:cNvPr>
            <p:cNvSpPr/>
            <p:nvPr/>
          </p:nvSpPr>
          <p:spPr>
            <a:xfrm>
              <a:off x="6492964" y="2598798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50D7F21D-478B-4552-BEBD-EA3B94CF8B1C}"/>
                </a:ext>
              </a:extLst>
            </p:cNvPr>
            <p:cNvSpPr/>
            <p:nvPr/>
          </p:nvSpPr>
          <p:spPr>
            <a:xfrm>
              <a:off x="4750647" y="2598798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216487AC-EAEF-4FB3-B3F3-891390BA76A2}"/>
                </a:ext>
              </a:extLst>
            </p:cNvPr>
            <p:cNvSpPr/>
            <p:nvPr/>
          </p:nvSpPr>
          <p:spPr>
            <a:xfrm>
              <a:off x="5228588" y="2598798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90279D8-D171-4A3D-A645-2889FD06BE1E}"/>
                </a:ext>
              </a:extLst>
            </p:cNvPr>
            <p:cNvSpPr/>
            <p:nvPr/>
          </p:nvSpPr>
          <p:spPr>
            <a:xfrm>
              <a:off x="540629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91A19DB-C58C-4D00-9D98-17C9CE6ED74D}"/>
                </a:ext>
              </a:extLst>
            </p:cNvPr>
            <p:cNvSpPr/>
            <p:nvPr/>
          </p:nvSpPr>
          <p:spPr>
            <a:xfrm>
              <a:off x="555748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DED96EE8-CFE7-4357-AABF-F6F97BEFCC16}"/>
                </a:ext>
              </a:extLst>
            </p:cNvPr>
            <p:cNvSpPr/>
            <p:nvPr/>
          </p:nvSpPr>
          <p:spPr>
            <a:xfrm>
              <a:off x="5753126" y="2598798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A7505582-5B2D-4C0B-B15F-6F292E3B4C25}"/>
                </a:ext>
              </a:extLst>
            </p:cNvPr>
            <p:cNvSpPr/>
            <p:nvPr/>
          </p:nvSpPr>
          <p:spPr>
            <a:xfrm>
              <a:off x="8931251" y="2006101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C504E967-E6EA-4E73-AE84-174FEE85FB49}"/>
                </a:ext>
              </a:extLst>
            </p:cNvPr>
            <p:cNvSpPr/>
            <p:nvPr/>
          </p:nvSpPr>
          <p:spPr>
            <a:xfrm>
              <a:off x="8931251" y="1996187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3844D9EB-CE96-431A-BBD3-DA50F95D6634}"/>
                </a:ext>
              </a:extLst>
            </p:cNvPr>
            <p:cNvSpPr/>
            <p:nvPr/>
          </p:nvSpPr>
          <p:spPr>
            <a:xfrm>
              <a:off x="8931251" y="2124657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494A64F4-667D-4C42-900B-743CF179B007}"/>
                </a:ext>
              </a:extLst>
            </p:cNvPr>
            <p:cNvSpPr/>
            <p:nvPr/>
          </p:nvSpPr>
          <p:spPr>
            <a:xfrm>
              <a:off x="8977599" y="2243130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992CBA69-0EEF-4FDE-8DAD-2CA9A6A05C49}"/>
                </a:ext>
              </a:extLst>
            </p:cNvPr>
            <p:cNvSpPr/>
            <p:nvPr/>
          </p:nvSpPr>
          <p:spPr>
            <a:xfrm>
              <a:off x="8977599" y="2234951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B41FF9DD-84E7-4518-81E5-BE265F9B7957}"/>
                </a:ext>
              </a:extLst>
            </p:cNvPr>
            <p:cNvSpPr/>
            <p:nvPr/>
          </p:nvSpPr>
          <p:spPr>
            <a:xfrm>
              <a:off x="8960415" y="2361687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B688D3D3-007B-4F6B-BC3F-AC25830704BF}"/>
                </a:ext>
              </a:extLst>
            </p:cNvPr>
            <p:cNvSpPr/>
            <p:nvPr/>
          </p:nvSpPr>
          <p:spPr>
            <a:xfrm>
              <a:off x="8985200" y="2480242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251F75A9-38B6-4D83-B78C-A54F9910F29B}"/>
                </a:ext>
              </a:extLst>
            </p:cNvPr>
            <p:cNvSpPr/>
            <p:nvPr/>
          </p:nvSpPr>
          <p:spPr>
            <a:xfrm>
              <a:off x="8931251" y="2598798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8EDCDCBE-3CEC-476F-BAD4-7417FF94DE93}"/>
                </a:ext>
              </a:extLst>
            </p:cNvPr>
            <p:cNvSpPr/>
            <p:nvPr/>
          </p:nvSpPr>
          <p:spPr>
            <a:xfrm>
              <a:off x="8643495" y="2598798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56D7BB41-0C4E-441C-9F3A-E6D513967400}"/>
                </a:ext>
              </a:extLst>
            </p:cNvPr>
            <p:cNvSpPr/>
            <p:nvPr/>
          </p:nvSpPr>
          <p:spPr>
            <a:xfrm>
              <a:off x="8495196" y="2480242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A4824AA8-E642-430A-AAA0-823D99E61889}"/>
                </a:ext>
              </a:extLst>
            </p:cNvPr>
            <p:cNvSpPr/>
            <p:nvPr/>
          </p:nvSpPr>
          <p:spPr>
            <a:xfrm>
              <a:off x="5604993" y="1531960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97E793C9-CD27-499E-B1C4-7B22C19FC20A}"/>
                </a:ext>
              </a:extLst>
            </p:cNvPr>
            <p:cNvSpPr/>
            <p:nvPr/>
          </p:nvSpPr>
          <p:spPr>
            <a:xfrm>
              <a:off x="6406712" y="1294848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B6641A00-E498-421F-8B4F-F201AE2500D9}"/>
                </a:ext>
              </a:extLst>
            </p:cNvPr>
            <p:cNvSpPr/>
            <p:nvPr/>
          </p:nvSpPr>
          <p:spPr>
            <a:xfrm>
              <a:off x="5425961" y="1294848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816652FF-BA6C-48DB-9261-81755B9CBF01}"/>
                </a:ext>
              </a:extLst>
            </p:cNvPr>
            <p:cNvSpPr/>
            <p:nvPr/>
          </p:nvSpPr>
          <p:spPr>
            <a:xfrm>
              <a:off x="6530721" y="1176293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F1DBE065-59A5-4104-B41D-D75C77741B26}"/>
                </a:ext>
              </a:extLst>
            </p:cNvPr>
            <p:cNvSpPr/>
            <p:nvPr/>
          </p:nvSpPr>
          <p:spPr>
            <a:xfrm>
              <a:off x="8103508" y="583677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B9EE2261-832F-4165-B7CD-44E4D21D8E17}"/>
                </a:ext>
              </a:extLst>
            </p:cNvPr>
            <p:cNvSpPr/>
            <p:nvPr/>
          </p:nvSpPr>
          <p:spPr>
            <a:xfrm>
              <a:off x="7699508" y="702151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EF7F3392-3967-4543-8A18-96CACBC785FD}"/>
                </a:ext>
              </a:extLst>
            </p:cNvPr>
            <p:cNvSpPr/>
            <p:nvPr/>
          </p:nvSpPr>
          <p:spPr>
            <a:xfrm>
              <a:off x="7491148" y="702151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A65D834D-5DFE-44C4-BF71-85AA861E5336}"/>
                </a:ext>
              </a:extLst>
            </p:cNvPr>
            <p:cNvSpPr/>
            <p:nvPr/>
          </p:nvSpPr>
          <p:spPr>
            <a:xfrm>
              <a:off x="8549228" y="583677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37C6BC72-A0A3-4ADD-88F3-2FE91AB31E99}"/>
                </a:ext>
              </a:extLst>
            </p:cNvPr>
            <p:cNvSpPr/>
            <p:nvPr/>
          </p:nvSpPr>
          <p:spPr>
            <a:xfrm>
              <a:off x="8885729" y="583677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8D5A0211-9E5C-4A16-B434-32D054324319}"/>
                </a:ext>
              </a:extLst>
            </p:cNvPr>
            <p:cNvSpPr/>
            <p:nvPr/>
          </p:nvSpPr>
          <p:spPr>
            <a:xfrm>
              <a:off x="8103508" y="702151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EA733E69-C1E7-49FE-9983-A6CBE3A24D50}"/>
                </a:ext>
              </a:extLst>
            </p:cNvPr>
            <p:cNvSpPr/>
            <p:nvPr/>
          </p:nvSpPr>
          <p:spPr>
            <a:xfrm>
              <a:off x="7050549" y="465122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D0F3AC93-72DB-4FB5-81CC-8F29B05C7B19}"/>
                </a:ext>
              </a:extLst>
            </p:cNvPr>
            <p:cNvSpPr/>
            <p:nvPr/>
          </p:nvSpPr>
          <p:spPr>
            <a:xfrm>
              <a:off x="7842106" y="346566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F4ADA9D7-1954-45B0-8BAE-2DB12E2B963B}"/>
                </a:ext>
              </a:extLst>
            </p:cNvPr>
            <p:cNvSpPr/>
            <p:nvPr/>
          </p:nvSpPr>
          <p:spPr>
            <a:xfrm>
              <a:off x="8091114" y="346566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A2B690B4-8E62-4410-8123-81753C41E63B}"/>
                </a:ext>
              </a:extLst>
            </p:cNvPr>
            <p:cNvSpPr/>
            <p:nvPr/>
          </p:nvSpPr>
          <p:spPr>
            <a:xfrm>
              <a:off x="6665635" y="228010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5E33B8B1-1772-4A9A-A120-CD7F035F6F37}"/>
                </a:ext>
              </a:extLst>
            </p:cNvPr>
            <p:cNvSpPr/>
            <p:nvPr/>
          </p:nvSpPr>
          <p:spPr>
            <a:xfrm>
              <a:off x="5989577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502543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8FB1C3F-1B2B-4FC2-9F77-0FECBF9F84B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ytuł 8">
            <a:extLst>
              <a:ext uri="{FF2B5EF4-FFF2-40B4-BE49-F238E27FC236}">
                <a16:creationId xmlns:a16="http://schemas.microsoft.com/office/drawing/2014/main" id="{A6AC15A9-3C59-451B-9637-4D63F9F2A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 with three step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54" name="Inhaltsplatzhalter 7">
            <a:extLst>
              <a:ext uri="{FF2B5EF4-FFF2-40B4-BE49-F238E27FC236}">
                <a16:creationId xmlns:a16="http://schemas.microsoft.com/office/drawing/2014/main" id="{AAE0C136-4222-4DA8-93EC-D22AB299CB28}"/>
              </a:ext>
            </a:extLst>
          </p:cNvPr>
          <p:cNvSpPr txBox="1">
            <a:spLocks/>
          </p:cNvSpPr>
          <p:nvPr/>
        </p:nvSpPr>
        <p:spPr bwMode="gray">
          <a:xfrm>
            <a:off x="4511675" y="1700808"/>
            <a:ext cx="3240088" cy="54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707E74E3-14D6-4227-91B5-0548A13AFB9D}"/>
              </a:ext>
            </a:extLst>
          </p:cNvPr>
          <p:cNvSpPr txBox="1">
            <a:spLocks/>
          </p:cNvSpPr>
          <p:nvPr/>
        </p:nvSpPr>
        <p:spPr bwMode="gray">
          <a:xfrm>
            <a:off x="4511675" y="2492896"/>
            <a:ext cx="3240088" cy="864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59" name="Inhaltsplatzhalter 7">
            <a:extLst>
              <a:ext uri="{FF2B5EF4-FFF2-40B4-BE49-F238E27FC236}">
                <a16:creationId xmlns:a16="http://schemas.microsoft.com/office/drawing/2014/main" id="{375F0372-9453-4F0D-BFCB-A84ECA822D6C}"/>
              </a:ext>
            </a:extLst>
          </p:cNvPr>
          <p:cNvSpPr txBox="1">
            <a:spLocks/>
          </p:cNvSpPr>
          <p:nvPr/>
        </p:nvSpPr>
        <p:spPr bwMode="gray">
          <a:xfrm>
            <a:off x="551384" y="2492896"/>
            <a:ext cx="3312000" cy="864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D6FBA798-5563-4946-9EB9-5143AFF43D3F}"/>
              </a:ext>
            </a:extLst>
          </p:cNvPr>
          <p:cNvCxnSpPr>
            <a:stCxn id="54" idx="2"/>
            <a:endCxn id="59" idx="0"/>
          </p:cNvCxnSpPr>
          <p:nvPr/>
        </p:nvCxnSpPr>
        <p:spPr bwMode="gray">
          <a:xfrm rot="5400000">
            <a:off x="4043508" y="404685"/>
            <a:ext cx="252088" cy="3924335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Inhaltsplatzhalter 7">
            <a:extLst>
              <a:ext uri="{FF2B5EF4-FFF2-40B4-BE49-F238E27FC236}">
                <a16:creationId xmlns:a16="http://schemas.microsoft.com/office/drawing/2014/main" id="{CA7D27CA-2150-4DD3-8529-81A7E5BDCFA5}"/>
              </a:ext>
            </a:extLst>
          </p:cNvPr>
          <p:cNvSpPr txBox="1">
            <a:spLocks/>
          </p:cNvSpPr>
          <p:nvPr/>
        </p:nvSpPr>
        <p:spPr bwMode="gray">
          <a:xfrm>
            <a:off x="8400624" y="2492896"/>
            <a:ext cx="3312000" cy="864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B9A0A61E-FBD6-4650-8157-B142752C047D}"/>
              </a:ext>
            </a:extLst>
          </p:cNvPr>
          <p:cNvCxnSpPr>
            <a:cxnSpLocks/>
            <a:stCxn id="54" idx="2"/>
            <a:endCxn id="61" idx="0"/>
          </p:cNvCxnSpPr>
          <p:nvPr/>
        </p:nvCxnSpPr>
        <p:spPr bwMode="gray">
          <a:xfrm rot="16200000" flipH="1">
            <a:off x="7968127" y="404399"/>
            <a:ext cx="252088" cy="3924905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4E67F130-0CE4-4CF0-8715-BFBD0B477CC5}"/>
              </a:ext>
            </a:extLst>
          </p:cNvPr>
          <p:cNvCxnSpPr>
            <a:cxnSpLocks/>
            <a:stCxn id="54" idx="2"/>
            <a:endCxn id="58" idx="0"/>
          </p:cNvCxnSpPr>
          <p:nvPr/>
        </p:nvCxnSpPr>
        <p:spPr bwMode="gray">
          <a:xfrm>
            <a:off x="6131719" y="2240808"/>
            <a:ext cx="0" cy="252088"/>
          </a:xfrm>
          <a:prstGeom prst="straightConnector1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Inhaltsplatzhalter 7">
            <a:extLst>
              <a:ext uri="{FF2B5EF4-FFF2-40B4-BE49-F238E27FC236}">
                <a16:creationId xmlns:a16="http://schemas.microsoft.com/office/drawing/2014/main" id="{C601F0FD-5D74-4C07-BF64-1BB93A6CFC92}"/>
              </a:ext>
            </a:extLst>
          </p:cNvPr>
          <p:cNvSpPr txBox="1">
            <a:spLocks/>
          </p:cNvSpPr>
          <p:nvPr/>
        </p:nvSpPr>
        <p:spPr bwMode="gray">
          <a:xfrm>
            <a:off x="4511675" y="3501104"/>
            <a:ext cx="3240088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66" name="Inhaltsplatzhalter 7">
            <a:extLst>
              <a:ext uri="{FF2B5EF4-FFF2-40B4-BE49-F238E27FC236}">
                <a16:creationId xmlns:a16="http://schemas.microsoft.com/office/drawing/2014/main" id="{4280287E-10D2-4CC0-BA55-82AF3F5F1522}"/>
              </a:ext>
            </a:extLst>
          </p:cNvPr>
          <p:cNvSpPr txBox="1">
            <a:spLocks/>
          </p:cNvSpPr>
          <p:nvPr/>
        </p:nvSpPr>
        <p:spPr bwMode="gray">
          <a:xfrm>
            <a:off x="551384" y="3501104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67" name="Inhaltsplatzhalter 7">
            <a:extLst>
              <a:ext uri="{FF2B5EF4-FFF2-40B4-BE49-F238E27FC236}">
                <a16:creationId xmlns:a16="http://schemas.microsoft.com/office/drawing/2014/main" id="{3265E239-B447-4C0B-A758-B7216797C45B}"/>
              </a:ext>
            </a:extLst>
          </p:cNvPr>
          <p:cNvSpPr txBox="1">
            <a:spLocks/>
          </p:cNvSpPr>
          <p:nvPr/>
        </p:nvSpPr>
        <p:spPr bwMode="gray">
          <a:xfrm>
            <a:off x="8400256" y="3501104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E4E033B6-659A-42DC-A0E2-6A543AF3FFC5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7D079B0C-C08E-4AFD-8512-E9B544DE21A3}"/>
              </a:ext>
            </a:extLst>
          </p:cNvPr>
          <p:cNvCxnSpPr>
            <a:cxnSpLocks/>
          </p:cNvCxnSpPr>
          <p:nvPr/>
        </p:nvCxnSpPr>
        <p:spPr bwMode="gray">
          <a:xfrm>
            <a:off x="8399144" y="3501104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464170D6-2368-4086-8128-09CF08F979B3}"/>
              </a:ext>
            </a:extLst>
          </p:cNvPr>
          <p:cNvCxnSpPr>
            <a:cxnSpLocks/>
          </p:cNvCxnSpPr>
          <p:nvPr/>
        </p:nvCxnSpPr>
        <p:spPr bwMode="gray">
          <a:xfrm>
            <a:off x="4511763" y="3501104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Inhaltsplatzhalter 7">
            <a:extLst>
              <a:ext uri="{FF2B5EF4-FFF2-40B4-BE49-F238E27FC236}">
                <a16:creationId xmlns:a16="http://schemas.microsoft.com/office/drawing/2014/main" id="{B31293E8-00FB-432E-9ED6-0BB148D48F2D}"/>
              </a:ext>
            </a:extLst>
          </p:cNvPr>
          <p:cNvSpPr txBox="1">
            <a:spLocks/>
          </p:cNvSpPr>
          <p:nvPr/>
        </p:nvSpPr>
        <p:spPr bwMode="gray">
          <a:xfrm>
            <a:off x="4511675" y="4365872"/>
            <a:ext cx="3240088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72" name="Inhaltsplatzhalter 7">
            <a:extLst>
              <a:ext uri="{FF2B5EF4-FFF2-40B4-BE49-F238E27FC236}">
                <a16:creationId xmlns:a16="http://schemas.microsoft.com/office/drawing/2014/main" id="{888233D3-8CC4-462A-BC5C-8DF6E2774E07}"/>
              </a:ext>
            </a:extLst>
          </p:cNvPr>
          <p:cNvSpPr txBox="1">
            <a:spLocks/>
          </p:cNvSpPr>
          <p:nvPr/>
        </p:nvSpPr>
        <p:spPr bwMode="gray">
          <a:xfrm>
            <a:off x="551384" y="4365872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73" name="Inhaltsplatzhalter 7">
            <a:extLst>
              <a:ext uri="{FF2B5EF4-FFF2-40B4-BE49-F238E27FC236}">
                <a16:creationId xmlns:a16="http://schemas.microsoft.com/office/drawing/2014/main" id="{E3630C66-63C7-48D0-BF5C-8F3F3CA34459}"/>
              </a:ext>
            </a:extLst>
          </p:cNvPr>
          <p:cNvSpPr txBox="1">
            <a:spLocks/>
          </p:cNvSpPr>
          <p:nvPr/>
        </p:nvSpPr>
        <p:spPr bwMode="gray">
          <a:xfrm>
            <a:off x="8400256" y="4365872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F3271002-EABB-44D2-A830-D334682F212B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A2A6385A-5F3D-40BF-9397-251F135B4867}"/>
              </a:ext>
            </a:extLst>
          </p:cNvPr>
          <p:cNvCxnSpPr>
            <a:cxnSpLocks/>
          </p:cNvCxnSpPr>
          <p:nvPr/>
        </p:nvCxnSpPr>
        <p:spPr bwMode="gray">
          <a:xfrm>
            <a:off x="8399144" y="4365872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79E98A24-6726-4B96-9E84-743E74052344}"/>
              </a:ext>
            </a:extLst>
          </p:cNvPr>
          <p:cNvCxnSpPr>
            <a:cxnSpLocks/>
          </p:cNvCxnSpPr>
          <p:nvPr/>
        </p:nvCxnSpPr>
        <p:spPr bwMode="gray">
          <a:xfrm>
            <a:off x="4511763" y="4365872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Inhaltsplatzhalter 7">
            <a:extLst>
              <a:ext uri="{FF2B5EF4-FFF2-40B4-BE49-F238E27FC236}">
                <a16:creationId xmlns:a16="http://schemas.microsoft.com/office/drawing/2014/main" id="{4EA5401D-8125-4710-8B4C-B5E3F9532B56}"/>
              </a:ext>
            </a:extLst>
          </p:cNvPr>
          <p:cNvSpPr txBox="1">
            <a:spLocks/>
          </p:cNvSpPr>
          <p:nvPr/>
        </p:nvSpPr>
        <p:spPr bwMode="gray">
          <a:xfrm>
            <a:off x="4511675" y="5229200"/>
            <a:ext cx="3240088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78" name="Inhaltsplatzhalter 7">
            <a:extLst>
              <a:ext uri="{FF2B5EF4-FFF2-40B4-BE49-F238E27FC236}">
                <a16:creationId xmlns:a16="http://schemas.microsoft.com/office/drawing/2014/main" id="{0311896A-C0FC-4326-8AEF-F7CB91EE87D5}"/>
              </a:ext>
            </a:extLst>
          </p:cNvPr>
          <p:cNvSpPr txBox="1">
            <a:spLocks/>
          </p:cNvSpPr>
          <p:nvPr/>
        </p:nvSpPr>
        <p:spPr bwMode="gray">
          <a:xfrm>
            <a:off x="551384" y="5229200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79" name="Inhaltsplatzhalter 7">
            <a:extLst>
              <a:ext uri="{FF2B5EF4-FFF2-40B4-BE49-F238E27FC236}">
                <a16:creationId xmlns:a16="http://schemas.microsoft.com/office/drawing/2014/main" id="{08CB1EDA-78A0-459A-B240-B263C2D8BE80}"/>
              </a:ext>
            </a:extLst>
          </p:cNvPr>
          <p:cNvSpPr txBox="1">
            <a:spLocks/>
          </p:cNvSpPr>
          <p:nvPr/>
        </p:nvSpPr>
        <p:spPr bwMode="gray">
          <a:xfrm>
            <a:off x="8400256" y="5229200"/>
            <a:ext cx="3312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2C8EF369-436E-4D95-BAE2-1D1936100F8F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597FBB0-C0DC-4839-938F-9F30B732E212}"/>
              </a:ext>
            </a:extLst>
          </p:cNvPr>
          <p:cNvCxnSpPr>
            <a:cxnSpLocks/>
          </p:cNvCxnSpPr>
          <p:nvPr/>
        </p:nvCxnSpPr>
        <p:spPr bwMode="gray">
          <a:xfrm>
            <a:off x="8399144" y="5229200"/>
            <a:ext cx="33131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D77278EB-CB2D-45E3-943A-4B3A12CF70FC}"/>
              </a:ext>
            </a:extLst>
          </p:cNvPr>
          <p:cNvCxnSpPr>
            <a:cxnSpLocks/>
          </p:cNvCxnSpPr>
          <p:nvPr/>
        </p:nvCxnSpPr>
        <p:spPr bwMode="gray">
          <a:xfrm>
            <a:off x="4511763" y="5229200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58722617"/>
      </p:ext>
    </p:extLst>
  </p:cSld>
  <p:clrMapOvr>
    <a:masterClrMapping/>
  </p:clrMapOvr>
  <p:transition spd="slow"/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8FB1C3F-1B2B-4FC2-9F77-0FECBF9F84B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ytuł 8">
            <a:extLst>
              <a:ext uri="{FF2B5EF4-FFF2-40B4-BE49-F238E27FC236}">
                <a16:creationId xmlns:a16="http://schemas.microsoft.com/office/drawing/2014/main" id="{A6AC15A9-3C59-451B-9637-4D63F9F2A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2</a:t>
            </a:fld>
            <a:endParaRPr lang="en-US" dirty="0"/>
          </a:p>
        </p:txBody>
      </p:sp>
      <p:sp>
        <p:nvSpPr>
          <p:cNvPr id="44" name="Inhaltsplatzhalter 7">
            <a:extLst>
              <a:ext uri="{FF2B5EF4-FFF2-40B4-BE49-F238E27FC236}">
                <a16:creationId xmlns:a16="http://schemas.microsoft.com/office/drawing/2014/main" id="{242F0B17-EFE5-4F17-A384-1A2EC3628AC8}"/>
              </a:ext>
            </a:extLst>
          </p:cNvPr>
          <p:cNvSpPr txBox="1">
            <a:spLocks/>
          </p:cNvSpPr>
          <p:nvPr/>
        </p:nvSpPr>
        <p:spPr bwMode="gray">
          <a:xfrm>
            <a:off x="4511675" y="1700808"/>
            <a:ext cx="3240088" cy="54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</p:txBody>
      </p:sp>
      <p:sp>
        <p:nvSpPr>
          <p:cNvPr id="46" name="Inhaltsplatzhalter 7">
            <a:extLst>
              <a:ext uri="{FF2B5EF4-FFF2-40B4-BE49-F238E27FC236}">
                <a16:creationId xmlns:a16="http://schemas.microsoft.com/office/drawing/2014/main" id="{73F2C72B-7489-4B38-BDC0-5A1F1EA605F2}"/>
              </a:ext>
            </a:extLst>
          </p:cNvPr>
          <p:cNvSpPr txBox="1">
            <a:spLocks/>
          </p:cNvSpPr>
          <p:nvPr/>
        </p:nvSpPr>
        <p:spPr bwMode="gray">
          <a:xfrm>
            <a:off x="551384" y="2492896"/>
            <a:ext cx="5256000" cy="864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id="{0881B136-D2CB-4044-998D-5535337197DB}"/>
              </a:ext>
            </a:extLst>
          </p:cNvPr>
          <p:cNvCxnSpPr>
            <a:stCxn id="44" idx="2"/>
            <a:endCxn id="46" idx="0"/>
          </p:cNvCxnSpPr>
          <p:nvPr/>
        </p:nvCxnSpPr>
        <p:spPr bwMode="gray">
          <a:xfrm rot="5400000">
            <a:off x="4529508" y="890685"/>
            <a:ext cx="252088" cy="2952335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nhaltsplatzhalter 7">
            <a:extLst>
              <a:ext uri="{FF2B5EF4-FFF2-40B4-BE49-F238E27FC236}">
                <a16:creationId xmlns:a16="http://schemas.microsoft.com/office/drawing/2014/main" id="{5CA3AA49-BE4F-42AC-9B9F-01AA389B422D}"/>
              </a:ext>
            </a:extLst>
          </p:cNvPr>
          <p:cNvSpPr txBox="1">
            <a:spLocks/>
          </p:cNvSpPr>
          <p:nvPr/>
        </p:nvSpPr>
        <p:spPr bwMode="gray">
          <a:xfrm>
            <a:off x="6456624" y="2492896"/>
            <a:ext cx="5256000" cy="864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BCC0C371-550D-438C-8195-035E41D3A334}"/>
              </a:ext>
            </a:extLst>
          </p:cNvPr>
          <p:cNvCxnSpPr>
            <a:cxnSpLocks/>
            <a:stCxn id="44" idx="2"/>
            <a:endCxn id="56" idx="0"/>
          </p:cNvCxnSpPr>
          <p:nvPr/>
        </p:nvCxnSpPr>
        <p:spPr bwMode="gray">
          <a:xfrm rot="16200000" flipH="1">
            <a:off x="7482127" y="890399"/>
            <a:ext cx="252088" cy="2952905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Inhaltsplatzhalter 7">
            <a:extLst>
              <a:ext uri="{FF2B5EF4-FFF2-40B4-BE49-F238E27FC236}">
                <a16:creationId xmlns:a16="http://schemas.microsoft.com/office/drawing/2014/main" id="{835AA9BA-AE35-4488-A65C-24EA1A6A6E44}"/>
              </a:ext>
            </a:extLst>
          </p:cNvPr>
          <p:cNvSpPr txBox="1">
            <a:spLocks/>
          </p:cNvSpPr>
          <p:nvPr/>
        </p:nvSpPr>
        <p:spPr bwMode="gray">
          <a:xfrm>
            <a:off x="551384" y="3501104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78" name="Inhaltsplatzhalter 7">
            <a:extLst>
              <a:ext uri="{FF2B5EF4-FFF2-40B4-BE49-F238E27FC236}">
                <a16:creationId xmlns:a16="http://schemas.microsoft.com/office/drawing/2014/main" id="{A240D8A5-61EA-41D2-85D1-61A82968A250}"/>
              </a:ext>
            </a:extLst>
          </p:cNvPr>
          <p:cNvSpPr txBox="1">
            <a:spLocks/>
          </p:cNvSpPr>
          <p:nvPr/>
        </p:nvSpPr>
        <p:spPr bwMode="gray">
          <a:xfrm>
            <a:off x="6456624" y="3501104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98B31F31-8041-4C57-BAA7-99C02B2D411C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AA22D9F6-15E3-4E7F-B5AB-5F128E04DD20}"/>
              </a:ext>
            </a:extLst>
          </p:cNvPr>
          <p:cNvCxnSpPr>
            <a:cxnSpLocks/>
          </p:cNvCxnSpPr>
          <p:nvPr/>
        </p:nvCxnSpPr>
        <p:spPr bwMode="gray">
          <a:xfrm>
            <a:off x="6456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Inhaltsplatzhalter 7">
            <a:extLst>
              <a:ext uri="{FF2B5EF4-FFF2-40B4-BE49-F238E27FC236}">
                <a16:creationId xmlns:a16="http://schemas.microsoft.com/office/drawing/2014/main" id="{31F4F586-F88C-43B4-AEE1-3AAF608B7AEB}"/>
              </a:ext>
            </a:extLst>
          </p:cNvPr>
          <p:cNvSpPr txBox="1">
            <a:spLocks/>
          </p:cNvSpPr>
          <p:nvPr/>
        </p:nvSpPr>
        <p:spPr bwMode="gray">
          <a:xfrm>
            <a:off x="551384" y="4365872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84" name="Inhaltsplatzhalter 7">
            <a:extLst>
              <a:ext uri="{FF2B5EF4-FFF2-40B4-BE49-F238E27FC236}">
                <a16:creationId xmlns:a16="http://schemas.microsoft.com/office/drawing/2014/main" id="{F5579DD1-769B-4918-BAE3-D2D1BB86A7A5}"/>
              </a:ext>
            </a:extLst>
          </p:cNvPr>
          <p:cNvSpPr txBox="1">
            <a:spLocks/>
          </p:cNvSpPr>
          <p:nvPr/>
        </p:nvSpPr>
        <p:spPr bwMode="gray">
          <a:xfrm>
            <a:off x="6456624" y="4365872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38CCADA7-33C4-4CE1-8464-A76FAF9341BD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57DCDBEA-396E-4865-920C-636D5474A183}"/>
              </a:ext>
            </a:extLst>
          </p:cNvPr>
          <p:cNvCxnSpPr>
            <a:cxnSpLocks/>
          </p:cNvCxnSpPr>
          <p:nvPr/>
        </p:nvCxnSpPr>
        <p:spPr bwMode="gray">
          <a:xfrm>
            <a:off x="6456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Inhaltsplatzhalter 7">
            <a:extLst>
              <a:ext uri="{FF2B5EF4-FFF2-40B4-BE49-F238E27FC236}">
                <a16:creationId xmlns:a16="http://schemas.microsoft.com/office/drawing/2014/main" id="{DD3AF10F-2F4B-4E56-A9C4-0624A879465B}"/>
              </a:ext>
            </a:extLst>
          </p:cNvPr>
          <p:cNvSpPr txBox="1">
            <a:spLocks/>
          </p:cNvSpPr>
          <p:nvPr/>
        </p:nvSpPr>
        <p:spPr bwMode="gray">
          <a:xfrm>
            <a:off x="551384" y="5229200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sp>
        <p:nvSpPr>
          <p:cNvPr id="90" name="Inhaltsplatzhalter 7">
            <a:extLst>
              <a:ext uri="{FF2B5EF4-FFF2-40B4-BE49-F238E27FC236}">
                <a16:creationId xmlns:a16="http://schemas.microsoft.com/office/drawing/2014/main" id="{001991C6-2A75-489C-BB36-57D91FE91E85}"/>
              </a:ext>
            </a:extLst>
          </p:cNvPr>
          <p:cNvSpPr txBox="1">
            <a:spLocks/>
          </p:cNvSpPr>
          <p:nvPr/>
        </p:nvSpPr>
        <p:spPr bwMode="gray">
          <a:xfrm>
            <a:off x="6456624" y="5229200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4A131551-E28B-47D5-B5CF-32732D916D17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76AFC008-111C-406F-B705-D1D0A28076BD}"/>
              </a:ext>
            </a:extLst>
          </p:cNvPr>
          <p:cNvCxnSpPr>
            <a:cxnSpLocks/>
          </p:cNvCxnSpPr>
          <p:nvPr/>
        </p:nvCxnSpPr>
        <p:spPr bwMode="gray">
          <a:xfrm>
            <a:off x="6456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Inhaltsplatzhalter 7">
            <a:extLst>
              <a:ext uri="{FF2B5EF4-FFF2-40B4-BE49-F238E27FC236}">
                <a16:creationId xmlns:a16="http://schemas.microsoft.com/office/drawing/2014/main" id="{B88624BF-9DC5-4601-9E41-6388654DFE61}"/>
              </a:ext>
            </a:extLst>
          </p:cNvPr>
          <p:cNvSpPr txBox="1">
            <a:spLocks/>
          </p:cNvSpPr>
          <p:nvPr/>
        </p:nvSpPr>
        <p:spPr bwMode="gray">
          <a:xfrm>
            <a:off x="3503712" y="3501104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EB88526-8483-40EE-9374-140552394870}"/>
              </a:ext>
            </a:extLst>
          </p:cNvPr>
          <p:cNvCxnSpPr>
            <a:cxnSpLocks/>
          </p:cNvCxnSpPr>
          <p:nvPr/>
        </p:nvCxnSpPr>
        <p:spPr bwMode="gray">
          <a:xfrm>
            <a:off x="3503712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7">
            <a:extLst>
              <a:ext uri="{FF2B5EF4-FFF2-40B4-BE49-F238E27FC236}">
                <a16:creationId xmlns:a16="http://schemas.microsoft.com/office/drawing/2014/main" id="{4482D3B7-6956-416D-BF39-C845F9F3619A}"/>
              </a:ext>
            </a:extLst>
          </p:cNvPr>
          <p:cNvSpPr txBox="1">
            <a:spLocks/>
          </p:cNvSpPr>
          <p:nvPr/>
        </p:nvSpPr>
        <p:spPr bwMode="gray">
          <a:xfrm>
            <a:off x="3503712" y="4365872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26F3F4EA-7AAD-4D0D-9C2B-91880CE0C95C}"/>
              </a:ext>
            </a:extLst>
          </p:cNvPr>
          <p:cNvCxnSpPr>
            <a:cxnSpLocks/>
          </p:cNvCxnSpPr>
          <p:nvPr/>
        </p:nvCxnSpPr>
        <p:spPr bwMode="gray">
          <a:xfrm>
            <a:off x="3503712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Inhaltsplatzhalter 7">
            <a:extLst>
              <a:ext uri="{FF2B5EF4-FFF2-40B4-BE49-F238E27FC236}">
                <a16:creationId xmlns:a16="http://schemas.microsoft.com/office/drawing/2014/main" id="{EB686238-AC63-49A0-A5F3-98AB167BCBBA}"/>
              </a:ext>
            </a:extLst>
          </p:cNvPr>
          <p:cNvSpPr txBox="1">
            <a:spLocks/>
          </p:cNvSpPr>
          <p:nvPr/>
        </p:nvSpPr>
        <p:spPr bwMode="gray">
          <a:xfrm>
            <a:off x="3503712" y="5229200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987FC379-19A4-4011-8435-A4F5AF1F1A41}"/>
              </a:ext>
            </a:extLst>
          </p:cNvPr>
          <p:cNvCxnSpPr>
            <a:cxnSpLocks/>
          </p:cNvCxnSpPr>
          <p:nvPr/>
        </p:nvCxnSpPr>
        <p:spPr bwMode="gray">
          <a:xfrm>
            <a:off x="3503712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Inhaltsplatzhalter 7">
            <a:extLst>
              <a:ext uri="{FF2B5EF4-FFF2-40B4-BE49-F238E27FC236}">
                <a16:creationId xmlns:a16="http://schemas.microsoft.com/office/drawing/2014/main" id="{83C05409-BDD3-4424-997B-058EA4D31E27}"/>
              </a:ext>
            </a:extLst>
          </p:cNvPr>
          <p:cNvSpPr txBox="1">
            <a:spLocks/>
          </p:cNvSpPr>
          <p:nvPr/>
        </p:nvSpPr>
        <p:spPr bwMode="gray">
          <a:xfrm>
            <a:off x="9408624" y="3501104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259E9C1C-7909-4BA1-A15B-8188A26558F4}"/>
              </a:ext>
            </a:extLst>
          </p:cNvPr>
          <p:cNvCxnSpPr>
            <a:cxnSpLocks/>
          </p:cNvCxnSpPr>
          <p:nvPr/>
        </p:nvCxnSpPr>
        <p:spPr bwMode="gray">
          <a:xfrm>
            <a:off x="9408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Inhaltsplatzhalter 7">
            <a:extLst>
              <a:ext uri="{FF2B5EF4-FFF2-40B4-BE49-F238E27FC236}">
                <a16:creationId xmlns:a16="http://schemas.microsoft.com/office/drawing/2014/main" id="{73A566DA-ADDC-4022-984D-6EC8AFE2404A}"/>
              </a:ext>
            </a:extLst>
          </p:cNvPr>
          <p:cNvSpPr txBox="1">
            <a:spLocks/>
          </p:cNvSpPr>
          <p:nvPr/>
        </p:nvSpPr>
        <p:spPr bwMode="gray">
          <a:xfrm>
            <a:off x="9408624" y="4365872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D62F60DE-AA6C-4FAB-ADC6-8EB55F5D354C}"/>
              </a:ext>
            </a:extLst>
          </p:cNvPr>
          <p:cNvCxnSpPr>
            <a:cxnSpLocks/>
          </p:cNvCxnSpPr>
          <p:nvPr/>
        </p:nvCxnSpPr>
        <p:spPr bwMode="gray">
          <a:xfrm>
            <a:off x="9408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Inhaltsplatzhalter 7">
            <a:extLst>
              <a:ext uri="{FF2B5EF4-FFF2-40B4-BE49-F238E27FC236}">
                <a16:creationId xmlns:a16="http://schemas.microsoft.com/office/drawing/2014/main" id="{0FB3B1C2-C0F0-4A30-A347-D476D5561510}"/>
              </a:ext>
            </a:extLst>
          </p:cNvPr>
          <p:cNvSpPr txBox="1">
            <a:spLocks/>
          </p:cNvSpPr>
          <p:nvPr/>
        </p:nvSpPr>
        <p:spPr bwMode="gray">
          <a:xfrm>
            <a:off x="9408624" y="5229200"/>
            <a:ext cx="2304000" cy="864000"/>
          </a:xfrm>
          <a:prstGeom prst="rect">
            <a:avLst/>
          </a:prstGeom>
          <a:noFill/>
        </p:spPr>
        <p:txBody>
          <a:bodyPr lIns="0" tIns="10800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Maecenas porttitor</a:t>
            </a:r>
          </a:p>
        </p:txBody>
      </p: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6116753F-E9E1-46D6-8F89-1FBBD8810154}"/>
              </a:ext>
            </a:extLst>
          </p:cNvPr>
          <p:cNvCxnSpPr>
            <a:cxnSpLocks/>
          </p:cNvCxnSpPr>
          <p:nvPr/>
        </p:nvCxnSpPr>
        <p:spPr bwMode="gray">
          <a:xfrm>
            <a:off x="9408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818976233"/>
      </p:ext>
    </p:extLst>
  </p:cSld>
  <p:clrMapOvr>
    <a:masterClrMapping/>
  </p:clrMapOvr>
  <p:transition spd="slow"/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4793AA8-F7F4-4710-B65A-02BFE046D9B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4793AA8-F7F4-4710-B65A-02BFE046D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" name="Grafik 53">
            <a:extLst>
              <a:ext uri="{FF2B5EF4-FFF2-40B4-BE49-F238E27FC236}">
                <a16:creationId xmlns:a16="http://schemas.microsoft.com/office/drawing/2014/main" id="{ED26BF90-3373-4FF7-9EA3-0A31F943003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551384" y="1700808"/>
            <a:ext cx="1476164" cy="1800000"/>
          </a:xfrm>
          <a:prstGeom prst="rect">
            <a:avLst/>
          </a:prstGeom>
        </p:spPr>
      </p:pic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F4E0FDE6-5E1C-4E07-B2EE-57B7FDA312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E22BAB8-57F6-469E-9753-1E0E9FCE8A0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wo personal profil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50" name="Inhaltsplatzhalter 7">
            <a:extLst>
              <a:ext uri="{FF2B5EF4-FFF2-40B4-BE49-F238E27FC236}">
                <a16:creationId xmlns:a16="http://schemas.microsoft.com/office/drawing/2014/main" id="{F2C6959E-4463-4C93-9DC7-DEB493280F86}"/>
              </a:ext>
            </a:extLst>
          </p:cNvPr>
          <p:cNvSpPr txBox="1">
            <a:spLocks/>
          </p:cNvSpPr>
          <p:nvPr/>
        </p:nvSpPr>
        <p:spPr bwMode="gray">
          <a:xfrm>
            <a:off x="2243572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56" name="Inhaltsplatzhalter 7">
            <a:extLst>
              <a:ext uri="{FF2B5EF4-FFF2-40B4-BE49-F238E27FC236}">
                <a16:creationId xmlns:a16="http://schemas.microsoft.com/office/drawing/2014/main" id="{33C68250-1705-4DA0-A00C-67FEF0812794}"/>
              </a:ext>
            </a:extLst>
          </p:cNvPr>
          <p:cNvSpPr txBox="1">
            <a:spLocks/>
          </p:cNvSpPr>
          <p:nvPr/>
        </p:nvSpPr>
        <p:spPr bwMode="gray">
          <a:xfrm>
            <a:off x="550863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FE75F016-E815-4C51-A6A3-1962D9F79930}"/>
              </a:ext>
            </a:extLst>
          </p:cNvPr>
          <p:cNvSpPr txBox="1">
            <a:spLocks/>
          </p:cNvSpPr>
          <p:nvPr/>
        </p:nvSpPr>
        <p:spPr bwMode="gray">
          <a:xfrm>
            <a:off x="8147533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19EF39F9-B6B7-487D-BB5D-238471042759}"/>
              </a:ext>
            </a:extLst>
          </p:cNvPr>
          <p:cNvSpPr txBox="1">
            <a:spLocks/>
          </p:cNvSpPr>
          <p:nvPr/>
        </p:nvSpPr>
        <p:spPr bwMode="gray">
          <a:xfrm>
            <a:off x="6454824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970C0A81-9499-491B-AEFD-EB8128AC493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6454824" y="1700808"/>
            <a:ext cx="1476164" cy="1800000"/>
          </a:xfrm>
          <a:prstGeom prst="rect">
            <a:avLst/>
          </a:prstGeom>
        </p:spPr>
      </p:pic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E272BC0-ED75-455F-AC8E-6D17AEF458B3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4D969DEE-D424-4EEF-A647-19BD85CF366E}"/>
              </a:ext>
            </a:extLst>
          </p:cNvPr>
          <p:cNvCxnSpPr>
            <a:cxnSpLocks/>
          </p:cNvCxnSpPr>
          <p:nvPr/>
        </p:nvCxnSpPr>
        <p:spPr bwMode="gray">
          <a:xfrm>
            <a:off x="6454824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91820826"/>
      </p:ext>
    </p:extLst>
  </p:cSld>
  <p:clrMapOvr>
    <a:masterClrMapping/>
  </p:clrMapOvr>
  <p:transition spd="slow"/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4793AA8-F7F4-4710-B65A-02BFE046D9B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4793AA8-F7F4-4710-B65A-02BFE046D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" name="Grafik 53">
            <a:extLst>
              <a:ext uri="{FF2B5EF4-FFF2-40B4-BE49-F238E27FC236}">
                <a16:creationId xmlns:a16="http://schemas.microsoft.com/office/drawing/2014/main" id="{ED26BF90-3373-4FF7-9EA3-0A31F943003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551384" y="1700808"/>
            <a:ext cx="1476164" cy="1800000"/>
          </a:xfrm>
          <a:prstGeom prst="rect">
            <a:avLst/>
          </a:prstGeom>
        </p:spPr>
      </p:pic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F4E0FDE6-5E1C-4E07-B2EE-57B7FDA312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E22BAB8-57F6-469E-9753-1E0E9FCE8A0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wo personal profil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50" name="Inhaltsplatzhalter 7">
            <a:extLst>
              <a:ext uri="{FF2B5EF4-FFF2-40B4-BE49-F238E27FC236}">
                <a16:creationId xmlns:a16="http://schemas.microsoft.com/office/drawing/2014/main" id="{F2C6959E-4463-4C93-9DC7-DEB493280F86}"/>
              </a:ext>
            </a:extLst>
          </p:cNvPr>
          <p:cNvSpPr txBox="1">
            <a:spLocks/>
          </p:cNvSpPr>
          <p:nvPr/>
        </p:nvSpPr>
        <p:spPr bwMode="gray">
          <a:xfrm>
            <a:off x="2243572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56" name="Inhaltsplatzhalter 7">
            <a:extLst>
              <a:ext uri="{FF2B5EF4-FFF2-40B4-BE49-F238E27FC236}">
                <a16:creationId xmlns:a16="http://schemas.microsoft.com/office/drawing/2014/main" id="{33C68250-1705-4DA0-A00C-67FEF0812794}"/>
              </a:ext>
            </a:extLst>
          </p:cNvPr>
          <p:cNvSpPr txBox="1">
            <a:spLocks/>
          </p:cNvSpPr>
          <p:nvPr/>
        </p:nvSpPr>
        <p:spPr bwMode="gray">
          <a:xfrm>
            <a:off x="550863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FE75F016-E815-4C51-A6A3-1962D9F79930}"/>
              </a:ext>
            </a:extLst>
          </p:cNvPr>
          <p:cNvSpPr txBox="1">
            <a:spLocks/>
          </p:cNvSpPr>
          <p:nvPr/>
        </p:nvSpPr>
        <p:spPr bwMode="gray">
          <a:xfrm>
            <a:off x="8147533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19EF39F9-B6B7-487D-BB5D-238471042759}"/>
              </a:ext>
            </a:extLst>
          </p:cNvPr>
          <p:cNvSpPr txBox="1">
            <a:spLocks/>
          </p:cNvSpPr>
          <p:nvPr/>
        </p:nvSpPr>
        <p:spPr bwMode="gray">
          <a:xfrm>
            <a:off x="6454824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970C0A81-9499-491B-AEFD-EB8128AC493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6454824" y="1700808"/>
            <a:ext cx="1476164" cy="1800000"/>
          </a:xfrm>
          <a:prstGeom prst="rect">
            <a:avLst/>
          </a:prstGeom>
        </p:spPr>
      </p:pic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E272BC0-ED75-455F-AC8E-6D17AEF458B3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4D969DEE-D424-4EEF-A647-19BD85CF366E}"/>
              </a:ext>
            </a:extLst>
          </p:cNvPr>
          <p:cNvCxnSpPr>
            <a:cxnSpLocks/>
          </p:cNvCxnSpPr>
          <p:nvPr/>
        </p:nvCxnSpPr>
        <p:spPr bwMode="gray">
          <a:xfrm>
            <a:off x="6454824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033223846"/>
      </p:ext>
    </p:extLst>
  </p:cSld>
  <p:clrMapOvr>
    <a:masterClrMapping/>
  </p:clrMapOvr>
  <p:transition spd="slow"/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39DB56A7-9B57-49AF-8012-A5AE4280FFAF}"/>
              </a:ext>
            </a:extLst>
          </p:cNvPr>
          <p:cNvCxnSpPr>
            <a:cxnSpLocks/>
          </p:cNvCxnSpPr>
          <p:nvPr/>
        </p:nvCxnSpPr>
        <p:spPr bwMode="gray">
          <a:xfrm>
            <a:off x="6960096" y="242088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Inhaltsplatzhalter 7">
            <a:extLst>
              <a:ext uri="{FF2B5EF4-FFF2-40B4-BE49-F238E27FC236}">
                <a16:creationId xmlns:a16="http://schemas.microsoft.com/office/drawing/2014/main" id="{A5756334-2B18-4604-A143-8F0960A5013C}"/>
              </a:ext>
            </a:extLst>
          </p:cNvPr>
          <p:cNvSpPr txBox="1">
            <a:spLocks/>
          </p:cNvSpPr>
          <p:nvPr/>
        </p:nvSpPr>
        <p:spPr bwMode="gray">
          <a:xfrm>
            <a:off x="8185145" y="17002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AEE96264-9056-4445-9B16-8EF1DA80F92B}"/>
              </a:ext>
            </a:extLst>
          </p:cNvPr>
          <p:cNvCxnSpPr>
            <a:cxnSpLocks/>
          </p:cNvCxnSpPr>
          <p:nvPr/>
        </p:nvCxnSpPr>
        <p:spPr bwMode="gray">
          <a:xfrm>
            <a:off x="550862" y="242088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C41937F-C48B-4C64-9F04-1F417351F7F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3C1E8EC-E648-458D-8A1F-55CD27F1648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Segments with affili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70" name="Inhaltsplatzhalter 7">
            <a:extLst>
              <a:ext uri="{FF2B5EF4-FFF2-40B4-BE49-F238E27FC236}">
                <a16:creationId xmlns:a16="http://schemas.microsoft.com/office/drawing/2014/main" id="{057467BE-11D4-4F75-BE1B-A205EEEAE48A}"/>
              </a:ext>
            </a:extLst>
          </p:cNvPr>
          <p:cNvSpPr txBox="1">
            <a:spLocks/>
          </p:cNvSpPr>
          <p:nvPr/>
        </p:nvSpPr>
        <p:spPr bwMode="gray">
          <a:xfrm>
            <a:off x="551382" y="17002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47EE4740-BF74-448D-B690-FF1F263B84F5}"/>
              </a:ext>
            </a:extLst>
          </p:cNvPr>
          <p:cNvCxnSpPr>
            <a:cxnSpLocks/>
          </p:cNvCxnSpPr>
          <p:nvPr/>
        </p:nvCxnSpPr>
        <p:spPr bwMode="gray">
          <a:xfrm>
            <a:off x="7753145" y="3428736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Inhaltsplatzhalter 7">
            <a:extLst>
              <a:ext uri="{FF2B5EF4-FFF2-40B4-BE49-F238E27FC236}">
                <a16:creationId xmlns:a16="http://schemas.microsoft.com/office/drawing/2014/main" id="{A054D4DE-B171-4241-8F68-4A47DFE474E6}"/>
              </a:ext>
            </a:extLst>
          </p:cNvPr>
          <p:cNvSpPr txBox="1">
            <a:spLocks/>
          </p:cNvSpPr>
          <p:nvPr/>
        </p:nvSpPr>
        <p:spPr bwMode="gray">
          <a:xfrm>
            <a:off x="8185145" y="2709000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5BC1E11-93DB-462A-A99E-DDF4324BB4DB}"/>
              </a:ext>
            </a:extLst>
          </p:cNvPr>
          <p:cNvCxnSpPr>
            <a:cxnSpLocks/>
          </p:cNvCxnSpPr>
          <p:nvPr/>
        </p:nvCxnSpPr>
        <p:spPr bwMode="gray">
          <a:xfrm>
            <a:off x="550863" y="3428736"/>
            <a:ext cx="39608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Inhaltsplatzhalter 7">
            <a:extLst>
              <a:ext uri="{FF2B5EF4-FFF2-40B4-BE49-F238E27FC236}">
                <a16:creationId xmlns:a16="http://schemas.microsoft.com/office/drawing/2014/main" id="{7D3AD2E2-1940-4D8C-807D-2A96A62F8FF7}"/>
              </a:ext>
            </a:extLst>
          </p:cNvPr>
          <p:cNvSpPr txBox="1">
            <a:spLocks/>
          </p:cNvSpPr>
          <p:nvPr/>
        </p:nvSpPr>
        <p:spPr bwMode="gray">
          <a:xfrm>
            <a:off x="551382" y="2709000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16A9745A-4193-43C0-9604-89EBED2496FE}"/>
              </a:ext>
            </a:extLst>
          </p:cNvPr>
          <p:cNvCxnSpPr>
            <a:cxnSpLocks/>
          </p:cNvCxnSpPr>
          <p:nvPr/>
        </p:nvCxnSpPr>
        <p:spPr bwMode="gray">
          <a:xfrm>
            <a:off x="7753145" y="4437112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Inhaltsplatzhalter 7">
            <a:extLst>
              <a:ext uri="{FF2B5EF4-FFF2-40B4-BE49-F238E27FC236}">
                <a16:creationId xmlns:a16="http://schemas.microsoft.com/office/drawing/2014/main" id="{908DBA5B-194C-461D-9667-AF6D2F2ACF8F}"/>
              </a:ext>
            </a:extLst>
          </p:cNvPr>
          <p:cNvSpPr txBox="1">
            <a:spLocks/>
          </p:cNvSpPr>
          <p:nvPr/>
        </p:nvSpPr>
        <p:spPr bwMode="gray">
          <a:xfrm>
            <a:off x="8185145" y="37171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984EAED7-CCBE-4471-A091-6B5A92A55EA4}"/>
              </a:ext>
            </a:extLst>
          </p:cNvPr>
          <p:cNvCxnSpPr>
            <a:cxnSpLocks/>
          </p:cNvCxnSpPr>
          <p:nvPr/>
        </p:nvCxnSpPr>
        <p:spPr bwMode="gray">
          <a:xfrm>
            <a:off x="550863" y="4437112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Inhaltsplatzhalter 7">
            <a:extLst>
              <a:ext uri="{FF2B5EF4-FFF2-40B4-BE49-F238E27FC236}">
                <a16:creationId xmlns:a16="http://schemas.microsoft.com/office/drawing/2014/main" id="{B675ECAD-C54A-4BC5-A337-28B337BCB790}"/>
              </a:ext>
            </a:extLst>
          </p:cNvPr>
          <p:cNvSpPr txBox="1">
            <a:spLocks/>
          </p:cNvSpPr>
          <p:nvPr/>
        </p:nvSpPr>
        <p:spPr bwMode="gray">
          <a:xfrm>
            <a:off x="551382" y="37171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D289F092-81F4-4409-AC95-0662D1FD2382}"/>
              </a:ext>
            </a:extLst>
          </p:cNvPr>
          <p:cNvCxnSpPr>
            <a:cxnSpLocks/>
          </p:cNvCxnSpPr>
          <p:nvPr/>
        </p:nvCxnSpPr>
        <p:spPr bwMode="gray">
          <a:xfrm>
            <a:off x="6960096" y="544454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Inhaltsplatzhalter 7">
            <a:extLst>
              <a:ext uri="{FF2B5EF4-FFF2-40B4-BE49-F238E27FC236}">
                <a16:creationId xmlns:a16="http://schemas.microsoft.com/office/drawing/2014/main" id="{0A622CDD-74EF-4BD3-BCCF-64DFC46DE8CC}"/>
              </a:ext>
            </a:extLst>
          </p:cNvPr>
          <p:cNvSpPr txBox="1">
            <a:spLocks/>
          </p:cNvSpPr>
          <p:nvPr/>
        </p:nvSpPr>
        <p:spPr bwMode="gray">
          <a:xfrm>
            <a:off x="8185145" y="4724548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CC32662B-8134-4CCC-B1DA-FCBE3C127948}"/>
              </a:ext>
            </a:extLst>
          </p:cNvPr>
          <p:cNvCxnSpPr>
            <a:cxnSpLocks/>
          </p:cNvCxnSpPr>
          <p:nvPr/>
        </p:nvCxnSpPr>
        <p:spPr bwMode="gray">
          <a:xfrm>
            <a:off x="550862" y="544454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Inhaltsplatzhalter 7">
            <a:extLst>
              <a:ext uri="{FF2B5EF4-FFF2-40B4-BE49-F238E27FC236}">
                <a16:creationId xmlns:a16="http://schemas.microsoft.com/office/drawing/2014/main" id="{9FDA6E97-ACC1-4445-ABC9-E3C0290F11C6}"/>
              </a:ext>
            </a:extLst>
          </p:cNvPr>
          <p:cNvSpPr txBox="1">
            <a:spLocks/>
          </p:cNvSpPr>
          <p:nvPr/>
        </p:nvSpPr>
        <p:spPr bwMode="gray">
          <a:xfrm>
            <a:off x="551382" y="4724548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graphicFrame>
        <p:nvGraphicFramePr>
          <p:cNvPr id="56" name="Diagramm 55">
            <a:extLst>
              <a:ext uri="{FF2B5EF4-FFF2-40B4-BE49-F238E27FC236}">
                <a16:creationId xmlns:a16="http://schemas.microsoft.com/office/drawing/2014/main" id="{539420C1-5B4E-4EEE-A13E-EEBE2915D960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4224000" y="1988519"/>
          <a:ext cx="3816000" cy="381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57" name="Grupa 153">
            <a:extLst>
              <a:ext uri="{FF2B5EF4-FFF2-40B4-BE49-F238E27FC236}">
                <a16:creationId xmlns:a16="http://schemas.microsoft.com/office/drawing/2014/main" id="{3EE27D98-8DA2-447A-8BC9-95F8F8A061C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5737611" y="3825044"/>
            <a:ext cx="807828" cy="864000"/>
            <a:chOff x="11225213" y="2628901"/>
            <a:chExt cx="479425" cy="512762"/>
          </a:xfrm>
        </p:grpSpPr>
        <p:sp>
          <p:nvSpPr>
            <p:cNvPr id="59" name="Line 20">
              <a:extLst>
                <a:ext uri="{FF2B5EF4-FFF2-40B4-BE49-F238E27FC236}">
                  <a16:creationId xmlns:a16="http://schemas.microsoft.com/office/drawing/2014/main" id="{87154A7D-CBB4-4D90-A353-545E03D1543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97E4A390-745E-4C2E-8BB6-CF183AE1D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Line 22">
              <a:extLst>
                <a:ext uri="{FF2B5EF4-FFF2-40B4-BE49-F238E27FC236}">
                  <a16:creationId xmlns:a16="http://schemas.microsoft.com/office/drawing/2014/main" id="{9A772F08-028A-4489-AF61-A22C51ED8AB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Line 23">
              <a:extLst>
                <a:ext uri="{FF2B5EF4-FFF2-40B4-BE49-F238E27FC236}">
                  <a16:creationId xmlns:a16="http://schemas.microsoft.com/office/drawing/2014/main" id="{0CB9CEBE-E33B-418A-8290-6B7225CBBC7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24">
              <a:extLst>
                <a:ext uri="{FF2B5EF4-FFF2-40B4-BE49-F238E27FC236}">
                  <a16:creationId xmlns:a16="http://schemas.microsoft.com/office/drawing/2014/main" id="{EEEA6C3D-B9B0-4B52-8BD2-17C119ACEB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Line 25">
              <a:extLst>
                <a:ext uri="{FF2B5EF4-FFF2-40B4-BE49-F238E27FC236}">
                  <a16:creationId xmlns:a16="http://schemas.microsoft.com/office/drawing/2014/main" id="{A0D975B6-6DC7-41CB-8C2C-899E9703363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2166A786-E006-452A-93E5-885CE74C67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0" name="Inhaltsplatzhalter 7">
            <a:extLst>
              <a:ext uri="{FF2B5EF4-FFF2-40B4-BE49-F238E27FC236}">
                <a16:creationId xmlns:a16="http://schemas.microsoft.com/office/drawing/2014/main" id="{E0DBEFB6-9E54-4FE6-981C-109B03C60B70}"/>
              </a:ext>
            </a:extLst>
          </p:cNvPr>
          <p:cNvSpPr txBox="1">
            <a:spLocks/>
          </p:cNvSpPr>
          <p:nvPr/>
        </p:nvSpPr>
        <p:spPr bwMode="gray">
          <a:xfrm>
            <a:off x="4799286" y="3140968"/>
            <a:ext cx="2664866" cy="432495"/>
          </a:xfrm>
          <a:prstGeom prst="rect">
            <a:avLst/>
          </a:prstGeom>
          <a:noFill/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Lorem ips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74820063"/>
      </p:ext>
    </p:extLst>
  </p:cSld>
  <p:clrMapOvr>
    <a:masterClrMapping/>
  </p:clrMapOvr>
  <p:transition spd="slow"/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iekt 50" hidden="1">
            <a:extLst>
              <a:ext uri="{FF2B5EF4-FFF2-40B4-BE49-F238E27FC236}">
                <a16:creationId xmlns:a16="http://schemas.microsoft.com/office/drawing/2014/main" id="{E45287E6-8AB3-4A2D-BB6E-B317ACB7A7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51" name="Obiekt 50" hidden="1">
                        <a:extLst>
                          <a:ext uri="{FF2B5EF4-FFF2-40B4-BE49-F238E27FC236}">
                            <a16:creationId xmlns:a16="http://schemas.microsoft.com/office/drawing/2014/main" id="{E45287E6-8AB3-4A2D-BB6E-B317ACB7A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rostokąt 17" hidden="1">
            <a:extLst>
              <a:ext uri="{FF2B5EF4-FFF2-40B4-BE49-F238E27FC236}">
                <a16:creationId xmlns:a16="http://schemas.microsoft.com/office/drawing/2014/main" id="{E51DDB73-DF54-472A-9232-610CB56F71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927CFC57-AE51-409A-8D0C-8818C487D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yramid with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6</a:t>
            </a:fld>
            <a:endParaRPr lang="en-US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0BE5F09-81DA-4CCD-8813-617A02173CBE}"/>
              </a:ext>
            </a:extLst>
          </p:cNvPr>
          <p:cNvCxnSpPr>
            <a:cxnSpLocks/>
          </p:cNvCxnSpPr>
          <p:nvPr/>
        </p:nvCxnSpPr>
        <p:spPr bwMode="gray">
          <a:xfrm>
            <a:off x="4511675" y="2636912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A97C3114-F3AC-4EBE-A55A-EB3FD736CC0F}"/>
              </a:ext>
            </a:extLst>
          </p:cNvPr>
          <p:cNvSpPr txBox="1">
            <a:spLocks/>
          </p:cNvSpPr>
          <p:nvPr/>
        </p:nvSpPr>
        <p:spPr bwMode="gray">
          <a:xfrm>
            <a:off x="4511824" y="1700808"/>
            <a:ext cx="7200000" cy="936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DB9E1D8-9FDB-4D2C-887F-13EB2B7627EC}"/>
              </a:ext>
            </a:extLst>
          </p:cNvPr>
          <p:cNvCxnSpPr>
            <a:cxnSpLocks/>
          </p:cNvCxnSpPr>
          <p:nvPr/>
        </p:nvCxnSpPr>
        <p:spPr bwMode="gray">
          <a:xfrm>
            <a:off x="4511675" y="3501008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9D36B90-955A-4B7B-9562-697F8F603F38}"/>
              </a:ext>
            </a:extLst>
          </p:cNvPr>
          <p:cNvSpPr txBox="1">
            <a:spLocks/>
          </p:cNvSpPr>
          <p:nvPr/>
        </p:nvSpPr>
        <p:spPr bwMode="gray">
          <a:xfrm>
            <a:off x="4511824" y="2636912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92E4D5A-766C-4D53-A438-FDBA5B555109}"/>
              </a:ext>
            </a:extLst>
          </p:cNvPr>
          <p:cNvCxnSpPr>
            <a:cxnSpLocks/>
          </p:cNvCxnSpPr>
          <p:nvPr/>
        </p:nvCxnSpPr>
        <p:spPr bwMode="gray">
          <a:xfrm>
            <a:off x="4511675" y="4365104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FB525538-3DF4-4DA1-A8A8-B3A7EB66DE1C}"/>
              </a:ext>
            </a:extLst>
          </p:cNvPr>
          <p:cNvSpPr txBox="1">
            <a:spLocks/>
          </p:cNvSpPr>
          <p:nvPr/>
        </p:nvSpPr>
        <p:spPr bwMode="gray">
          <a:xfrm>
            <a:off x="4511824" y="3501008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B2029BA-2A81-4279-9BEB-47AA50F9A1B7}"/>
              </a:ext>
            </a:extLst>
          </p:cNvPr>
          <p:cNvCxnSpPr>
            <a:cxnSpLocks/>
          </p:cNvCxnSpPr>
          <p:nvPr/>
        </p:nvCxnSpPr>
        <p:spPr bwMode="gray">
          <a:xfrm>
            <a:off x="4511675" y="5229200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Inhaltsplatzhalter 7">
            <a:extLst>
              <a:ext uri="{FF2B5EF4-FFF2-40B4-BE49-F238E27FC236}">
                <a16:creationId xmlns:a16="http://schemas.microsoft.com/office/drawing/2014/main" id="{797CC86F-BB60-4695-B525-5389F62D4C38}"/>
              </a:ext>
            </a:extLst>
          </p:cNvPr>
          <p:cNvSpPr txBox="1">
            <a:spLocks/>
          </p:cNvSpPr>
          <p:nvPr/>
        </p:nvSpPr>
        <p:spPr bwMode="gray">
          <a:xfrm>
            <a:off x="4511824" y="4365104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7BAC512B-F36C-455C-AB6D-7D2232A4A196}"/>
              </a:ext>
            </a:extLst>
          </p:cNvPr>
          <p:cNvSpPr txBox="1">
            <a:spLocks/>
          </p:cNvSpPr>
          <p:nvPr/>
        </p:nvSpPr>
        <p:spPr bwMode="gray">
          <a:xfrm>
            <a:off x="4511824" y="5229200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91" name="Freihandform: Form 90">
            <a:extLst>
              <a:ext uri="{FF2B5EF4-FFF2-40B4-BE49-F238E27FC236}">
                <a16:creationId xmlns:a16="http://schemas.microsoft.com/office/drawing/2014/main" id="{283B1BDC-1F93-4CB2-8A48-F5B918EFF253}"/>
              </a:ext>
            </a:extLst>
          </p:cNvPr>
          <p:cNvSpPr/>
          <p:nvPr/>
        </p:nvSpPr>
        <p:spPr bwMode="gray">
          <a:xfrm>
            <a:off x="550863" y="5229201"/>
            <a:ext cx="3313112" cy="864096"/>
          </a:xfrm>
          <a:custGeom>
            <a:avLst/>
            <a:gdLst>
              <a:gd name="connsiteX0" fmla="*/ 651291 w 3313112"/>
              <a:gd name="connsiteY0" fmla="*/ 0 h 863625"/>
              <a:gd name="connsiteX1" fmla="*/ 3313112 w 3313112"/>
              <a:gd name="connsiteY1" fmla="*/ 0 h 863625"/>
              <a:gd name="connsiteX2" fmla="*/ 3313112 w 3313112"/>
              <a:gd name="connsiteY2" fmla="*/ 863625 h 863625"/>
              <a:gd name="connsiteX3" fmla="*/ 0 w 3313112"/>
              <a:gd name="connsiteY3" fmla="*/ 863625 h 86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112" h="863625">
                <a:moveTo>
                  <a:pt x="651291" y="0"/>
                </a:moveTo>
                <a:lnTo>
                  <a:pt x="3313112" y="0"/>
                </a:lnTo>
                <a:lnTo>
                  <a:pt x="3313112" y="863625"/>
                </a:lnTo>
                <a:lnTo>
                  <a:pt x="0" y="86362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C76973DE-254F-4FCE-B2B8-574DB7E58DFF}"/>
              </a:ext>
            </a:extLst>
          </p:cNvPr>
          <p:cNvSpPr/>
          <p:nvPr/>
        </p:nvSpPr>
        <p:spPr bwMode="gray">
          <a:xfrm>
            <a:off x="1202061" y="4364981"/>
            <a:ext cx="2661915" cy="864219"/>
          </a:xfrm>
          <a:custGeom>
            <a:avLst/>
            <a:gdLst>
              <a:gd name="connsiteX0" fmla="*/ 651739 w 2661915"/>
              <a:gd name="connsiteY0" fmla="*/ 0 h 864219"/>
              <a:gd name="connsiteX1" fmla="*/ 2661915 w 2661915"/>
              <a:gd name="connsiteY1" fmla="*/ 0 h 864219"/>
              <a:gd name="connsiteX2" fmla="*/ 2661915 w 2661915"/>
              <a:gd name="connsiteY2" fmla="*/ 864219 h 864219"/>
              <a:gd name="connsiteX3" fmla="*/ 0 w 2661915"/>
              <a:gd name="connsiteY3" fmla="*/ 864219 h 86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1915" h="864219">
                <a:moveTo>
                  <a:pt x="651739" y="0"/>
                </a:moveTo>
                <a:lnTo>
                  <a:pt x="2661915" y="0"/>
                </a:lnTo>
                <a:lnTo>
                  <a:pt x="2661915" y="864219"/>
                </a:lnTo>
                <a:lnTo>
                  <a:pt x="0" y="864219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74E4165D-7F40-4FEA-9F57-7627E5C5BAB8}"/>
              </a:ext>
            </a:extLst>
          </p:cNvPr>
          <p:cNvSpPr/>
          <p:nvPr/>
        </p:nvSpPr>
        <p:spPr bwMode="gray">
          <a:xfrm>
            <a:off x="1853258" y="3500289"/>
            <a:ext cx="2010717" cy="864815"/>
          </a:xfrm>
          <a:custGeom>
            <a:avLst/>
            <a:gdLst>
              <a:gd name="connsiteX0" fmla="*/ 652189 w 2010717"/>
              <a:gd name="connsiteY0" fmla="*/ 0 h 864815"/>
              <a:gd name="connsiteX1" fmla="*/ 2010717 w 2010717"/>
              <a:gd name="connsiteY1" fmla="*/ 0 h 864815"/>
              <a:gd name="connsiteX2" fmla="*/ 2010717 w 2010717"/>
              <a:gd name="connsiteY2" fmla="*/ 864815 h 864815"/>
              <a:gd name="connsiteX3" fmla="*/ 0 w 2010717"/>
              <a:gd name="connsiteY3" fmla="*/ 864815 h 86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717" h="864815">
                <a:moveTo>
                  <a:pt x="652189" y="0"/>
                </a:moveTo>
                <a:lnTo>
                  <a:pt x="2010717" y="0"/>
                </a:lnTo>
                <a:lnTo>
                  <a:pt x="2010717" y="864815"/>
                </a:lnTo>
                <a:lnTo>
                  <a:pt x="0" y="864815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298BC2B1-5CF1-4C5A-AACF-EF5C705625E0}"/>
              </a:ext>
            </a:extLst>
          </p:cNvPr>
          <p:cNvSpPr/>
          <p:nvPr/>
        </p:nvSpPr>
        <p:spPr bwMode="gray">
          <a:xfrm>
            <a:off x="2505447" y="2636912"/>
            <a:ext cx="1358529" cy="864096"/>
          </a:xfrm>
          <a:custGeom>
            <a:avLst/>
            <a:gdLst>
              <a:gd name="connsiteX0" fmla="*/ 651646 w 1358529"/>
              <a:gd name="connsiteY0" fmla="*/ 0 h 864096"/>
              <a:gd name="connsiteX1" fmla="*/ 1358529 w 1358529"/>
              <a:gd name="connsiteY1" fmla="*/ 0 h 864096"/>
              <a:gd name="connsiteX2" fmla="*/ 1358529 w 1358529"/>
              <a:gd name="connsiteY2" fmla="*/ 864096 h 864096"/>
              <a:gd name="connsiteX3" fmla="*/ 0 w 1358529"/>
              <a:gd name="connsiteY3" fmla="*/ 864096 h 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8529" h="864096">
                <a:moveTo>
                  <a:pt x="651646" y="0"/>
                </a:moveTo>
                <a:lnTo>
                  <a:pt x="1358529" y="0"/>
                </a:lnTo>
                <a:lnTo>
                  <a:pt x="1358529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Freihandform: Form 94">
            <a:extLst>
              <a:ext uri="{FF2B5EF4-FFF2-40B4-BE49-F238E27FC236}">
                <a16:creationId xmlns:a16="http://schemas.microsoft.com/office/drawing/2014/main" id="{9106A35C-4C9D-4C69-9007-12C6976F412E}"/>
              </a:ext>
            </a:extLst>
          </p:cNvPr>
          <p:cNvSpPr/>
          <p:nvPr/>
        </p:nvSpPr>
        <p:spPr bwMode="gray">
          <a:xfrm>
            <a:off x="3157093" y="1700214"/>
            <a:ext cx="706882" cy="936698"/>
          </a:xfrm>
          <a:custGeom>
            <a:avLst/>
            <a:gdLst>
              <a:gd name="connsiteX0" fmla="*/ 706399 w 706882"/>
              <a:gd name="connsiteY0" fmla="*/ 0 h 936698"/>
              <a:gd name="connsiteX1" fmla="*/ 706882 w 706882"/>
              <a:gd name="connsiteY1" fmla="*/ 641 h 936698"/>
              <a:gd name="connsiteX2" fmla="*/ 706882 w 706882"/>
              <a:gd name="connsiteY2" fmla="*/ 936698 h 936698"/>
              <a:gd name="connsiteX3" fmla="*/ 0 w 706882"/>
              <a:gd name="connsiteY3" fmla="*/ 936698 h 93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882" h="936698">
                <a:moveTo>
                  <a:pt x="706399" y="0"/>
                </a:moveTo>
                <a:lnTo>
                  <a:pt x="706882" y="641"/>
                </a:lnTo>
                <a:lnTo>
                  <a:pt x="706882" y="936698"/>
                </a:lnTo>
                <a:lnTo>
                  <a:pt x="0" y="936698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6408966"/>
      </p:ext>
    </p:extLst>
  </p:cSld>
  <p:clrMapOvr>
    <a:masterClrMapping/>
  </p:clrMapOvr>
  <p:transition spd="slow"/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iekt 50" hidden="1">
            <a:extLst>
              <a:ext uri="{FF2B5EF4-FFF2-40B4-BE49-F238E27FC236}">
                <a16:creationId xmlns:a16="http://schemas.microsoft.com/office/drawing/2014/main" id="{E45287E6-8AB3-4A2D-BB6E-B317ACB7A7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0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51" name="Obiekt 50" hidden="1">
                        <a:extLst>
                          <a:ext uri="{FF2B5EF4-FFF2-40B4-BE49-F238E27FC236}">
                            <a16:creationId xmlns:a16="http://schemas.microsoft.com/office/drawing/2014/main" id="{E45287E6-8AB3-4A2D-BB6E-B317ACB7A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rostokąt 17" hidden="1">
            <a:extLst>
              <a:ext uri="{FF2B5EF4-FFF2-40B4-BE49-F238E27FC236}">
                <a16:creationId xmlns:a16="http://schemas.microsoft.com/office/drawing/2014/main" id="{E51DDB73-DF54-472A-9232-610CB56F71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927CFC57-AE51-409A-8D0C-8818C487D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yramid with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7</a:t>
            </a:fld>
            <a:endParaRPr lang="en-US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0BE5F09-81DA-4CCD-8813-617A02173CBE}"/>
              </a:ext>
            </a:extLst>
          </p:cNvPr>
          <p:cNvCxnSpPr>
            <a:cxnSpLocks/>
          </p:cNvCxnSpPr>
          <p:nvPr/>
        </p:nvCxnSpPr>
        <p:spPr bwMode="gray">
          <a:xfrm>
            <a:off x="4511675" y="2636912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A97C3114-F3AC-4EBE-A55A-EB3FD736CC0F}"/>
              </a:ext>
            </a:extLst>
          </p:cNvPr>
          <p:cNvSpPr txBox="1">
            <a:spLocks/>
          </p:cNvSpPr>
          <p:nvPr/>
        </p:nvSpPr>
        <p:spPr bwMode="gray">
          <a:xfrm>
            <a:off x="4511824" y="1700808"/>
            <a:ext cx="7200000" cy="936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DB9E1D8-9FDB-4D2C-887F-13EB2B7627EC}"/>
              </a:ext>
            </a:extLst>
          </p:cNvPr>
          <p:cNvCxnSpPr>
            <a:cxnSpLocks/>
          </p:cNvCxnSpPr>
          <p:nvPr/>
        </p:nvCxnSpPr>
        <p:spPr bwMode="gray">
          <a:xfrm>
            <a:off x="4511675" y="3501008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9D36B90-955A-4B7B-9562-697F8F603F38}"/>
              </a:ext>
            </a:extLst>
          </p:cNvPr>
          <p:cNvSpPr txBox="1">
            <a:spLocks/>
          </p:cNvSpPr>
          <p:nvPr/>
        </p:nvSpPr>
        <p:spPr bwMode="gray">
          <a:xfrm>
            <a:off x="4511824" y="2636912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92E4D5A-766C-4D53-A438-FDBA5B555109}"/>
              </a:ext>
            </a:extLst>
          </p:cNvPr>
          <p:cNvCxnSpPr>
            <a:cxnSpLocks/>
          </p:cNvCxnSpPr>
          <p:nvPr/>
        </p:nvCxnSpPr>
        <p:spPr bwMode="gray">
          <a:xfrm>
            <a:off x="4511675" y="4365104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FB525538-3DF4-4DA1-A8A8-B3A7EB66DE1C}"/>
              </a:ext>
            </a:extLst>
          </p:cNvPr>
          <p:cNvSpPr txBox="1">
            <a:spLocks/>
          </p:cNvSpPr>
          <p:nvPr/>
        </p:nvSpPr>
        <p:spPr bwMode="gray">
          <a:xfrm>
            <a:off x="4511824" y="3501008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B2029BA-2A81-4279-9BEB-47AA50F9A1B7}"/>
              </a:ext>
            </a:extLst>
          </p:cNvPr>
          <p:cNvCxnSpPr>
            <a:cxnSpLocks/>
          </p:cNvCxnSpPr>
          <p:nvPr/>
        </p:nvCxnSpPr>
        <p:spPr bwMode="gray">
          <a:xfrm>
            <a:off x="4511675" y="5229200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Inhaltsplatzhalter 7">
            <a:extLst>
              <a:ext uri="{FF2B5EF4-FFF2-40B4-BE49-F238E27FC236}">
                <a16:creationId xmlns:a16="http://schemas.microsoft.com/office/drawing/2014/main" id="{797CC86F-BB60-4695-B525-5389F62D4C38}"/>
              </a:ext>
            </a:extLst>
          </p:cNvPr>
          <p:cNvSpPr txBox="1">
            <a:spLocks/>
          </p:cNvSpPr>
          <p:nvPr/>
        </p:nvSpPr>
        <p:spPr bwMode="gray">
          <a:xfrm>
            <a:off x="4511824" y="4365104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7BAC512B-F36C-455C-AB6D-7D2232A4A196}"/>
              </a:ext>
            </a:extLst>
          </p:cNvPr>
          <p:cNvSpPr txBox="1">
            <a:spLocks/>
          </p:cNvSpPr>
          <p:nvPr/>
        </p:nvSpPr>
        <p:spPr bwMode="gray">
          <a:xfrm>
            <a:off x="4511824" y="5229200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91" name="Freihandform: Form 90">
            <a:extLst>
              <a:ext uri="{FF2B5EF4-FFF2-40B4-BE49-F238E27FC236}">
                <a16:creationId xmlns:a16="http://schemas.microsoft.com/office/drawing/2014/main" id="{283B1BDC-1F93-4CB2-8A48-F5B918EFF253}"/>
              </a:ext>
            </a:extLst>
          </p:cNvPr>
          <p:cNvSpPr/>
          <p:nvPr/>
        </p:nvSpPr>
        <p:spPr bwMode="gray">
          <a:xfrm>
            <a:off x="550863" y="5229201"/>
            <a:ext cx="3313112" cy="864096"/>
          </a:xfrm>
          <a:custGeom>
            <a:avLst/>
            <a:gdLst>
              <a:gd name="connsiteX0" fmla="*/ 651291 w 3313112"/>
              <a:gd name="connsiteY0" fmla="*/ 0 h 863625"/>
              <a:gd name="connsiteX1" fmla="*/ 3313112 w 3313112"/>
              <a:gd name="connsiteY1" fmla="*/ 0 h 863625"/>
              <a:gd name="connsiteX2" fmla="*/ 3313112 w 3313112"/>
              <a:gd name="connsiteY2" fmla="*/ 863625 h 863625"/>
              <a:gd name="connsiteX3" fmla="*/ 0 w 3313112"/>
              <a:gd name="connsiteY3" fmla="*/ 863625 h 86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112" h="863625">
                <a:moveTo>
                  <a:pt x="651291" y="0"/>
                </a:moveTo>
                <a:lnTo>
                  <a:pt x="3313112" y="0"/>
                </a:lnTo>
                <a:lnTo>
                  <a:pt x="3313112" y="863625"/>
                </a:lnTo>
                <a:lnTo>
                  <a:pt x="0" y="863625"/>
                </a:lnTo>
                <a:close/>
              </a:path>
            </a:pathLst>
          </a:custGeom>
          <a:solidFill>
            <a:srgbClr val="E3485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C76973DE-254F-4FCE-B2B8-574DB7E58DFF}"/>
              </a:ext>
            </a:extLst>
          </p:cNvPr>
          <p:cNvSpPr/>
          <p:nvPr/>
        </p:nvSpPr>
        <p:spPr bwMode="gray">
          <a:xfrm>
            <a:off x="1202061" y="4364981"/>
            <a:ext cx="2661915" cy="864219"/>
          </a:xfrm>
          <a:custGeom>
            <a:avLst/>
            <a:gdLst>
              <a:gd name="connsiteX0" fmla="*/ 651739 w 2661915"/>
              <a:gd name="connsiteY0" fmla="*/ 0 h 864219"/>
              <a:gd name="connsiteX1" fmla="*/ 2661915 w 2661915"/>
              <a:gd name="connsiteY1" fmla="*/ 0 h 864219"/>
              <a:gd name="connsiteX2" fmla="*/ 2661915 w 2661915"/>
              <a:gd name="connsiteY2" fmla="*/ 864219 h 864219"/>
              <a:gd name="connsiteX3" fmla="*/ 0 w 2661915"/>
              <a:gd name="connsiteY3" fmla="*/ 864219 h 86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1915" h="864219">
                <a:moveTo>
                  <a:pt x="651739" y="0"/>
                </a:moveTo>
                <a:lnTo>
                  <a:pt x="2661915" y="0"/>
                </a:lnTo>
                <a:lnTo>
                  <a:pt x="2661915" y="864219"/>
                </a:lnTo>
                <a:lnTo>
                  <a:pt x="0" y="864219"/>
                </a:lnTo>
                <a:close/>
              </a:path>
            </a:pathLst>
          </a:custGeom>
          <a:solidFill>
            <a:srgbClr val="2EA6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74E4165D-7F40-4FEA-9F57-7627E5C5BAB8}"/>
              </a:ext>
            </a:extLst>
          </p:cNvPr>
          <p:cNvSpPr/>
          <p:nvPr/>
        </p:nvSpPr>
        <p:spPr bwMode="gray">
          <a:xfrm>
            <a:off x="1853258" y="3500289"/>
            <a:ext cx="2010717" cy="864815"/>
          </a:xfrm>
          <a:custGeom>
            <a:avLst/>
            <a:gdLst>
              <a:gd name="connsiteX0" fmla="*/ 652189 w 2010717"/>
              <a:gd name="connsiteY0" fmla="*/ 0 h 864815"/>
              <a:gd name="connsiteX1" fmla="*/ 2010717 w 2010717"/>
              <a:gd name="connsiteY1" fmla="*/ 0 h 864815"/>
              <a:gd name="connsiteX2" fmla="*/ 2010717 w 2010717"/>
              <a:gd name="connsiteY2" fmla="*/ 864815 h 864815"/>
              <a:gd name="connsiteX3" fmla="*/ 0 w 2010717"/>
              <a:gd name="connsiteY3" fmla="*/ 864815 h 86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717" h="864815">
                <a:moveTo>
                  <a:pt x="652189" y="0"/>
                </a:moveTo>
                <a:lnTo>
                  <a:pt x="2010717" y="0"/>
                </a:lnTo>
                <a:lnTo>
                  <a:pt x="2010717" y="864815"/>
                </a:lnTo>
                <a:lnTo>
                  <a:pt x="0" y="864815"/>
                </a:lnTo>
                <a:close/>
              </a:path>
            </a:pathLst>
          </a:custGeom>
          <a:solidFill>
            <a:srgbClr val="AA8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298BC2B1-5CF1-4C5A-AACF-EF5C705625E0}"/>
              </a:ext>
            </a:extLst>
          </p:cNvPr>
          <p:cNvSpPr/>
          <p:nvPr/>
        </p:nvSpPr>
        <p:spPr bwMode="gray">
          <a:xfrm>
            <a:off x="2505447" y="2636912"/>
            <a:ext cx="1358529" cy="864096"/>
          </a:xfrm>
          <a:custGeom>
            <a:avLst/>
            <a:gdLst>
              <a:gd name="connsiteX0" fmla="*/ 651646 w 1358529"/>
              <a:gd name="connsiteY0" fmla="*/ 0 h 864096"/>
              <a:gd name="connsiteX1" fmla="*/ 1358529 w 1358529"/>
              <a:gd name="connsiteY1" fmla="*/ 0 h 864096"/>
              <a:gd name="connsiteX2" fmla="*/ 1358529 w 1358529"/>
              <a:gd name="connsiteY2" fmla="*/ 864096 h 864096"/>
              <a:gd name="connsiteX3" fmla="*/ 0 w 1358529"/>
              <a:gd name="connsiteY3" fmla="*/ 864096 h 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8529" h="864096">
                <a:moveTo>
                  <a:pt x="651646" y="0"/>
                </a:moveTo>
                <a:lnTo>
                  <a:pt x="1358529" y="0"/>
                </a:lnTo>
                <a:lnTo>
                  <a:pt x="1358529" y="864096"/>
                </a:lnTo>
                <a:lnTo>
                  <a:pt x="0" y="864096"/>
                </a:lnTo>
                <a:close/>
              </a:path>
            </a:pathLst>
          </a:custGeom>
          <a:solidFill>
            <a:srgbClr val="5789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Freihandform: Form 94">
            <a:extLst>
              <a:ext uri="{FF2B5EF4-FFF2-40B4-BE49-F238E27FC236}">
                <a16:creationId xmlns:a16="http://schemas.microsoft.com/office/drawing/2014/main" id="{9106A35C-4C9D-4C69-9007-12C6976F412E}"/>
              </a:ext>
            </a:extLst>
          </p:cNvPr>
          <p:cNvSpPr/>
          <p:nvPr/>
        </p:nvSpPr>
        <p:spPr bwMode="gray">
          <a:xfrm>
            <a:off x="3157093" y="1700214"/>
            <a:ext cx="706882" cy="936698"/>
          </a:xfrm>
          <a:custGeom>
            <a:avLst/>
            <a:gdLst>
              <a:gd name="connsiteX0" fmla="*/ 706399 w 706882"/>
              <a:gd name="connsiteY0" fmla="*/ 0 h 936698"/>
              <a:gd name="connsiteX1" fmla="*/ 706882 w 706882"/>
              <a:gd name="connsiteY1" fmla="*/ 641 h 936698"/>
              <a:gd name="connsiteX2" fmla="*/ 706882 w 706882"/>
              <a:gd name="connsiteY2" fmla="*/ 936698 h 936698"/>
              <a:gd name="connsiteX3" fmla="*/ 0 w 706882"/>
              <a:gd name="connsiteY3" fmla="*/ 936698 h 93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882" h="936698">
                <a:moveTo>
                  <a:pt x="706399" y="0"/>
                </a:moveTo>
                <a:lnTo>
                  <a:pt x="706882" y="641"/>
                </a:lnTo>
                <a:lnTo>
                  <a:pt x="706882" y="936698"/>
                </a:lnTo>
                <a:lnTo>
                  <a:pt x="0" y="936698"/>
                </a:lnTo>
                <a:close/>
              </a:path>
            </a:pathLst>
          </a:custGeom>
          <a:solidFill>
            <a:srgbClr val="EB6F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7050481"/>
      </p:ext>
    </p:extLst>
  </p:cSld>
  <p:clrMapOvr>
    <a:masterClrMapping/>
  </p:clrMapOvr>
  <p:transition spd="slow"/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8812EDC8-C12B-40DF-800D-4FF5A6CE6E33}"/>
              </a:ext>
            </a:extLst>
          </p:cNvPr>
          <p:cNvSpPr/>
          <p:nvPr/>
        </p:nvSpPr>
        <p:spPr bwMode="gray">
          <a:xfrm>
            <a:off x="2208000" y="2421000"/>
            <a:ext cx="3924004" cy="216000"/>
          </a:xfrm>
          <a:custGeom>
            <a:avLst/>
            <a:gdLst>
              <a:gd name="connsiteX0" fmla="*/ 0 w 2476500"/>
              <a:gd name="connsiteY0" fmla="*/ 251460 h 251460"/>
              <a:gd name="connsiteX1" fmla="*/ 0 w 2476500"/>
              <a:gd name="connsiteY1" fmla="*/ 129540 h 251460"/>
              <a:gd name="connsiteX2" fmla="*/ 2476500 w 2476500"/>
              <a:gd name="connsiteY2" fmla="*/ 129540 h 251460"/>
              <a:gd name="connsiteX3" fmla="*/ 2476500 w 2476500"/>
              <a:gd name="connsiteY3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0" h="251460">
                <a:moveTo>
                  <a:pt x="0" y="251460"/>
                </a:moveTo>
                <a:lnTo>
                  <a:pt x="0" y="129540"/>
                </a:lnTo>
                <a:lnTo>
                  <a:pt x="2476500" y="129540"/>
                </a:lnTo>
                <a:lnTo>
                  <a:pt x="24765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AE04D81E-BB2E-4E5A-89E2-3E252E4B2625}"/>
              </a:ext>
            </a:extLst>
          </p:cNvPr>
          <p:cNvSpPr/>
          <p:nvPr/>
        </p:nvSpPr>
        <p:spPr bwMode="gray">
          <a:xfrm flipH="1">
            <a:off x="6132004" y="2421000"/>
            <a:ext cx="3924000" cy="216000"/>
          </a:xfrm>
          <a:custGeom>
            <a:avLst/>
            <a:gdLst>
              <a:gd name="connsiteX0" fmla="*/ 0 w 2476500"/>
              <a:gd name="connsiteY0" fmla="*/ 251460 h 251460"/>
              <a:gd name="connsiteX1" fmla="*/ 0 w 2476500"/>
              <a:gd name="connsiteY1" fmla="*/ 129540 h 251460"/>
              <a:gd name="connsiteX2" fmla="*/ 2476500 w 2476500"/>
              <a:gd name="connsiteY2" fmla="*/ 129540 h 251460"/>
              <a:gd name="connsiteX3" fmla="*/ 2476500 w 2476500"/>
              <a:gd name="connsiteY3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0" h="251460">
                <a:moveTo>
                  <a:pt x="0" y="251460"/>
                </a:moveTo>
                <a:lnTo>
                  <a:pt x="0" y="129540"/>
                </a:lnTo>
                <a:lnTo>
                  <a:pt x="2476500" y="129540"/>
                </a:lnTo>
                <a:lnTo>
                  <a:pt x="24765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490EEEE-ECF4-4E75-BAA0-6376065AA8C3}"/>
              </a:ext>
            </a:extLst>
          </p:cNvPr>
          <p:cNvCxnSpPr>
            <a:cxnSpLocks/>
          </p:cNvCxnSpPr>
          <p:nvPr/>
        </p:nvCxnSpPr>
        <p:spPr bwMode="gray">
          <a:xfrm>
            <a:off x="6131719" y="2421000"/>
            <a:ext cx="0" cy="216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8FB1C3F-1B2B-4FC2-9F77-0FECBF9F84B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ytuł 8">
            <a:extLst>
              <a:ext uri="{FF2B5EF4-FFF2-40B4-BE49-F238E27FC236}">
                <a16:creationId xmlns:a16="http://schemas.microsoft.com/office/drawing/2014/main" id="{A6AC15A9-3C59-451B-9637-4D63F9F2AB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84B8F0D-D740-4607-BA07-E03230EFB9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AC1916-F19C-4B24-A285-DAD4CF960AE7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984352" y="6550324"/>
            <a:ext cx="792000" cy="144000"/>
          </a:xfrm>
        </p:spPr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B3B8639-8E6C-456A-8382-330BD8926F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884396" y="6550324"/>
            <a:ext cx="7704000" cy="144000"/>
          </a:xfrm>
        </p:spPr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771541DE-FC0B-4939-B325-B3DC9FF3FF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551864" y="6550324"/>
            <a:ext cx="288000" cy="144000"/>
          </a:xfrm>
        </p:spPr>
        <p:txBody>
          <a:bodyPr/>
          <a:lstStyle/>
          <a:p>
            <a:fld id="{8FF9B0DE-3FEB-4AA0-B465-B80EF7C1333D}" type="slidenum">
              <a:rPr lang="en-US" smtClean="0"/>
              <a:pPr/>
              <a:t>108</a:t>
            </a:fld>
            <a:endParaRPr lang="en-US" dirty="0"/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9A0B2A89-66FC-47E1-A236-F22228694F42}"/>
              </a:ext>
            </a:extLst>
          </p:cNvPr>
          <p:cNvGrpSpPr/>
          <p:nvPr/>
        </p:nvGrpSpPr>
        <p:grpSpPr bwMode="gray">
          <a:xfrm>
            <a:off x="552000" y="5301000"/>
            <a:ext cx="576000" cy="720000"/>
            <a:chOff x="552000" y="5301000"/>
            <a:chExt cx="576000" cy="720000"/>
          </a:xfrm>
        </p:grpSpPr>
        <p:sp>
          <p:nvSpPr>
            <p:cNvPr id="62" name="Inhaltsplatzhalter 7">
              <a:extLst>
                <a:ext uri="{FF2B5EF4-FFF2-40B4-BE49-F238E27FC236}">
                  <a16:creationId xmlns:a16="http://schemas.microsoft.com/office/drawing/2014/main" id="{8C5DEDBB-8517-4A1C-B4A5-D8718F70CF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104EBBE7-2B9B-4393-88BC-A93D95D91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F88CB6B-BD67-4515-8091-BCA694AF9D19}"/>
              </a:ext>
            </a:extLst>
          </p:cNvPr>
          <p:cNvGrpSpPr/>
          <p:nvPr/>
        </p:nvGrpSpPr>
        <p:grpSpPr bwMode="gray">
          <a:xfrm>
            <a:off x="552000" y="4437000"/>
            <a:ext cx="576000" cy="720000"/>
            <a:chOff x="552000" y="4437000"/>
            <a:chExt cx="576000" cy="720000"/>
          </a:xfrm>
        </p:grpSpPr>
        <p:sp>
          <p:nvSpPr>
            <p:cNvPr id="65" name="Inhaltsplatzhalter 7">
              <a:extLst>
                <a:ext uri="{FF2B5EF4-FFF2-40B4-BE49-F238E27FC236}">
                  <a16:creationId xmlns:a16="http://schemas.microsoft.com/office/drawing/2014/main" id="{48DB48FC-1976-4477-A8F9-C2364EF8C3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68" name="Grafik 67">
              <a:extLst>
                <a:ext uri="{FF2B5EF4-FFF2-40B4-BE49-F238E27FC236}">
                  <a16:creationId xmlns:a16="http://schemas.microsoft.com/office/drawing/2014/main" id="{34099F5F-F321-4C20-937E-488281D8F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C7C2A303-6586-458D-824B-C387189BAF6F}"/>
              </a:ext>
            </a:extLst>
          </p:cNvPr>
          <p:cNvGrpSpPr/>
          <p:nvPr/>
        </p:nvGrpSpPr>
        <p:grpSpPr bwMode="gray">
          <a:xfrm>
            <a:off x="552000" y="3573000"/>
            <a:ext cx="576000" cy="720000"/>
            <a:chOff x="552000" y="3573000"/>
            <a:chExt cx="576000" cy="720000"/>
          </a:xfrm>
        </p:grpSpPr>
        <p:sp>
          <p:nvSpPr>
            <p:cNvPr id="83" name="Inhaltsplatzhalter 7">
              <a:extLst>
                <a:ext uri="{FF2B5EF4-FFF2-40B4-BE49-F238E27FC236}">
                  <a16:creationId xmlns:a16="http://schemas.microsoft.com/office/drawing/2014/main" id="{D9C7CEAF-A419-4FE3-ACE6-1AA6F00784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62F8F213-BE80-4422-8E2F-9170E20BA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85" name="Inhaltsplatzhalter 7">
            <a:extLst>
              <a:ext uri="{FF2B5EF4-FFF2-40B4-BE49-F238E27FC236}">
                <a16:creationId xmlns:a16="http://schemas.microsoft.com/office/drawing/2014/main" id="{B5D08BFC-0395-4B37-98BE-4EC98F1EF39C}"/>
              </a:ext>
            </a:extLst>
          </p:cNvPr>
          <p:cNvSpPr txBox="1">
            <a:spLocks/>
          </p:cNvSpPr>
          <p:nvPr/>
        </p:nvSpPr>
        <p:spPr bwMode="gray">
          <a:xfrm>
            <a:off x="5088000" y="1700808"/>
            <a:ext cx="2664000" cy="72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42B4E434-C514-4949-9695-E624A3D036D3}"/>
              </a:ext>
            </a:extLst>
          </p:cNvPr>
          <p:cNvGrpSpPr/>
          <p:nvPr/>
        </p:nvGrpSpPr>
        <p:grpSpPr bwMode="gray">
          <a:xfrm>
            <a:off x="4511675" y="1700808"/>
            <a:ext cx="576000" cy="720000"/>
            <a:chOff x="4511675" y="1700808"/>
            <a:chExt cx="576000" cy="720000"/>
          </a:xfrm>
        </p:grpSpPr>
        <p:sp>
          <p:nvSpPr>
            <p:cNvPr id="87" name="Inhaltsplatzhalter 7">
              <a:extLst>
                <a:ext uri="{FF2B5EF4-FFF2-40B4-BE49-F238E27FC236}">
                  <a16:creationId xmlns:a16="http://schemas.microsoft.com/office/drawing/2014/main" id="{7FCD6C60-68D4-4F8D-9873-BB72E0A875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11675" y="1700808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2397AB33-974E-470E-8F87-C141F8357D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75133" y="1772808"/>
              <a:ext cx="449084" cy="576000"/>
            </a:xfrm>
            <a:prstGeom prst="rect">
              <a:avLst/>
            </a:prstGeom>
          </p:spPr>
        </p:pic>
      </p:grpSp>
      <p:sp>
        <p:nvSpPr>
          <p:cNvPr id="89" name="Inhaltsplatzhalter 7">
            <a:extLst>
              <a:ext uri="{FF2B5EF4-FFF2-40B4-BE49-F238E27FC236}">
                <a16:creationId xmlns:a16="http://schemas.microsoft.com/office/drawing/2014/main" id="{E95D8DFC-A305-4953-88D9-B34E7AFE01DB}"/>
              </a:ext>
            </a:extLst>
          </p:cNvPr>
          <p:cNvSpPr txBox="1">
            <a:spLocks/>
          </p:cNvSpPr>
          <p:nvPr/>
        </p:nvSpPr>
        <p:spPr bwMode="gray">
          <a:xfrm>
            <a:off x="1128000" y="2637000"/>
            <a:ext cx="2735975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sp>
        <p:nvSpPr>
          <p:cNvPr id="91" name="Inhaltsplatzhalter 7">
            <a:extLst>
              <a:ext uri="{FF2B5EF4-FFF2-40B4-BE49-F238E27FC236}">
                <a16:creationId xmlns:a16="http://schemas.microsoft.com/office/drawing/2014/main" id="{ABB87E55-C90D-4EDD-A414-3F9357A3D269}"/>
              </a:ext>
            </a:extLst>
          </p:cNvPr>
          <p:cNvSpPr txBox="1">
            <a:spLocks/>
          </p:cNvSpPr>
          <p:nvPr/>
        </p:nvSpPr>
        <p:spPr bwMode="gray">
          <a:xfrm>
            <a:off x="552000" y="2637000"/>
            <a:ext cx="576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pic>
        <p:nvPicPr>
          <p:cNvPr id="92" name="Grafik 91">
            <a:extLst>
              <a:ext uri="{FF2B5EF4-FFF2-40B4-BE49-F238E27FC236}">
                <a16:creationId xmlns:a16="http://schemas.microsoft.com/office/drawing/2014/main" id="{4266ED93-70A0-43FE-B6C7-4E64959F681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E5E8ED"/>
              </a:clrFrom>
              <a:clrTo>
                <a:srgbClr val="E5E8ED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5458" y="2709000"/>
            <a:ext cx="449084" cy="576000"/>
          </a:xfrm>
          <a:prstGeom prst="rect">
            <a:avLst/>
          </a:prstGeom>
        </p:spPr>
      </p:pic>
      <p:sp>
        <p:nvSpPr>
          <p:cNvPr id="125" name="Inhaltsplatzhalter 7">
            <a:extLst>
              <a:ext uri="{FF2B5EF4-FFF2-40B4-BE49-F238E27FC236}">
                <a16:creationId xmlns:a16="http://schemas.microsoft.com/office/drawing/2014/main" id="{B372E2CD-DC1F-4B3A-91FA-817A3790C0EE}"/>
              </a:ext>
            </a:extLst>
          </p:cNvPr>
          <p:cNvSpPr txBox="1">
            <a:spLocks/>
          </p:cNvSpPr>
          <p:nvPr/>
        </p:nvSpPr>
        <p:spPr bwMode="gray">
          <a:xfrm>
            <a:off x="8976624" y="2637000"/>
            <a:ext cx="2736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853119F2-233C-46C0-A079-B3354436FCD8}"/>
              </a:ext>
            </a:extLst>
          </p:cNvPr>
          <p:cNvGrpSpPr/>
          <p:nvPr/>
        </p:nvGrpSpPr>
        <p:grpSpPr bwMode="gray">
          <a:xfrm>
            <a:off x="8399998" y="2637000"/>
            <a:ext cx="576000" cy="720000"/>
            <a:chOff x="6455675" y="2637000"/>
            <a:chExt cx="576000" cy="720000"/>
          </a:xfrm>
        </p:grpSpPr>
        <p:sp>
          <p:nvSpPr>
            <p:cNvPr id="127" name="Inhaltsplatzhalter 7">
              <a:extLst>
                <a:ext uri="{FF2B5EF4-FFF2-40B4-BE49-F238E27FC236}">
                  <a16:creationId xmlns:a16="http://schemas.microsoft.com/office/drawing/2014/main" id="{D1FF2122-8724-4DF9-99CD-93CBD881E9F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55675" y="26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28" name="Grafik 127">
              <a:extLst>
                <a:ext uri="{FF2B5EF4-FFF2-40B4-BE49-F238E27FC236}">
                  <a16:creationId xmlns:a16="http://schemas.microsoft.com/office/drawing/2014/main" id="{6EB11372-DAB3-457C-8C5D-9424491BE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19133" y="2709000"/>
              <a:ext cx="449084" cy="576000"/>
            </a:xfrm>
            <a:prstGeom prst="rect">
              <a:avLst/>
            </a:prstGeom>
          </p:spPr>
        </p:pic>
      </p:grpSp>
      <p:sp>
        <p:nvSpPr>
          <p:cNvPr id="129" name="Inhaltsplatzhalter 7">
            <a:extLst>
              <a:ext uri="{FF2B5EF4-FFF2-40B4-BE49-F238E27FC236}">
                <a16:creationId xmlns:a16="http://schemas.microsoft.com/office/drawing/2014/main" id="{80AC957C-0BB3-4A71-8513-34A69DA6385C}"/>
              </a:ext>
            </a:extLst>
          </p:cNvPr>
          <p:cNvSpPr txBox="1">
            <a:spLocks/>
          </p:cNvSpPr>
          <p:nvPr/>
        </p:nvSpPr>
        <p:spPr bwMode="gray">
          <a:xfrm>
            <a:off x="1345239" y="35728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C2981B69-C517-4DB3-A371-C7C0C752507B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Inhaltsplatzhalter 7">
            <a:extLst>
              <a:ext uri="{FF2B5EF4-FFF2-40B4-BE49-F238E27FC236}">
                <a16:creationId xmlns:a16="http://schemas.microsoft.com/office/drawing/2014/main" id="{845D2FF1-3606-42DD-8709-C61634D1184B}"/>
              </a:ext>
            </a:extLst>
          </p:cNvPr>
          <p:cNvSpPr txBox="1">
            <a:spLocks/>
          </p:cNvSpPr>
          <p:nvPr/>
        </p:nvSpPr>
        <p:spPr bwMode="gray">
          <a:xfrm>
            <a:off x="1343999" y="4437672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E8CE7995-EE0A-4F2E-A88C-ED15AD2CDA33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Inhaltsplatzhalter 7">
            <a:extLst>
              <a:ext uri="{FF2B5EF4-FFF2-40B4-BE49-F238E27FC236}">
                <a16:creationId xmlns:a16="http://schemas.microsoft.com/office/drawing/2014/main" id="{CE4F4808-602B-4FBC-893A-17F513FDB257}"/>
              </a:ext>
            </a:extLst>
          </p:cNvPr>
          <p:cNvSpPr txBox="1">
            <a:spLocks/>
          </p:cNvSpPr>
          <p:nvPr/>
        </p:nvSpPr>
        <p:spPr bwMode="gray">
          <a:xfrm>
            <a:off x="1343999" y="53010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39" name="Gerader Verbinder 138">
            <a:extLst>
              <a:ext uri="{FF2B5EF4-FFF2-40B4-BE49-F238E27FC236}">
                <a16:creationId xmlns:a16="http://schemas.microsoft.com/office/drawing/2014/main" id="{380A5CB7-EB23-489F-AE6D-0212B19B37D7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Inhaltsplatzhalter 7">
            <a:extLst>
              <a:ext uri="{FF2B5EF4-FFF2-40B4-BE49-F238E27FC236}">
                <a16:creationId xmlns:a16="http://schemas.microsoft.com/office/drawing/2014/main" id="{89907A11-BBAF-438E-8C54-61BE86B4A83E}"/>
              </a:ext>
            </a:extLst>
          </p:cNvPr>
          <p:cNvSpPr txBox="1">
            <a:spLocks/>
          </p:cNvSpPr>
          <p:nvPr/>
        </p:nvSpPr>
        <p:spPr bwMode="gray">
          <a:xfrm>
            <a:off x="5304615" y="3572904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42" name="Gerader Verbinder 141">
            <a:extLst>
              <a:ext uri="{FF2B5EF4-FFF2-40B4-BE49-F238E27FC236}">
                <a16:creationId xmlns:a16="http://schemas.microsoft.com/office/drawing/2014/main" id="{02BCBA85-5B2B-4C64-9597-3A60C005B403}"/>
              </a:ext>
            </a:extLst>
          </p:cNvPr>
          <p:cNvCxnSpPr>
            <a:cxnSpLocks/>
          </p:cNvCxnSpPr>
          <p:nvPr/>
        </p:nvCxnSpPr>
        <p:spPr bwMode="gray">
          <a:xfrm>
            <a:off x="4512000" y="3501104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Inhaltsplatzhalter 7">
            <a:extLst>
              <a:ext uri="{FF2B5EF4-FFF2-40B4-BE49-F238E27FC236}">
                <a16:creationId xmlns:a16="http://schemas.microsoft.com/office/drawing/2014/main" id="{2E7E706A-8378-4A70-B280-8162D15F97C4}"/>
              </a:ext>
            </a:extLst>
          </p:cNvPr>
          <p:cNvSpPr txBox="1">
            <a:spLocks/>
          </p:cNvSpPr>
          <p:nvPr/>
        </p:nvSpPr>
        <p:spPr bwMode="gray">
          <a:xfrm>
            <a:off x="5304615" y="4437672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10E8A27D-72B0-4F59-829B-9F974147FB91}"/>
              </a:ext>
            </a:extLst>
          </p:cNvPr>
          <p:cNvCxnSpPr>
            <a:cxnSpLocks/>
          </p:cNvCxnSpPr>
          <p:nvPr/>
        </p:nvCxnSpPr>
        <p:spPr bwMode="gray">
          <a:xfrm>
            <a:off x="4512000" y="4365872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Inhaltsplatzhalter 7">
            <a:extLst>
              <a:ext uri="{FF2B5EF4-FFF2-40B4-BE49-F238E27FC236}">
                <a16:creationId xmlns:a16="http://schemas.microsoft.com/office/drawing/2014/main" id="{AD1B0B3C-C4F0-410A-B4B0-4174DB5DE09D}"/>
              </a:ext>
            </a:extLst>
          </p:cNvPr>
          <p:cNvSpPr txBox="1">
            <a:spLocks/>
          </p:cNvSpPr>
          <p:nvPr/>
        </p:nvSpPr>
        <p:spPr bwMode="gray">
          <a:xfrm>
            <a:off x="5304615" y="5301000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66C05C51-5216-48EC-B513-1929559D166A}"/>
              </a:ext>
            </a:extLst>
          </p:cNvPr>
          <p:cNvCxnSpPr>
            <a:cxnSpLocks/>
          </p:cNvCxnSpPr>
          <p:nvPr/>
        </p:nvCxnSpPr>
        <p:spPr bwMode="gray">
          <a:xfrm>
            <a:off x="4512000" y="5229200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Inhaltsplatzhalter 7">
            <a:extLst>
              <a:ext uri="{FF2B5EF4-FFF2-40B4-BE49-F238E27FC236}">
                <a16:creationId xmlns:a16="http://schemas.microsoft.com/office/drawing/2014/main" id="{ED491642-73D6-465B-80B2-904C83D4E210}"/>
              </a:ext>
            </a:extLst>
          </p:cNvPr>
          <p:cNvSpPr txBox="1">
            <a:spLocks/>
          </p:cNvSpPr>
          <p:nvPr/>
        </p:nvSpPr>
        <p:spPr bwMode="gray">
          <a:xfrm>
            <a:off x="9193239" y="3572904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DFD03133-F8D3-4B0B-96E8-1CD35EBAC118}"/>
              </a:ext>
            </a:extLst>
          </p:cNvPr>
          <p:cNvCxnSpPr>
            <a:cxnSpLocks/>
          </p:cNvCxnSpPr>
          <p:nvPr/>
        </p:nvCxnSpPr>
        <p:spPr bwMode="gray">
          <a:xfrm>
            <a:off x="8400624" y="3501104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Inhaltsplatzhalter 7">
            <a:extLst>
              <a:ext uri="{FF2B5EF4-FFF2-40B4-BE49-F238E27FC236}">
                <a16:creationId xmlns:a16="http://schemas.microsoft.com/office/drawing/2014/main" id="{91A9FD5C-6BE7-4845-9F5B-DE94CCABDF8C}"/>
              </a:ext>
            </a:extLst>
          </p:cNvPr>
          <p:cNvSpPr txBox="1">
            <a:spLocks/>
          </p:cNvSpPr>
          <p:nvPr/>
        </p:nvSpPr>
        <p:spPr bwMode="gray">
          <a:xfrm>
            <a:off x="9193239" y="4437672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E0F97DC5-938D-4D1C-9F59-110F675660D7}"/>
              </a:ext>
            </a:extLst>
          </p:cNvPr>
          <p:cNvCxnSpPr>
            <a:cxnSpLocks/>
          </p:cNvCxnSpPr>
          <p:nvPr/>
        </p:nvCxnSpPr>
        <p:spPr bwMode="gray">
          <a:xfrm>
            <a:off x="8400624" y="4365872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Inhaltsplatzhalter 7">
            <a:extLst>
              <a:ext uri="{FF2B5EF4-FFF2-40B4-BE49-F238E27FC236}">
                <a16:creationId xmlns:a16="http://schemas.microsoft.com/office/drawing/2014/main" id="{7FB77F1A-5F8A-4F16-BD20-84CB5ABA6ABC}"/>
              </a:ext>
            </a:extLst>
          </p:cNvPr>
          <p:cNvSpPr txBox="1">
            <a:spLocks/>
          </p:cNvSpPr>
          <p:nvPr/>
        </p:nvSpPr>
        <p:spPr bwMode="gray">
          <a:xfrm>
            <a:off x="9193239" y="53010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25C2129D-FD93-4428-ADC7-533DE9EFC3C8}"/>
              </a:ext>
            </a:extLst>
          </p:cNvPr>
          <p:cNvCxnSpPr>
            <a:cxnSpLocks/>
          </p:cNvCxnSpPr>
          <p:nvPr/>
        </p:nvCxnSpPr>
        <p:spPr bwMode="gray">
          <a:xfrm>
            <a:off x="8400624" y="5229200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" name="Gruppieren 152">
            <a:extLst>
              <a:ext uri="{FF2B5EF4-FFF2-40B4-BE49-F238E27FC236}">
                <a16:creationId xmlns:a16="http://schemas.microsoft.com/office/drawing/2014/main" id="{897028ED-49D6-415A-A4A4-EA1A7794CC1D}"/>
              </a:ext>
            </a:extLst>
          </p:cNvPr>
          <p:cNvGrpSpPr/>
          <p:nvPr/>
        </p:nvGrpSpPr>
        <p:grpSpPr bwMode="gray">
          <a:xfrm>
            <a:off x="4512288" y="5301000"/>
            <a:ext cx="576000" cy="720000"/>
            <a:chOff x="552000" y="5301000"/>
            <a:chExt cx="576000" cy="720000"/>
          </a:xfrm>
        </p:grpSpPr>
        <p:sp>
          <p:nvSpPr>
            <p:cNvPr id="154" name="Inhaltsplatzhalter 7">
              <a:extLst>
                <a:ext uri="{FF2B5EF4-FFF2-40B4-BE49-F238E27FC236}">
                  <a16:creationId xmlns:a16="http://schemas.microsoft.com/office/drawing/2014/main" id="{5D50A7F5-6DAF-4206-A41D-8CD643E0EE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5" name="Grafik 154">
              <a:extLst>
                <a:ext uri="{FF2B5EF4-FFF2-40B4-BE49-F238E27FC236}">
                  <a16:creationId xmlns:a16="http://schemas.microsoft.com/office/drawing/2014/main" id="{A5FBFB21-781A-46CF-AB55-F598721AB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FFE7D061-C109-46A0-8224-C8470D06D2A9}"/>
              </a:ext>
            </a:extLst>
          </p:cNvPr>
          <p:cNvGrpSpPr/>
          <p:nvPr/>
        </p:nvGrpSpPr>
        <p:grpSpPr bwMode="gray">
          <a:xfrm>
            <a:off x="4512288" y="4437000"/>
            <a:ext cx="576000" cy="720000"/>
            <a:chOff x="552000" y="4437000"/>
            <a:chExt cx="576000" cy="720000"/>
          </a:xfrm>
        </p:grpSpPr>
        <p:sp>
          <p:nvSpPr>
            <p:cNvPr id="157" name="Inhaltsplatzhalter 7">
              <a:extLst>
                <a:ext uri="{FF2B5EF4-FFF2-40B4-BE49-F238E27FC236}">
                  <a16:creationId xmlns:a16="http://schemas.microsoft.com/office/drawing/2014/main" id="{E2D729FF-8B1E-4FEF-B156-7CF87CC701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8" name="Grafik 157">
              <a:extLst>
                <a:ext uri="{FF2B5EF4-FFF2-40B4-BE49-F238E27FC236}">
                  <a16:creationId xmlns:a16="http://schemas.microsoft.com/office/drawing/2014/main" id="{7CB36462-FF98-48BB-ACD7-2250FAFAF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C12EA200-9828-4216-B0EA-4269BF08DCFC}"/>
              </a:ext>
            </a:extLst>
          </p:cNvPr>
          <p:cNvGrpSpPr/>
          <p:nvPr/>
        </p:nvGrpSpPr>
        <p:grpSpPr bwMode="gray">
          <a:xfrm>
            <a:off x="4512288" y="3573000"/>
            <a:ext cx="576000" cy="720000"/>
            <a:chOff x="552000" y="3573000"/>
            <a:chExt cx="576000" cy="720000"/>
          </a:xfrm>
        </p:grpSpPr>
        <p:sp>
          <p:nvSpPr>
            <p:cNvPr id="160" name="Inhaltsplatzhalter 7">
              <a:extLst>
                <a:ext uri="{FF2B5EF4-FFF2-40B4-BE49-F238E27FC236}">
                  <a16:creationId xmlns:a16="http://schemas.microsoft.com/office/drawing/2014/main" id="{469E3F42-9322-4DF1-839E-6412E42A339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61" name="Grafik 160">
              <a:extLst>
                <a:ext uri="{FF2B5EF4-FFF2-40B4-BE49-F238E27FC236}">
                  <a16:creationId xmlns:a16="http://schemas.microsoft.com/office/drawing/2014/main" id="{E1E06C86-E3E5-4BD7-A721-DEC7BC7F7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DB7805AE-8869-4F0A-8676-6F91A74FACE0}"/>
              </a:ext>
            </a:extLst>
          </p:cNvPr>
          <p:cNvGrpSpPr/>
          <p:nvPr/>
        </p:nvGrpSpPr>
        <p:grpSpPr bwMode="gray">
          <a:xfrm>
            <a:off x="8400000" y="5301000"/>
            <a:ext cx="576000" cy="720000"/>
            <a:chOff x="552000" y="5301000"/>
            <a:chExt cx="576000" cy="720000"/>
          </a:xfrm>
        </p:grpSpPr>
        <p:sp>
          <p:nvSpPr>
            <p:cNvPr id="172" name="Inhaltsplatzhalter 7">
              <a:extLst>
                <a:ext uri="{FF2B5EF4-FFF2-40B4-BE49-F238E27FC236}">
                  <a16:creationId xmlns:a16="http://schemas.microsoft.com/office/drawing/2014/main" id="{DE724482-381E-4925-B316-0E5AE1D3FF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3" name="Grafik 172">
              <a:extLst>
                <a:ext uri="{FF2B5EF4-FFF2-40B4-BE49-F238E27FC236}">
                  <a16:creationId xmlns:a16="http://schemas.microsoft.com/office/drawing/2014/main" id="{F4E92F1D-EDD4-4096-BF4A-288329DAB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4" name="Gruppieren 173">
            <a:extLst>
              <a:ext uri="{FF2B5EF4-FFF2-40B4-BE49-F238E27FC236}">
                <a16:creationId xmlns:a16="http://schemas.microsoft.com/office/drawing/2014/main" id="{3E8A264C-1F64-477D-89B3-7959DC9DBED6}"/>
              </a:ext>
            </a:extLst>
          </p:cNvPr>
          <p:cNvGrpSpPr/>
          <p:nvPr/>
        </p:nvGrpSpPr>
        <p:grpSpPr bwMode="gray">
          <a:xfrm>
            <a:off x="8400000" y="4437000"/>
            <a:ext cx="576000" cy="720000"/>
            <a:chOff x="552000" y="4437000"/>
            <a:chExt cx="576000" cy="720000"/>
          </a:xfrm>
        </p:grpSpPr>
        <p:sp>
          <p:nvSpPr>
            <p:cNvPr id="175" name="Inhaltsplatzhalter 7">
              <a:extLst>
                <a:ext uri="{FF2B5EF4-FFF2-40B4-BE49-F238E27FC236}">
                  <a16:creationId xmlns:a16="http://schemas.microsoft.com/office/drawing/2014/main" id="{E874418C-93E0-4155-9DA0-546FCE6A95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6" name="Grafik 175">
              <a:extLst>
                <a:ext uri="{FF2B5EF4-FFF2-40B4-BE49-F238E27FC236}">
                  <a16:creationId xmlns:a16="http://schemas.microsoft.com/office/drawing/2014/main" id="{EF69537B-9EA6-4341-9EA7-1741270A1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D5445A1A-FE42-439F-9254-6D1A8E1B3195}"/>
              </a:ext>
            </a:extLst>
          </p:cNvPr>
          <p:cNvGrpSpPr/>
          <p:nvPr/>
        </p:nvGrpSpPr>
        <p:grpSpPr bwMode="gray">
          <a:xfrm>
            <a:off x="8400000" y="3573000"/>
            <a:ext cx="576000" cy="720000"/>
            <a:chOff x="552000" y="3573000"/>
            <a:chExt cx="576000" cy="720000"/>
          </a:xfrm>
        </p:grpSpPr>
        <p:sp>
          <p:nvSpPr>
            <p:cNvPr id="178" name="Inhaltsplatzhalter 7">
              <a:extLst>
                <a:ext uri="{FF2B5EF4-FFF2-40B4-BE49-F238E27FC236}">
                  <a16:creationId xmlns:a16="http://schemas.microsoft.com/office/drawing/2014/main" id="{A8108705-FDB5-43D9-9DE7-C716123C18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9" name="Grafik 178">
              <a:extLst>
                <a:ext uri="{FF2B5EF4-FFF2-40B4-BE49-F238E27FC236}">
                  <a16:creationId xmlns:a16="http://schemas.microsoft.com/office/drawing/2014/main" id="{E197E27E-055A-4FB7-8FFA-048CE46A8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180" name="Inhaltsplatzhalter 7">
            <a:extLst>
              <a:ext uri="{FF2B5EF4-FFF2-40B4-BE49-F238E27FC236}">
                <a16:creationId xmlns:a16="http://schemas.microsoft.com/office/drawing/2014/main" id="{711C3D38-E958-462F-BF2B-3C857B57214D}"/>
              </a:ext>
            </a:extLst>
          </p:cNvPr>
          <p:cNvSpPr txBox="1">
            <a:spLocks/>
          </p:cNvSpPr>
          <p:nvPr/>
        </p:nvSpPr>
        <p:spPr bwMode="gray">
          <a:xfrm>
            <a:off x="5088000" y="2637000"/>
            <a:ext cx="2664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181" name="Gruppieren 180">
            <a:extLst>
              <a:ext uri="{FF2B5EF4-FFF2-40B4-BE49-F238E27FC236}">
                <a16:creationId xmlns:a16="http://schemas.microsoft.com/office/drawing/2014/main" id="{0A7A3A72-FC16-480F-A2CF-71D349F2D41A}"/>
              </a:ext>
            </a:extLst>
          </p:cNvPr>
          <p:cNvGrpSpPr/>
          <p:nvPr/>
        </p:nvGrpSpPr>
        <p:grpSpPr bwMode="gray">
          <a:xfrm>
            <a:off x="4511998" y="2637000"/>
            <a:ext cx="576000" cy="720000"/>
            <a:chOff x="6455675" y="2637000"/>
            <a:chExt cx="576000" cy="720000"/>
          </a:xfrm>
        </p:grpSpPr>
        <p:sp>
          <p:nvSpPr>
            <p:cNvPr id="182" name="Inhaltsplatzhalter 7">
              <a:extLst>
                <a:ext uri="{FF2B5EF4-FFF2-40B4-BE49-F238E27FC236}">
                  <a16:creationId xmlns:a16="http://schemas.microsoft.com/office/drawing/2014/main" id="{DF725559-FC56-41CD-9EC6-0B59F07E4C4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55675" y="26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83" name="Grafik 182">
              <a:extLst>
                <a:ext uri="{FF2B5EF4-FFF2-40B4-BE49-F238E27FC236}">
                  <a16:creationId xmlns:a16="http://schemas.microsoft.com/office/drawing/2014/main" id="{98769F34-2E09-40F2-BF38-32A1758C3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19133" y="2709000"/>
              <a:ext cx="449084" cy="576000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75769406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Freihandform: Form 188">
            <a:extLst>
              <a:ext uri="{FF2B5EF4-FFF2-40B4-BE49-F238E27FC236}">
                <a16:creationId xmlns:a16="http://schemas.microsoft.com/office/drawing/2014/main" id="{8C5EAFD1-92AB-4A93-A378-F53785ADE377}"/>
              </a:ext>
            </a:extLst>
          </p:cNvPr>
          <p:cNvSpPr/>
          <p:nvPr/>
        </p:nvSpPr>
        <p:spPr bwMode="gray">
          <a:xfrm>
            <a:off x="3180004" y="2421000"/>
            <a:ext cx="2952000" cy="216000"/>
          </a:xfrm>
          <a:custGeom>
            <a:avLst/>
            <a:gdLst>
              <a:gd name="connsiteX0" fmla="*/ 0 w 2476500"/>
              <a:gd name="connsiteY0" fmla="*/ 251460 h 251460"/>
              <a:gd name="connsiteX1" fmla="*/ 0 w 2476500"/>
              <a:gd name="connsiteY1" fmla="*/ 129540 h 251460"/>
              <a:gd name="connsiteX2" fmla="*/ 2476500 w 2476500"/>
              <a:gd name="connsiteY2" fmla="*/ 129540 h 251460"/>
              <a:gd name="connsiteX3" fmla="*/ 2476500 w 2476500"/>
              <a:gd name="connsiteY3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0" h="251460">
                <a:moveTo>
                  <a:pt x="0" y="251460"/>
                </a:moveTo>
                <a:lnTo>
                  <a:pt x="0" y="129540"/>
                </a:lnTo>
                <a:lnTo>
                  <a:pt x="2476500" y="129540"/>
                </a:lnTo>
                <a:lnTo>
                  <a:pt x="24765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2" name="Freihandform: Form 191">
            <a:extLst>
              <a:ext uri="{FF2B5EF4-FFF2-40B4-BE49-F238E27FC236}">
                <a16:creationId xmlns:a16="http://schemas.microsoft.com/office/drawing/2014/main" id="{F9C3050D-AFF3-426A-9EFC-5FFC33AE1083}"/>
              </a:ext>
            </a:extLst>
          </p:cNvPr>
          <p:cNvSpPr/>
          <p:nvPr/>
        </p:nvSpPr>
        <p:spPr bwMode="gray">
          <a:xfrm flipH="1">
            <a:off x="6132004" y="2421000"/>
            <a:ext cx="2952000" cy="216000"/>
          </a:xfrm>
          <a:custGeom>
            <a:avLst/>
            <a:gdLst>
              <a:gd name="connsiteX0" fmla="*/ 0 w 2476500"/>
              <a:gd name="connsiteY0" fmla="*/ 251460 h 251460"/>
              <a:gd name="connsiteX1" fmla="*/ 0 w 2476500"/>
              <a:gd name="connsiteY1" fmla="*/ 129540 h 251460"/>
              <a:gd name="connsiteX2" fmla="*/ 2476500 w 2476500"/>
              <a:gd name="connsiteY2" fmla="*/ 129540 h 251460"/>
              <a:gd name="connsiteX3" fmla="*/ 2476500 w 2476500"/>
              <a:gd name="connsiteY3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0" h="251460">
                <a:moveTo>
                  <a:pt x="0" y="251460"/>
                </a:moveTo>
                <a:lnTo>
                  <a:pt x="0" y="129540"/>
                </a:lnTo>
                <a:lnTo>
                  <a:pt x="2476500" y="129540"/>
                </a:lnTo>
                <a:lnTo>
                  <a:pt x="24765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32388ED-673D-483B-BE18-659CB2DAE3F0}"/>
              </a:ext>
            </a:extLst>
          </p:cNvPr>
          <p:cNvGrpSpPr/>
          <p:nvPr/>
        </p:nvGrpSpPr>
        <p:grpSpPr bwMode="gray">
          <a:xfrm>
            <a:off x="552000" y="5301000"/>
            <a:ext cx="576000" cy="720000"/>
            <a:chOff x="552000" y="5301000"/>
            <a:chExt cx="576000" cy="720000"/>
          </a:xfrm>
        </p:grpSpPr>
        <p:sp>
          <p:nvSpPr>
            <p:cNvPr id="158" name="Inhaltsplatzhalter 7">
              <a:extLst>
                <a:ext uri="{FF2B5EF4-FFF2-40B4-BE49-F238E27FC236}">
                  <a16:creationId xmlns:a16="http://schemas.microsoft.com/office/drawing/2014/main" id="{CD94D54D-FD06-43E3-AF34-DA927C523C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9" name="Grafik 158">
              <a:extLst>
                <a:ext uri="{FF2B5EF4-FFF2-40B4-BE49-F238E27FC236}">
                  <a16:creationId xmlns:a16="http://schemas.microsoft.com/office/drawing/2014/main" id="{096512FF-D83E-4EA7-9632-BC354D682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8762697-0134-4855-98DF-62C71EEDCEA4}"/>
              </a:ext>
            </a:extLst>
          </p:cNvPr>
          <p:cNvGrpSpPr/>
          <p:nvPr/>
        </p:nvGrpSpPr>
        <p:grpSpPr bwMode="gray">
          <a:xfrm>
            <a:off x="552000" y="4437000"/>
            <a:ext cx="576000" cy="720000"/>
            <a:chOff x="552000" y="4437000"/>
            <a:chExt cx="576000" cy="720000"/>
          </a:xfrm>
        </p:grpSpPr>
        <p:sp>
          <p:nvSpPr>
            <p:cNvPr id="155" name="Inhaltsplatzhalter 7">
              <a:extLst>
                <a:ext uri="{FF2B5EF4-FFF2-40B4-BE49-F238E27FC236}">
                  <a16:creationId xmlns:a16="http://schemas.microsoft.com/office/drawing/2014/main" id="{30559C91-0787-40F4-B7BB-3D5DC21CB1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6" name="Grafik 155">
              <a:extLst>
                <a:ext uri="{FF2B5EF4-FFF2-40B4-BE49-F238E27FC236}">
                  <a16:creationId xmlns:a16="http://schemas.microsoft.com/office/drawing/2014/main" id="{74322230-6E9B-4C22-B75F-CACF2DAF7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5BCF32F-AEB3-4E35-8FDD-CFBF56177C2C}"/>
              </a:ext>
            </a:extLst>
          </p:cNvPr>
          <p:cNvGrpSpPr/>
          <p:nvPr/>
        </p:nvGrpSpPr>
        <p:grpSpPr bwMode="gray">
          <a:xfrm>
            <a:off x="552000" y="3573000"/>
            <a:ext cx="576000" cy="720000"/>
            <a:chOff x="552000" y="3573000"/>
            <a:chExt cx="576000" cy="720000"/>
          </a:xfrm>
        </p:grpSpPr>
        <p:sp>
          <p:nvSpPr>
            <p:cNvPr id="152" name="Inhaltsplatzhalter 7">
              <a:extLst>
                <a:ext uri="{FF2B5EF4-FFF2-40B4-BE49-F238E27FC236}">
                  <a16:creationId xmlns:a16="http://schemas.microsoft.com/office/drawing/2014/main" id="{E1CCC1AE-018B-4B26-9E4B-325584A4C29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3" name="Grafik 152">
              <a:extLst>
                <a:ext uri="{FF2B5EF4-FFF2-40B4-BE49-F238E27FC236}">
                  <a16:creationId xmlns:a16="http://schemas.microsoft.com/office/drawing/2014/main" id="{38CC2152-5970-472E-8D1B-36C3437B0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rostokąt 11" hidden="1">
            <a:extLst>
              <a:ext uri="{FF2B5EF4-FFF2-40B4-BE49-F238E27FC236}">
                <a16:creationId xmlns:a16="http://schemas.microsoft.com/office/drawing/2014/main" id="{3D76B691-37E2-49DF-A1EA-6E9D95283C7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507D1E5C-1F1C-427B-AB03-82CE4839C5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6" name="Datumsplatzhalter 5">
            <a:extLst>
              <a:ext uri="{FF2B5EF4-FFF2-40B4-BE49-F238E27FC236}">
                <a16:creationId xmlns:a16="http://schemas.microsoft.com/office/drawing/2014/main" id="{3771AA9D-2D46-46F6-BCAA-6C3B96BB58C6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984352" y="6550324"/>
            <a:ext cx="792000" cy="144000"/>
          </a:xfrm>
        </p:spPr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7" name="Fußzeilenplatzhalter 6">
            <a:extLst>
              <a:ext uri="{FF2B5EF4-FFF2-40B4-BE49-F238E27FC236}">
                <a16:creationId xmlns:a16="http://schemas.microsoft.com/office/drawing/2014/main" id="{64A3223D-F16E-4954-9AA4-51D27D9BBDD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884396" y="6550324"/>
            <a:ext cx="7704000" cy="144000"/>
          </a:xfrm>
        </p:spPr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8" name="Foliennummernplatzhalter 15">
            <a:extLst>
              <a:ext uri="{FF2B5EF4-FFF2-40B4-BE49-F238E27FC236}">
                <a16:creationId xmlns:a16="http://schemas.microsoft.com/office/drawing/2014/main" id="{4D81BCC0-90AE-4CD5-8442-03D763422F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551864" y="6550324"/>
            <a:ext cx="288000" cy="144000"/>
          </a:xfrm>
        </p:spPr>
        <p:txBody>
          <a:bodyPr/>
          <a:lstStyle/>
          <a:p>
            <a:fld id="{8FF9B0DE-3FEB-4AA0-B465-B80EF7C1333D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71" name="Inhaltsplatzhalter 7">
            <a:extLst>
              <a:ext uri="{FF2B5EF4-FFF2-40B4-BE49-F238E27FC236}">
                <a16:creationId xmlns:a16="http://schemas.microsoft.com/office/drawing/2014/main" id="{C32AB8F4-2D64-40D3-8E43-82F37183CB66}"/>
              </a:ext>
            </a:extLst>
          </p:cNvPr>
          <p:cNvSpPr txBox="1">
            <a:spLocks/>
          </p:cNvSpPr>
          <p:nvPr/>
        </p:nvSpPr>
        <p:spPr bwMode="gray">
          <a:xfrm>
            <a:off x="5088000" y="1700808"/>
            <a:ext cx="2664000" cy="72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1D5E262-39B3-463E-A2C6-AF8B15ECC7D4}"/>
              </a:ext>
            </a:extLst>
          </p:cNvPr>
          <p:cNvGrpSpPr/>
          <p:nvPr/>
        </p:nvGrpSpPr>
        <p:grpSpPr bwMode="gray">
          <a:xfrm>
            <a:off x="4511675" y="1700808"/>
            <a:ext cx="576000" cy="720000"/>
            <a:chOff x="4511675" y="1700808"/>
            <a:chExt cx="576000" cy="720000"/>
          </a:xfrm>
        </p:grpSpPr>
        <p:sp>
          <p:nvSpPr>
            <p:cNvPr id="76" name="Inhaltsplatzhalter 7">
              <a:extLst>
                <a:ext uri="{FF2B5EF4-FFF2-40B4-BE49-F238E27FC236}">
                  <a16:creationId xmlns:a16="http://schemas.microsoft.com/office/drawing/2014/main" id="{38BF8019-EEDD-41D3-B16B-767DFD82626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11675" y="1700808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77" name="Grafik 76">
              <a:extLst>
                <a:ext uri="{FF2B5EF4-FFF2-40B4-BE49-F238E27FC236}">
                  <a16:creationId xmlns:a16="http://schemas.microsoft.com/office/drawing/2014/main" id="{79C31FD5-8D48-421B-BEA1-5C51A995D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75133" y="1772808"/>
              <a:ext cx="449084" cy="576000"/>
            </a:xfrm>
            <a:prstGeom prst="rect">
              <a:avLst/>
            </a:prstGeom>
          </p:spPr>
        </p:pic>
      </p:grpSp>
      <p:sp>
        <p:nvSpPr>
          <p:cNvPr id="91" name="Inhaltsplatzhalter 7">
            <a:extLst>
              <a:ext uri="{FF2B5EF4-FFF2-40B4-BE49-F238E27FC236}">
                <a16:creationId xmlns:a16="http://schemas.microsoft.com/office/drawing/2014/main" id="{641673BF-D7E0-48D6-A58F-05DA003C3C8D}"/>
              </a:ext>
            </a:extLst>
          </p:cNvPr>
          <p:cNvSpPr txBox="1">
            <a:spLocks/>
          </p:cNvSpPr>
          <p:nvPr/>
        </p:nvSpPr>
        <p:spPr bwMode="gray">
          <a:xfrm>
            <a:off x="1128000" y="2637000"/>
            <a:ext cx="4680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sp>
        <p:nvSpPr>
          <p:cNvPr id="93" name="Inhaltsplatzhalter 7">
            <a:extLst>
              <a:ext uri="{FF2B5EF4-FFF2-40B4-BE49-F238E27FC236}">
                <a16:creationId xmlns:a16="http://schemas.microsoft.com/office/drawing/2014/main" id="{744F4F67-2902-4E80-A9FF-D9CC03BFC7B9}"/>
              </a:ext>
            </a:extLst>
          </p:cNvPr>
          <p:cNvSpPr txBox="1">
            <a:spLocks/>
          </p:cNvSpPr>
          <p:nvPr/>
        </p:nvSpPr>
        <p:spPr bwMode="gray">
          <a:xfrm>
            <a:off x="552000" y="2637000"/>
            <a:ext cx="576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pic>
        <p:nvPicPr>
          <p:cNvPr id="94" name="Grafik 93">
            <a:extLst>
              <a:ext uri="{FF2B5EF4-FFF2-40B4-BE49-F238E27FC236}">
                <a16:creationId xmlns:a16="http://schemas.microsoft.com/office/drawing/2014/main" id="{2EE37992-9FF6-4355-B1CE-14986DFDC86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E5E8ED"/>
              </a:clrFrom>
              <a:clrTo>
                <a:srgbClr val="E5E8ED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5458" y="2709000"/>
            <a:ext cx="449084" cy="576000"/>
          </a:xfrm>
          <a:prstGeom prst="rect">
            <a:avLst/>
          </a:prstGeom>
        </p:spPr>
      </p:pic>
      <p:sp>
        <p:nvSpPr>
          <p:cNvPr id="95" name="Inhaltsplatzhalter 7">
            <a:extLst>
              <a:ext uri="{FF2B5EF4-FFF2-40B4-BE49-F238E27FC236}">
                <a16:creationId xmlns:a16="http://schemas.microsoft.com/office/drawing/2014/main" id="{932DE3DC-ABA7-4678-88F9-ED9F46621F5D}"/>
              </a:ext>
            </a:extLst>
          </p:cNvPr>
          <p:cNvSpPr txBox="1">
            <a:spLocks/>
          </p:cNvSpPr>
          <p:nvPr/>
        </p:nvSpPr>
        <p:spPr bwMode="gray">
          <a:xfrm>
            <a:off x="7032624" y="2637000"/>
            <a:ext cx="4680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91CDE48-9A42-410D-AD95-D1A9ACD09963}"/>
              </a:ext>
            </a:extLst>
          </p:cNvPr>
          <p:cNvGrpSpPr/>
          <p:nvPr/>
        </p:nvGrpSpPr>
        <p:grpSpPr bwMode="gray">
          <a:xfrm>
            <a:off x="6456000" y="2637000"/>
            <a:ext cx="576000" cy="720000"/>
            <a:chOff x="6455675" y="2637000"/>
            <a:chExt cx="576000" cy="720000"/>
          </a:xfrm>
        </p:grpSpPr>
        <p:sp>
          <p:nvSpPr>
            <p:cNvPr id="99" name="Inhaltsplatzhalter 7">
              <a:extLst>
                <a:ext uri="{FF2B5EF4-FFF2-40B4-BE49-F238E27FC236}">
                  <a16:creationId xmlns:a16="http://schemas.microsoft.com/office/drawing/2014/main" id="{C291BC9F-14BA-4E17-B83D-037E45F69E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55675" y="26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00" name="Grafik 99">
              <a:extLst>
                <a:ext uri="{FF2B5EF4-FFF2-40B4-BE49-F238E27FC236}">
                  <a16:creationId xmlns:a16="http://schemas.microsoft.com/office/drawing/2014/main" id="{80709C06-370D-4258-A933-C4108E0C7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19133" y="2709000"/>
              <a:ext cx="449084" cy="576000"/>
            </a:xfrm>
            <a:prstGeom prst="rect">
              <a:avLst/>
            </a:prstGeom>
          </p:spPr>
        </p:pic>
      </p:grpSp>
      <p:sp>
        <p:nvSpPr>
          <p:cNvPr id="101" name="Inhaltsplatzhalter 7">
            <a:extLst>
              <a:ext uri="{FF2B5EF4-FFF2-40B4-BE49-F238E27FC236}">
                <a16:creationId xmlns:a16="http://schemas.microsoft.com/office/drawing/2014/main" id="{23B01261-9745-427B-844C-D77CFEBDE4C6}"/>
              </a:ext>
            </a:extLst>
          </p:cNvPr>
          <p:cNvSpPr txBox="1">
            <a:spLocks/>
          </p:cNvSpPr>
          <p:nvPr/>
        </p:nvSpPr>
        <p:spPr bwMode="gray">
          <a:xfrm>
            <a:off x="1345240" y="35730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02" name="Inhaltsplatzhalter 7">
            <a:extLst>
              <a:ext uri="{FF2B5EF4-FFF2-40B4-BE49-F238E27FC236}">
                <a16:creationId xmlns:a16="http://schemas.microsoft.com/office/drawing/2014/main" id="{F39191CB-3566-4EB8-8085-14FBEBC46D45}"/>
              </a:ext>
            </a:extLst>
          </p:cNvPr>
          <p:cNvSpPr txBox="1">
            <a:spLocks/>
          </p:cNvSpPr>
          <p:nvPr/>
        </p:nvSpPr>
        <p:spPr bwMode="gray">
          <a:xfrm>
            <a:off x="7249240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34363AE4-ADB7-4F53-9CE0-71F81482104B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2B6D184E-5AEB-41FF-8F5F-7ACAD0364262}"/>
              </a:ext>
            </a:extLst>
          </p:cNvPr>
          <p:cNvCxnSpPr>
            <a:cxnSpLocks/>
          </p:cNvCxnSpPr>
          <p:nvPr/>
        </p:nvCxnSpPr>
        <p:spPr bwMode="gray">
          <a:xfrm>
            <a:off x="6456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Inhaltsplatzhalter 7">
            <a:extLst>
              <a:ext uri="{FF2B5EF4-FFF2-40B4-BE49-F238E27FC236}">
                <a16:creationId xmlns:a16="http://schemas.microsoft.com/office/drawing/2014/main" id="{5D465CC0-2868-44E0-93BB-28233ED9CF26}"/>
              </a:ext>
            </a:extLst>
          </p:cNvPr>
          <p:cNvSpPr txBox="1">
            <a:spLocks/>
          </p:cNvSpPr>
          <p:nvPr/>
        </p:nvSpPr>
        <p:spPr bwMode="gray">
          <a:xfrm>
            <a:off x="134400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08" name="Inhaltsplatzhalter 7">
            <a:extLst>
              <a:ext uri="{FF2B5EF4-FFF2-40B4-BE49-F238E27FC236}">
                <a16:creationId xmlns:a16="http://schemas.microsoft.com/office/drawing/2014/main" id="{06E77107-5847-4996-8620-5C432CBF25EB}"/>
              </a:ext>
            </a:extLst>
          </p:cNvPr>
          <p:cNvSpPr txBox="1">
            <a:spLocks/>
          </p:cNvSpPr>
          <p:nvPr/>
        </p:nvSpPr>
        <p:spPr bwMode="gray">
          <a:xfrm>
            <a:off x="724924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9AD89D0E-4E9C-4F73-9495-E53E9CDF2B6B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6BD2E8A8-655C-4738-8852-F6362CAC87AD}"/>
              </a:ext>
            </a:extLst>
          </p:cNvPr>
          <p:cNvCxnSpPr>
            <a:cxnSpLocks/>
          </p:cNvCxnSpPr>
          <p:nvPr/>
        </p:nvCxnSpPr>
        <p:spPr bwMode="gray">
          <a:xfrm>
            <a:off x="6456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Inhaltsplatzhalter 7">
            <a:extLst>
              <a:ext uri="{FF2B5EF4-FFF2-40B4-BE49-F238E27FC236}">
                <a16:creationId xmlns:a16="http://schemas.microsoft.com/office/drawing/2014/main" id="{79813180-68D4-4FB2-B67A-DD06C2CE7C50}"/>
              </a:ext>
            </a:extLst>
          </p:cNvPr>
          <p:cNvSpPr txBox="1">
            <a:spLocks/>
          </p:cNvSpPr>
          <p:nvPr/>
        </p:nvSpPr>
        <p:spPr bwMode="gray">
          <a:xfrm>
            <a:off x="134400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12" name="Inhaltsplatzhalter 7">
            <a:extLst>
              <a:ext uri="{FF2B5EF4-FFF2-40B4-BE49-F238E27FC236}">
                <a16:creationId xmlns:a16="http://schemas.microsoft.com/office/drawing/2014/main" id="{A7B5A664-F488-4EC1-95BA-6FAAEB037679}"/>
              </a:ext>
            </a:extLst>
          </p:cNvPr>
          <p:cNvSpPr txBox="1">
            <a:spLocks/>
          </p:cNvSpPr>
          <p:nvPr/>
        </p:nvSpPr>
        <p:spPr bwMode="gray">
          <a:xfrm>
            <a:off x="724924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A211C2F-3C27-4C16-94C5-83DB7D1B87D4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C3557F73-1C6B-4D28-81F9-7884CA96E527}"/>
              </a:ext>
            </a:extLst>
          </p:cNvPr>
          <p:cNvCxnSpPr>
            <a:cxnSpLocks/>
          </p:cNvCxnSpPr>
          <p:nvPr/>
        </p:nvCxnSpPr>
        <p:spPr bwMode="gray">
          <a:xfrm>
            <a:off x="6456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Inhaltsplatzhalter 7">
            <a:extLst>
              <a:ext uri="{FF2B5EF4-FFF2-40B4-BE49-F238E27FC236}">
                <a16:creationId xmlns:a16="http://schemas.microsoft.com/office/drawing/2014/main" id="{ACC69458-861F-4B17-AAE1-EAFB7D4A2BD9}"/>
              </a:ext>
            </a:extLst>
          </p:cNvPr>
          <p:cNvSpPr txBox="1">
            <a:spLocks/>
          </p:cNvSpPr>
          <p:nvPr/>
        </p:nvSpPr>
        <p:spPr bwMode="gray">
          <a:xfrm>
            <a:off x="4296328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A0589B76-EBA4-49BF-AB9C-49DA818AC894}"/>
              </a:ext>
            </a:extLst>
          </p:cNvPr>
          <p:cNvCxnSpPr>
            <a:cxnSpLocks/>
          </p:cNvCxnSpPr>
          <p:nvPr/>
        </p:nvCxnSpPr>
        <p:spPr bwMode="gray">
          <a:xfrm>
            <a:off x="3503712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Inhaltsplatzhalter 7">
            <a:extLst>
              <a:ext uri="{FF2B5EF4-FFF2-40B4-BE49-F238E27FC236}">
                <a16:creationId xmlns:a16="http://schemas.microsoft.com/office/drawing/2014/main" id="{75AD5432-8307-4B72-8961-2D3662CDD4E9}"/>
              </a:ext>
            </a:extLst>
          </p:cNvPr>
          <p:cNvSpPr txBox="1">
            <a:spLocks/>
          </p:cNvSpPr>
          <p:nvPr/>
        </p:nvSpPr>
        <p:spPr bwMode="gray">
          <a:xfrm>
            <a:off x="4296328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4B34C370-1CF7-463C-B2D9-675CE2D6B5EE}"/>
              </a:ext>
            </a:extLst>
          </p:cNvPr>
          <p:cNvCxnSpPr>
            <a:cxnSpLocks/>
          </p:cNvCxnSpPr>
          <p:nvPr/>
        </p:nvCxnSpPr>
        <p:spPr bwMode="gray">
          <a:xfrm>
            <a:off x="3503712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Inhaltsplatzhalter 7">
            <a:extLst>
              <a:ext uri="{FF2B5EF4-FFF2-40B4-BE49-F238E27FC236}">
                <a16:creationId xmlns:a16="http://schemas.microsoft.com/office/drawing/2014/main" id="{EDDEB3E4-6DF5-49AF-BE32-B48500B224BE}"/>
              </a:ext>
            </a:extLst>
          </p:cNvPr>
          <p:cNvSpPr txBox="1">
            <a:spLocks/>
          </p:cNvSpPr>
          <p:nvPr/>
        </p:nvSpPr>
        <p:spPr bwMode="gray">
          <a:xfrm>
            <a:off x="4296328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845B02DE-02B0-41DD-9513-1EB940B82F27}"/>
              </a:ext>
            </a:extLst>
          </p:cNvPr>
          <p:cNvCxnSpPr>
            <a:cxnSpLocks/>
          </p:cNvCxnSpPr>
          <p:nvPr/>
        </p:nvCxnSpPr>
        <p:spPr bwMode="gray">
          <a:xfrm>
            <a:off x="3503712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Inhaltsplatzhalter 7">
            <a:extLst>
              <a:ext uri="{FF2B5EF4-FFF2-40B4-BE49-F238E27FC236}">
                <a16:creationId xmlns:a16="http://schemas.microsoft.com/office/drawing/2014/main" id="{D6ED680A-47EC-4224-82BD-427976AACDEF}"/>
              </a:ext>
            </a:extLst>
          </p:cNvPr>
          <p:cNvSpPr txBox="1">
            <a:spLocks/>
          </p:cNvSpPr>
          <p:nvPr/>
        </p:nvSpPr>
        <p:spPr bwMode="gray">
          <a:xfrm>
            <a:off x="10201240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83E4D15E-38F9-43BF-A6B3-1B121B56074E}"/>
              </a:ext>
            </a:extLst>
          </p:cNvPr>
          <p:cNvCxnSpPr>
            <a:cxnSpLocks/>
          </p:cNvCxnSpPr>
          <p:nvPr/>
        </p:nvCxnSpPr>
        <p:spPr bwMode="gray">
          <a:xfrm>
            <a:off x="9408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Inhaltsplatzhalter 7">
            <a:extLst>
              <a:ext uri="{FF2B5EF4-FFF2-40B4-BE49-F238E27FC236}">
                <a16:creationId xmlns:a16="http://schemas.microsoft.com/office/drawing/2014/main" id="{1CD7A7B0-123C-4CEF-80E2-821F4CF4A6B4}"/>
              </a:ext>
            </a:extLst>
          </p:cNvPr>
          <p:cNvSpPr txBox="1">
            <a:spLocks/>
          </p:cNvSpPr>
          <p:nvPr/>
        </p:nvSpPr>
        <p:spPr bwMode="gray">
          <a:xfrm>
            <a:off x="1020124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144A516B-A58D-46D0-87AD-AAD2F33EFC7E}"/>
              </a:ext>
            </a:extLst>
          </p:cNvPr>
          <p:cNvCxnSpPr>
            <a:cxnSpLocks/>
          </p:cNvCxnSpPr>
          <p:nvPr/>
        </p:nvCxnSpPr>
        <p:spPr bwMode="gray">
          <a:xfrm>
            <a:off x="9408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Inhaltsplatzhalter 7">
            <a:extLst>
              <a:ext uri="{FF2B5EF4-FFF2-40B4-BE49-F238E27FC236}">
                <a16:creationId xmlns:a16="http://schemas.microsoft.com/office/drawing/2014/main" id="{FEA43D28-6706-4366-918E-BBB48AE0EDBF}"/>
              </a:ext>
            </a:extLst>
          </p:cNvPr>
          <p:cNvSpPr txBox="1">
            <a:spLocks/>
          </p:cNvSpPr>
          <p:nvPr/>
        </p:nvSpPr>
        <p:spPr bwMode="gray">
          <a:xfrm>
            <a:off x="1020124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A1615334-6FE5-4D56-BE3E-F44751C09D8E}"/>
              </a:ext>
            </a:extLst>
          </p:cNvPr>
          <p:cNvCxnSpPr>
            <a:cxnSpLocks/>
          </p:cNvCxnSpPr>
          <p:nvPr/>
        </p:nvCxnSpPr>
        <p:spPr bwMode="gray">
          <a:xfrm>
            <a:off x="9408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783489C0-F007-4282-A291-5149F06C7DA5}"/>
              </a:ext>
            </a:extLst>
          </p:cNvPr>
          <p:cNvGrpSpPr/>
          <p:nvPr/>
        </p:nvGrpSpPr>
        <p:grpSpPr bwMode="gray">
          <a:xfrm>
            <a:off x="3504000" y="5301000"/>
            <a:ext cx="576000" cy="720000"/>
            <a:chOff x="552000" y="5301000"/>
            <a:chExt cx="576000" cy="720000"/>
          </a:xfrm>
        </p:grpSpPr>
        <p:sp>
          <p:nvSpPr>
            <p:cNvPr id="161" name="Inhaltsplatzhalter 7">
              <a:extLst>
                <a:ext uri="{FF2B5EF4-FFF2-40B4-BE49-F238E27FC236}">
                  <a16:creationId xmlns:a16="http://schemas.microsoft.com/office/drawing/2014/main" id="{9854EBE7-9540-4F04-B3AC-9251123DCE2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62" name="Grafik 161">
              <a:extLst>
                <a:ext uri="{FF2B5EF4-FFF2-40B4-BE49-F238E27FC236}">
                  <a16:creationId xmlns:a16="http://schemas.microsoft.com/office/drawing/2014/main" id="{A1FF9E59-DE38-4456-9056-5CD28E916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A7079E13-B7EE-4C24-B2F6-52A16B1FE7EC}"/>
              </a:ext>
            </a:extLst>
          </p:cNvPr>
          <p:cNvGrpSpPr/>
          <p:nvPr/>
        </p:nvGrpSpPr>
        <p:grpSpPr bwMode="gray">
          <a:xfrm>
            <a:off x="3504000" y="4437000"/>
            <a:ext cx="576000" cy="720000"/>
            <a:chOff x="552000" y="4437000"/>
            <a:chExt cx="576000" cy="720000"/>
          </a:xfrm>
        </p:grpSpPr>
        <p:sp>
          <p:nvSpPr>
            <p:cNvPr id="164" name="Inhaltsplatzhalter 7">
              <a:extLst>
                <a:ext uri="{FF2B5EF4-FFF2-40B4-BE49-F238E27FC236}">
                  <a16:creationId xmlns:a16="http://schemas.microsoft.com/office/drawing/2014/main" id="{111F94AE-65D5-416F-9D3C-5EE5BDD2E6E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65" name="Grafik 164">
              <a:extLst>
                <a:ext uri="{FF2B5EF4-FFF2-40B4-BE49-F238E27FC236}">
                  <a16:creationId xmlns:a16="http://schemas.microsoft.com/office/drawing/2014/main" id="{822ECDF6-8E30-4610-BA8A-57E59D9CD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66" name="Gruppieren 165">
            <a:extLst>
              <a:ext uri="{FF2B5EF4-FFF2-40B4-BE49-F238E27FC236}">
                <a16:creationId xmlns:a16="http://schemas.microsoft.com/office/drawing/2014/main" id="{EC9653A9-30F2-4B5F-AADC-9C1554C1CB2D}"/>
              </a:ext>
            </a:extLst>
          </p:cNvPr>
          <p:cNvGrpSpPr/>
          <p:nvPr/>
        </p:nvGrpSpPr>
        <p:grpSpPr bwMode="gray">
          <a:xfrm>
            <a:off x="3504000" y="3573000"/>
            <a:ext cx="576000" cy="720000"/>
            <a:chOff x="552000" y="3573000"/>
            <a:chExt cx="576000" cy="720000"/>
          </a:xfrm>
        </p:grpSpPr>
        <p:sp>
          <p:nvSpPr>
            <p:cNvPr id="167" name="Inhaltsplatzhalter 7">
              <a:extLst>
                <a:ext uri="{FF2B5EF4-FFF2-40B4-BE49-F238E27FC236}">
                  <a16:creationId xmlns:a16="http://schemas.microsoft.com/office/drawing/2014/main" id="{27E53E81-47E5-467B-9938-6F79935F30A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68" name="Grafik 167">
              <a:extLst>
                <a:ext uri="{FF2B5EF4-FFF2-40B4-BE49-F238E27FC236}">
                  <a16:creationId xmlns:a16="http://schemas.microsoft.com/office/drawing/2014/main" id="{A785D941-8EF0-4832-BC6B-89EFA2724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69" name="Gruppieren 168">
            <a:extLst>
              <a:ext uri="{FF2B5EF4-FFF2-40B4-BE49-F238E27FC236}">
                <a16:creationId xmlns:a16="http://schemas.microsoft.com/office/drawing/2014/main" id="{D632C169-1981-4C8F-8144-4F8E4B138C1F}"/>
              </a:ext>
            </a:extLst>
          </p:cNvPr>
          <p:cNvGrpSpPr/>
          <p:nvPr/>
        </p:nvGrpSpPr>
        <p:grpSpPr bwMode="gray">
          <a:xfrm>
            <a:off x="6456000" y="5301000"/>
            <a:ext cx="576000" cy="720000"/>
            <a:chOff x="552000" y="5301000"/>
            <a:chExt cx="576000" cy="720000"/>
          </a:xfrm>
        </p:grpSpPr>
        <p:sp>
          <p:nvSpPr>
            <p:cNvPr id="170" name="Inhaltsplatzhalter 7">
              <a:extLst>
                <a:ext uri="{FF2B5EF4-FFF2-40B4-BE49-F238E27FC236}">
                  <a16:creationId xmlns:a16="http://schemas.microsoft.com/office/drawing/2014/main" id="{81E8FEC6-0D0F-434B-8C9B-C87BF5F867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1" name="Grafik 170">
              <a:extLst>
                <a:ext uri="{FF2B5EF4-FFF2-40B4-BE49-F238E27FC236}">
                  <a16:creationId xmlns:a16="http://schemas.microsoft.com/office/drawing/2014/main" id="{952EC86A-CB58-4F11-A9BD-B5624CD6F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2" name="Gruppieren 171">
            <a:extLst>
              <a:ext uri="{FF2B5EF4-FFF2-40B4-BE49-F238E27FC236}">
                <a16:creationId xmlns:a16="http://schemas.microsoft.com/office/drawing/2014/main" id="{C1E30ED0-CFC8-4CE6-9633-18A628A06008}"/>
              </a:ext>
            </a:extLst>
          </p:cNvPr>
          <p:cNvGrpSpPr/>
          <p:nvPr/>
        </p:nvGrpSpPr>
        <p:grpSpPr bwMode="gray">
          <a:xfrm>
            <a:off x="6456000" y="4437000"/>
            <a:ext cx="576000" cy="720000"/>
            <a:chOff x="552000" y="4437000"/>
            <a:chExt cx="576000" cy="720000"/>
          </a:xfrm>
        </p:grpSpPr>
        <p:sp>
          <p:nvSpPr>
            <p:cNvPr id="173" name="Inhaltsplatzhalter 7">
              <a:extLst>
                <a:ext uri="{FF2B5EF4-FFF2-40B4-BE49-F238E27FC236}">
                  <a16:creationId xmlns:a16="http://schemas.microsoft.com/office/drawing/2014/main" id="{C6E50B61-F1EB-4294-8615-226FAB824E9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4" name="Grafik 173">
              <a:extLst>
                <a:ext uri="{FF2B5EF4-FFF2-40B4-BE49-F238E27FC236}">
                  <a16:creationId xmlns:a16="http://schemas.microsoft.com/office/drawing/2014/main" id="{75E804BC-3B68-4502-BF13-78C853220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5" name="Gruppieren 174">
            <a:extLst>
              <a:ext uri="{FF2B5EF4-FFF2-40B4-BE49-F238E27FC236}">
                <a16:creationId xmlns:a16="http://schemas.microsoft.com/office/drawing/2014/main" id="{903D4897-B380-4FBF-BB62-043C3E6432B8}"/>
              </a:ext>
            </a:extLst>
          </p:cNvPr>
          <p:cNvGrpSpPr/>
          <p:nvPr/>
        </p:nvGrpSpPr>
        <p:grpSpPr bwMode="gray">
          <a:xfrm>
            <a:off x="6456000" y="3573000"/>
            <a:ext cx="576000" cy="720000"/>
            <a:chOff x="552000" y="3573000"/>
            <a:chExt cx="576000" cy="720000"/>
          </a:xfrm>
        </p:grpSpPr>
        <p:sp>
          <p:nvSpPr>
            <p:cNvPr id="176" name="Inhaltsplatzhalter 7">
              <a:extLst>
                <a:ext uri="{FF2B5EF4-FFF2-40B4-BE49-F238E27FC236}">
                  <a16:creationId xmlns:a16="http://schemas.microsoft.com/office/drawing/2014/main" id="{9D0AD7C6-BEB0-4E69-BB57-D5511C7BDE5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BC0EDD8C-6901-4BE3-80E4-072AAB7CD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8" name="Gruppieren 177">
            <a:extLst>
              <a:ext uri="{FF2B5EF4-FFF2-40B4-BE49-F238E27FC236}">
                <a16:creationId xmlns:a16="http://schemas.microsoft.com/office/drawing/2014/main" id="{49C39F48-668B-47C6-BEBD-8AD20259E0D2}"/>
              </a:ext>
            </a:extLst>
          </p:cNvPr>
          <p:cNvGrpSpPr/>
          <p:nvPr/>
        </p:nvGrpSpPr>
        <p:grpSpPr bwMode="gray">
          <a:xfrm>
            <a:off x="9408000" y="5301000"/>
            <a:ext cx="576000" cy="720000"/>
            <a:chOff x="552000" y="5301000"/>
            <a:chExt cx="576000" cy="720000"/>
          </a:xfrm>
        </p:grpSpPr>
        <p:sp>
          <p:nvSpPr>
            <p:cNvPr id="179" name="Inhaltsplatzhalter 7">
              <a:extLst>
                <a:ext uri="{FF2B5EF4-FFF2-40B4-BE49-F238E27FC236}">
                  <a16:creationId xmlns:a16="http://schemas.microsoft.com/office/drawing/2014/main" id="{AB1CEBA2-AFD5-4D06-8E16-629AB481F25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80" name="Grafik 179">
              <a:extLst>
                <a:ext uri="{FF2B5EF4-FFF2-40B4-BE49-F238E27FC236}">
                  <a16:creationId xmlns:a16="http://schemas.microsoft.com/office/drawing/2014/main" id="{1BBCF0F6-42ED-43C5-BE01-8BFC22235F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81" name="Gruppieren 180">
            <a:extLst>
              <a:ext uri="{FF2B5EF4-FFF2-40B4-BE49-F238E27FC236}">
                <a16:creationId xmlns:a16="http://schemas.microsoft.com/office/drawing/2014/main" id="{4943905D-A949-44A6-B78F-6A29C0866FB5}"/>
              </a:ext>
            </a:extLst>
          </p:cNvPr>
          <p:cNvGrpSpPr/>
          <p:nvPr/>
        </p:nvGrpSpPr>
        <p:grpSpPr bwMode="gray">
          <a:xfrm>
            <a:off x="9408000" y="4437000"/>
            <a:ext cx="576000" cy="720000"/>
            <a:chOff x="552000" y="4437000"/>
            <a:chExt cx="576000" cy="720000"/>
          </a:xfrm>
        </p:grpSpPr>
        <p:sp>
          <p:nvSpPr>
            <p:cNvPr id="182" name="Inhaltsplatzhalter 7">
              <a:extLst>
                <a:ext uri="{FF2B5EF4-FFF2-40B4-BE49-F238E27FC236}">
                  <a16:creationId xmlns:a16="http://schemas.microsoft.com/office/drawing/2014/main" id="{DF1E1174-E3A2-420C-82D0-C6AFBD5DD5D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83" name="Grafik 182">
              <a:extLst>
                <a:ext uri="{FF2B5EF4-FFF2-40B4-BE49-F238E27FC236}">
                  <a16:creationId xmlns:a16="http://schemas.microsoft.com/office/drawing/2014/main" id="{F0789E3A-BF8C-42F8-AE97-52863FD7E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774240F4-36DB-4D24-A82B-A2EB7A19E228}"/>
              </a:ext>
            </a:extLst>
          </p:cNvPr>
          <p:cNvGrpSpPr/>
          <p:nvPr/>
        </p:nvGrpSpPr>
        <p:grpSpPr bwMode="gray">
          <a:xfrm>
            <a:off x="9408000" y="3573000"/>
            <a:ext cx="576000" cy="720000"/>
            <a:chOff x="552000" y="3573000"/>
            <a:chExt cx="576000" cy="720000"/>
          </a:xfrm>
        </p:grpSpPr>
        <p:sp>
          <p:nvSpPr>
            <p:cNvPr id="185" name="Inhaltsplatzhalter 7">
              <a:extLst>
                <a:ext uri="{FF2B5EF4-FFF2-40B4-BE49-F238E27FC236}">
                  <a16:creationId xmlns:a16="http://schemas.microsoft.com/office/drawing/2014/main" id="{351AD535-5DB1-4C31-9823-820674C521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86" name="Grafik 185">
              <a:extLst>
                <a:ext uri="{FF2B5EF4-FFF2-40B4-BE49-F238E27FC236}">
                  <a16:creationId xmlns:a16="http://schemas.microsoft.com/office/drawing/2014/main" id="{F137F033-1F12-49B3-8CDD-943FB1F40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6241146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2A33193-00FF-4908-9EA0-2C2E1F667A2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2A33193-00FF-4908-9EA0-2C2E1F667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 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2649390"/>
      </p:ext>
    </p:extLst>
  </p:cSld>
  <p:clrMapOvr>
    <a:masterClrMapping/>
  </p:clrMapOvr>
  <p:transition spd="slow"/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2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rostokąt 11" hidden="1">
            <a:extLst>
              <a:ext uri="{FF2B5EF4-FFF2-40B4-BE49-F238E27FC236}">
                <a16:creationId xmlns:a16="http://schemas.microsoft.com/office/drawing/2014/main" id="{3D76B691-37E2-49DF-A1EA-6E9D95283C7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6946B472-71A6-4E3D-8C55-AB25B1601E5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01F3608-035B-4CBC-927F-16A7781E22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6" name="Datumsplatzhalter 5">
            <a:extLst>
              <a:ext uri="{FF2B5EF4-FFF2-40B4-BE49-F238E27FC236}">
                <a16:creationId xmlns:a16="http://schemas.microsoft.com/office/drawing/2014/main" id="{2A49E5A3-9295-452A-9D55-7F051D4F3909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984352" y="6550324"/>
            <a:ext cx="792000" cy="144000"/>
          </a:xfrm>
        </p:spPr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8" name="Fußzeilenplatzhalter 6">
            <a:extLst>
              <a:ext uri="{FF2B5EF4-FFF2-40B4-BE49-F238E27FC236}">
                <a16:creationId xmlns:a16="http://schemas.microsoft.com/office/drawing/2014/main" id="{CB5E0B84-B4CA-48EE-A9EC-23E9BC4A4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884396" y="6550324"/>
            <a:ext cx="7704000" cy="144000"/>
          </a:xfrm>
        </p:spPr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2" name="Foliennummernplatzhalter 15">
            <a:extLst>
              <a:ext uri="{FF2B5EF4-FFF2-40B4-BE49-F238E27FC236}">
                <a16:creationId xmlns:a16="http://schemas.microsoft.com/office/drawing/2014/main" id="{8FDBAF6A-9B1B-4DC3-9792-7EFE2FE277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551864" y="6550324"/>
            <a:ext cx="288000" cy="144000"/>
          </a:xfrm>
        </p:spPr>
        <p:txBody>
          <a:bodyPr/>
          <a:lstStyle/>
          <a:p>
            <a:fld id="{8FF9B0DE-3FEB-4AA0-B465-B80EF7C1333D}" type="slidenum">
              <a:rPr lang="en-US" smtClean="0"/>
              <a:pPr/>
              <a:t>110</a:t>
            </a:fld>
            <a:endParaRPr lang="en-US" dirty="0"/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17524736-274D-4A0E-895B-E74DEC3A189B}"/>
              </a:ext>
            </a:extLst>
          </p:cNvPr>
          <p:cNvCxnSpPr>
            <a:cxnSpLocks/>
          </p:cNvCxnSpPr>
          <p:nvPr/>
        </p:nvCxnSpPr>
        <p:spPr bwMode="gray">
          <a:xfrm>
            <a:off x="6131719" y="2421000"/>
            <a:ext cx="0" cy="216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627699D6-BECB-4B9E-B6DE-6E8EB82F9132}"/>
              </a:ext>
            </a:extLst>
          </p:cNvPr>
          <p:cNvGrpSpPr/>
          <p:nvPr/>
        </p:nvGrpSpPr>
        <p:grpSpPr bwMode="gray">
          <a:xfrm>
            <a:off x="552000" y="5301000"/>
            <a:ext cx="576000" cy="720000"/>
            <a:chOff x="552000" y="5301000"/>
            <a:chExt cx="576000" cy="720000"/>
          </a:xfrm>
        </p:grpSpPr>
        <p:sp>
          <p:nvSpPr>
            <p:cNvPr id="68" name="Inhaltsplatzhalter 7">
              <a:extLst>
                <a:ext uri="{FF2B5EF4-FFF2-40B4-BE49-F238E27FC236}">
                  <a16:creationId xmlns:a16="http://schemas.microsoft.com/office/drawing/2014/main" id="{D9910125-81A1-470F-B43A-29C57D50F8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E7305142-DD69-440F-B989-179EB66F9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6117036F-E050-469A-9F3C-B0E55E25F270}"/>
              </a:ext>
            </a:extLst>
          </p:cNvPr>
          <p:cNvGrpSpPr/>
          <p:nvPr/>
        </p:nvGrpSpPr>
        <p:grpSpPr bwMode="gray">
          <a:xfrm>
            <a:off x="552000" y="4437000"/>
            <a:ext cx="576000" cy="720000"/>
            <a:chOff x="552000" y="4437000"/>
            <a:chExt cx="576000" cy="720000"/>
          </a:xfrm>
        </p:grpSpPr>
        <p:sp>
          <p:nvSpPr>
            <p:cNvPr id="72" name="Inhaltsplatzhalter 7">
              <a:extLst>
                <a:ext uri="{FF2B5EF4-FFF2-40B4-BE49-F238E27FC236}">
                  <a16:creationId xmlns:a16="http://schemas.microsoft.com/office/drawing/2014/main" id="{D944DEC6-FBFF-45D5-945F-D303115EB85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6D86F5EB-78AF-4D05-9502-155B99760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8BDA3BB4-B0EB-4E5C-9683-47B90FFC4ED8}"/>
              </a:ext>
            </a:extLst>
          </p:cNvPr>
          <p:cNvGrpSpPr/>
          <p:nvPr/>
        </p:nvGrpSpPr>
        <p:grpSpPr bwMode="gray">
          <a:xfrm>
            <a:off x="552000" y="3573000"/>
            <a:ext cx="576000" cy="720000"/>
            <a:chOff x="552000" y="3573000"/>
            <a:chExt cx="576000" cy="720000"/>
          </a:xfrm>
        </p:grpSpPr>
        <p:sp>
          <p:nvSpPr>
            <p:cNvPr id="75" name="Inhaltsplatzhalter 7">
              <a:extLst>
                <a:ext uri="{FF2B5EF4-FFF2-40B4-BE49-F238E27FC236}">
                  <a16:creationId xmlns:a16="http://schemas.microsoft.com/office/drawing/2014/main" id="{9D7FCD74-3BDF-438A-A063-F1F43A1E8AF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76" name="Grafik 75">
              <a:extLst>
                <a:ext uri="{FF2B5EF4-FFF2-40B4-BE49-F238E27FC236}">
                  <a16:creationId xmlns:a16="http://schemas.microsoft.com/office/drawing/2014/main" id="{CF0F917B-416B-4B30-90F1-BC27DE357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77" name="Inhaltsplatzhalter 7">
            <a:extLst>
              <a:ext uri="{FF2B5EF4-FFF2-40B4-BE49-F238E27FC236}">
                <a16:creationId xmlns:a16="http://schemas.microsoft.com/office/drawing/2014/main" id="{8C61012D-42BE-4FB1-9272-87B30BA29AB4}"/>
              </a:ext>
            </a:extLst>
          </p:cNvPr>
          <p:cNvSpPr txBox="1">
            <a:spLocks/>
          </p:cNvSpPr>
          <p:nvPr/>
        </p:nvSpPr>
        <p:spPr bwMode="gray">
          <a:xfrm>
            <a:off x="5088000" y="1700808"/>
            <a:ext cx="2664000" cy="72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180BC27A-0261-467D-A7E8-D21CFCB372A0}"/>
              </a:ext>
            </a:extLst>
          </p:cNvPr>
          <p:cNvGrpSpPr/>
          <p:nvPr/>
        </p:nvGrpSpPr>
        <p:grpSpPr bwMode="gray">
          <a:xfrm>
            <a:off x="4511675" y="1700808"/>
            <a:ext cx="576000" cy="720000"/>
            <a:chOff x="4511675" y="1700808"/>
            <a:chExt cx="576000" cy="720000"/>
          </a:xfrm>
        </p:grpSpPr>
        <p:sp>
          <p:nvSpPr>
            <p:cNvPr id="79" name="Inhaltsplatzhalter 7">
              <a:extLst>
                <a:ext uri="{FF2B5EF4-FFF2-40B4-BE49-F238E27FC236}">
                  <a16:creationId xmlns:a16="http://schemas.microsoft.com/office/drawing/2014/main" id="{4E3A1811-BBB8-4CF2-B4EC-AF8AF2D30F9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11675" y="1700808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47611D10-B102-4622-AE3F-E10350884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75133" y="1772808"/>
              <a:ext cx="449084" cy="576000"/>
            </a:xfrm>
            <a:prstGeom prst="rect">
              <a:avLst/>
            </a:prstGeom>
          </p:spPr>
        </p:pic>
      </p:grpSp>
      <p:sp>
        <p:nvSpPr>
          <p:cNvPr id="88" name="Inhaltsplatzhalter 7">
            <a:extLst>
              <a:ext uri="{FF2B5EF4-FFF2-40B4-BE49-F238E27FC236}">
                <a16:creationId xmlns:a16="http://schemas.microsoft.com/office/drawing/2014/main" id="{663E15F8-7145-49CE-89AF-BB33518749AC}"/>
              </a:ext>
            </a:extLst>
          </p:cNvPr>
          <p:cNvSpPr txBox="1">
            <a:spLocks/>
          </p:cNvSpPr>
          <p:nvPr/>
        </p:nvSpPr>
        <p:spPr bwMode="gray">
          <a:xfrm>
            <a:off x="1345239" y="35728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5638001E-A6A4-46C1-A74E-28CB6C2E3FC4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Inhaltsplatzhalter 7">
            <a:extLst>
              <a:ext uri="{FF2B5EF4-FFF2-40B4-BE49-F238E27FC236}">
                <a16:creationId xmlns:a16="http://schemas.microsoft.com/office/drawing/2014/main" id="{47B0BCA3-C4CE-4469-AD04-2DFCB0A52A89}"/>
              </a:ext>
            </a:extLst>
          </p:cNvPr>
          <p:cNvSpPr txBox="1">
            <a:spLocks/>
          </p:cNvSpPr>
          <p:nvPr/>
        </p:nvSpPr>
        <p:spPr bwMode="gray">
          <a:xfrm>
            <a:off x="1343999" y="4437672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DDF51710-D044-4AEE-A426-883B2AA306C4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Inhaltsplatzhalter 7">
            <a:extLst>
              <a:ext uri="{FF2B5EF4-FFF2-40B4-BE49-F238E27FC236}">
                <a16:creationId xmlns:a16="http://schemas.microsoft.com/office/drawing/2014/main" id="{DC7536A5-322A-46FD-9A0E-B049D50870ED}"/>
              </a:ext>
            </a:extLst>
          </p:cNvPr>
          <p:cNvSpPr txBox="1">
            <a:spLocks/>
          </p:cNvSpPr>
          <p:nvPr/>
        </p:nvSpPr>
        <p:spPr bwMode="gray">
          <a:xfrm>
            <a:off x="1343999" y="53010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6A9FACEE-0FD5-4960-9672-A1EE39F19042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Inhaltsplatzhalter 7">
            <a:extLst>
              <a:ext uri="{FF2B5EF4-FFF2-40B4-BE49-F238E27FC236}">
                <a16:creationId xmlns:a16="http://schemas.microsoft.com/office/drawing/2014/main" id="{318CE64F-E044-4703-AAC0-C53D3676F98C}"/>
              </a:ext>
            </a:extLst>
          </p:cNvPr>
          <p:cNvSpPr txBox="1">
            <a:spLocks/>
          </p:cNvSpPr>
          <p:nvPr/>
        </p:nvSpPr>
        <p:spPr bwMode="gray">
          <a:xfrm>
            <a:off x="5304615" y="3572904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75183380-A547-414C-BD2D-A10D625C2443}"/>
              </a:ext>
            </a:extLst>
          </p:cNvPr>
          <p:cNvCxnSpPr>
            <a:cxnSpLocks/>
          </p:cNvCxnSpPr>
          <p:nvPr/>
        </p:nvCxnSpPr>
        <p:spPr bwMode="gray">
          <a:xfrm>
            <a:off x="4512000" y="3501104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nhaltsplatzhalter 7">
            <a:extLst>
              <a:ext uri="{FF2B5EF4-FFF2-40B4-BE49-F238E27FC236}">
                <a16:creationId xmlns:a16="http://schemas.microsoft.com/office/drawing/2014/main" id="{8E122A27-0D77-4973-BA04-987415AFD6A7}"/>
              </a:ext>
            </a:extLst>
          </p:cNvPr>
          <p:cNvSpPr txBox="1">
            <a:spLocks/>
          </p:cNvSpPr>
          <p:nvPr/>
        </p:nvSpPr>
        <p:spPr bwMode="gray">
          <a:xfrm>
            <a:off x="5304615" y="4437672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AF4DF609-5181-4C65-BE21-3D63B1EA965D}"/>
              </a:ext>
            </a:extLst>
          </p:cNvPr>
          <p:cNvCxnSpPr>
            <a:cxnSpLocks/>
          </p:cNvCxnSpPr>
          <p:nvPr/>
        </p:nvCxnSpPr>
        <p:spPr bwMode="gray">
          <a:xfrm>
            <a:off x="4512000" y="4365872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Inhaltsplatzhalter 7">
            <a:extLst>
              <a:ext uri="{FF2B5EF4-FFF2-40B4-BE49-F238E27FC236}">
                <a16:creationId xmlns:a16="http://schemas.microsoft.com/office/drawing/2014/main" id="{8D5212DD-36E9-4CFA-949B-1408EEA9D363}"/>
              </a:ext>
            </a:extLst>
          </p:cNvPr>
          <p:cNvSpPr txBox="1">
            <a:spLocks/>
          </p:cNvSpPr>
          <p:nvPr/>
        </p:nvSpPr>
        <p:spPr bwMode="gray">
          <a:xfrm>
            <a:off x="5304615" y="5301000"/>
            <a:ext cx="2447147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5C2006-2602-40AE-9345-9F150AEAC1D1}"/>
              </a:ext>
            </a:extLst>
          </p:cNvPr>
          <p:cNvCxnSpPr>
            <a:cxnSpLocks/>
          </p:cNvCxnSpPr>
          <p:nvPr/>
        </p:nvCxnSpPr>
        <p:spPr bwMode="gray">
          <a:xfrm>
            <a:off x="4512000" y="5229200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Inhaltsplatzhalter 7">
            <a:extLst>
              <a:ext uri="{FF2B5EF4-FFF2-40B4-BE49-F238E27FC236}">
                <a16:creationId xmlns:a16="http://schemas.microsoft.com/office/drawing/2014/main" id="{B3261A7E-7D31-48A0-9973-BE68426C446E}"/>
              </a:ext>
            </a:extLst>
          </p:cNvPr>
          <p:cNvSpPr txBox="1">
            <a:spLocks/>
          </p:cNvSpPr>
          <p:nvPr/>
        </p:nvSpPr>
        <p:spPr bwMode="gray">
          <a:xfrm>
            <a:off x="9193239" y="3572904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871AD273-ADBE-4475-B49C-70F59B4D7019}"/>
              </a:ext>
            </a:extLst>
          </p:cNvPr>
          <p:cNvCxnSpPr>
            <a:cxnSpLocks/>
          </p:cNvCxnSpPr>
          <p:nvPr/>
        </p:nvCxnSpPr>
        <p:spPr bwMode="gray">
          <a:xfrm>
            <a:off x="8400624" y="3501104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Inhaltsplatzhalter 7">
            <a:extLst>
              <a:ext uri="{FF2B5EF4-FFF2-40B4-BE49-F238E27FC236}">
                <a16:creationId xmlns:a16="http://schemas.microsoft.com/office/drawing/2014/main" id="{785002FA-BDD7-46F8-9E4B-20D726E268DE}"/>
              </a:ext>
            </a:extLst>
          </p:cNvPr>
          <p:cNvSpPr txBox="1">
            <a:spLocks/>
          </p:cNvSpPr>
          <p:nvPr/>
        </p:nvSpPr>
        <p:spPr bwMode="gray">
          <a:xfrm>
            <a:off x="9193239" y="4437672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89B44C88-9309-4415-AC9F-F79AFD79C7E5}"/>
              </a:ext>
            </a:extLst>
          </p:cNvPr>
          <p:cNvCxnSpPr>
            <a:cxnSpLocks/>
          </p:cNvCxnSpPr>
          <p:nvPr/>
        </p:nvCxnSpPr>
        <p:spPr bwMode="gray">
          <a:xfrm>
            <a:off x="8400624" y="4365872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Inhaltsplatzhalter 7">
            <a:extLst>
              <a:ext uri="{FF2B5EF4-FFF2-40B4-BE49-F238E27FC236}">
                <a16:creationId xmlns:a16="http://schemas.microsoft.com/office/drawing/2014/main" id="{A31F4E44-1608-4757-8007-C1C0A405CFCB}"/>
              </a:ext>
            </a:extLst>
          </p:cNvPr>
          <p:cNvSpPr txBox="1">
            <a:spLocks/>
          </p:cNvSpPr>
          <p:nvPr/>
        </p:nvSpPr>
        <p:spPr bwMode="gray">
          <a:xfrm>
            <a:off x="9193239" y="5301000"/>
            <a:ext cx="2519335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54388BB-1992-4996-9BB0-C26DD56148F9}"/>
              </a:ext>
            </a:extLst>
          </p:cNvPr>
          <p:cNvCxnSpPr>
            <a:cxnSpLocks/>
          </p:cNvCxnSpPr>
          <p:nvPr/>
        </p:nvCxnSpPr>
        <p:spPr bwMode="gray">
          <a:xfrm>
            <a:off x="8400624" y="5229200"/>
            <a:ext cx="331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5E5196B7-1137-40E2-85FD-C95D6DA8FAEF}"/>
              </a:ext>
            </a:extLst>
          </p:cNvPr>
          <p:cNvGrpSpPr/>
          <p:nvPr/>
        </p:nvGrpSpPr>
        <p:grpSpPr bwMode="gray">
          <a:xfrm>
            <a:off x="4512288" y="5301000"/>
            <a:ext cx="576000" cy="720000"/>
            <a:chOff x="552000" y="5301000"/>
            <a:chExt cx="576000" cy="720000"/>
          </a:xfrm>
        </p:grpSpPr>
        <p:sp>
          <p:nvSpPr>
            <p:cNvPr id="107" name="Inhaltsplatzhalter 7">
              <a:extLst>
                <a:ext uri="{FF2B5EF4-FFF2-40B4-BE49-F238E27FC236}">
                  <a16:creationId xmlns:a16="http://schemas.microsoft.com/office/drawing/2014/main" id="{4CF3651F-DC45-42EA-B33A-5C784A47C0A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08" name="Grafik 107">
              <a:extLst>
                <a:ext uri="{FF2B5EF4-FFF2-40B4-BE49-F238E27FC236}">
                  <a16:creationId xmlns:a16="http://schemas.microsoft.com/office/drawing/2014/main" id="{826373AB-0AF1-4326-B342-2E9F0A91C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3AE15739-D3A4-4CBD-BD43-A72B48BCBA31}"/>
              </a:ext>
            </a:extLst>
          </p:cNvPr>
          <p:cNvGrpSpPr/>
          <p:nvPr/>
        </p:nvGrpSpPr>
        <p:grpSpPr bwMode="gray">
          <a:xfrm>
            <a:off x="4512288" y="4437000"/>
            <a:ext cx="576000" cy="720000"/>
            <a:chOff x="552000" y="4437000"/>
            <a:chExt cx="576000" cy="720000"/>
          </a:xfrm>
        </p:grpSpPr>
        <p:sp>
          <p:nvSpPr>
            <p:cNvPr id="110" name="Inhaltsplatzhalter 7">
              <a:extLst>
                <a:ext uri="{FF2B5EF4-FFF2-40B4-BE49-F238E27FC236}">
                  <a16:creationId xmlns:a16="http://schemas.microsoft.com/office/drawing/2014/main" id="{F2AB1EF6-2759-475E-9480-1304B27B4A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11" name="Grafik 110">
              <a:extLst>
                <a:ext uri="{FF2B5EF4-FFF2-40B4-BE49-F238E27FC236}">
                  <a16:creationId xmlns:a16="http://schemas.microsoft.com/office/drawing/2014/main" id="{1E5FD954-02EC-4FBF-997C-9FE36FA72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72FB1B46-D54D-4A80-932E-5528D5018D6D}"/>
              </a:ext>
            </a:extLst>
          </p:cNvPr>
          <p:cNvGrpSpPr/>
          <p:nvPr/>
        </p:nvGrpSpPr>
        <p:grpSpPr bwMode="gray">
          <a:xfrm>
            <a:off x="4512288" y="3573000"/>
            <a:ext cx="576000" cy="720000"/>
            <a:chOff x="552000" y="3573000"/>
            <a:chExt cx="576000" cy="720000"/>
          </a:xfrm>
        </p:grpSpPr>
        <p:sp>
          <p:nvSpPr>
            <p:cNvPr id="113" name="Inhaltsplatzhalter 7">
              <a:extLst>
                <a:ext uri="{FF2B5EF4-FFF2-40B4-BE49-F238E27FC236}">
                  <a16:creationId xmlns:a16="http://schemas.microsoft.com/office/drawing/2014/main" id="{214C02FC-5167-4764-B54C-ED01A907BED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6B294E60-6005-4AC4-90B4-BFD45E607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9192368F-5BE6-460D-ABEE-34E3E6FEF57D}"/>
              </a:ext>
            </a:extLst>
          </p:cNvPr>
          <p:cNvGrpSpPr/>
          <p:nvPr/>
        </p:nvGrpSpPr>
        <p:grpSpPr bwMode="gray">
          <a:xfrm>
            <a:off x="8400000" y="5301000"/>
            <a:ext cx="576000" cy="720000"/>
            <a:chOff x="552000" y="5301000"/>
            <a:chExt cx="576000" cy="720000"/>
          </a:xfrm>
        </p:grpSpPr>
        <p:sp>
          <p:nvSpPr>
            <p:cNvPr id="116" name="Inhaltsplatzhalter 7">
              <a:extLst>
                <a:ext uri="{FF2B5EF4-FFF2-40B4-BE49-F238E27FC236}">
                  <a16:creationId xmlns:a16="http://schemas.microsoft.com/office/drawing/2014/main" id="{ACDB5A15-4534-487B-B27C-36AC12592BD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17" name="Grafik 116">
              <a:extLst>
                <a:ext uri="{FF2B5EF4-FFF2-40B4-BE49-F238E27FC236}">
                  <a16:creationId xmlns:a16="http://schemas.microsoft.com/office/drawing/2014/main" id="{F3434940-4443-45D3-84F2-426336EA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C9F4BC4B-37AD-4CB4-908C-BAB27360A7F3}"/>
              </a:ext>
            </a:extLst>
          </p:cNvPr>
          <p:cNvGrpSpPr/>
          <p:nvPr/>
        </p:nvGrpSpPr>
        <p:grpSpPr bwMode="gray">
          <a:xfrm>
            <a:off x="8400000" y="4437000"/>
            <a:ext cx="576000" cy="720000"/>
            <a:chOff x="552000" y="4437000"/>
            <a:chExt cx="576000" cy="720000"/>
          </a:xfrm>
        </p:grpSpPr>
        <p:sp>
          <p:nvSpPr>
            <p:cNvPr id="119" name="Inhaltsplatzhalter 7">
              <a:extLst>
                <a:ext uri="{FF2B5EF4-FFF2-40B4-BE49-F238E27FC236}">
                  <a16:creationId xmlns:a16="http://schemas.microsoft.com/office/drawing/2014/main" id="{C35DED46-0542-44E8-B081-318E715CE73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20" name="Grafik 119">
              <a:extLst>
                <a:ext uri="{FF2B5EF4-FFF2-40B4-BE49-F238E27FC236}">
                  <a16:creationId xmlns:a16="http://schemas.microsoft.com/office/drawing/2014/main" id="{00264B5C-3044-4FA1-B0A9-A4FBA9D5DE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33D7A30-97DD-46A0-BA8E-74CEB723AB21}"/>
              </a:ext>
            </a:extLst>
          </p:cNvPr>
          <p:cNvGrpSpPr/>
          <p:nvPr/>
        </p:nvGrpSpPr>
        <p:grpSpPr bwMode="gray">
          <a:xfrm>
            <a:off x="8400000" y="3573000"/>
            <a:ext cx="576000" cy="720000"/>
            <a:chOff x="552000" y="3573000"/>
            <a:chExt cx="576000" cy="720000"/>
          </a:xfrm>
        </p:grpSpPr>
        <p:sp>
          <p:nvSpPr>
            <p:cNvPr id="122" name="Inhaltsplatzhalter 7">
              <a:extLst>
                <a:ext uri="{FF2B5EF4-FFF2-40B4-BE49-F238E27FC236}">
                  <a16:creationId xmlns:a16="http://schemas.microsoft.com/office/drawing/2014/main" id="{63FECDCC-ECA0-48DB-B4AD-0480559147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D2C58934-7CBE-4EC6-9A82-4A4E272C5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124" name="Inhaltsplatzhalter 7">
            <a:extLst>
              <a:ext uri="{FF2B5EF4-FFF2-40B4-BE49-F238E27FC236}">
                <a16:creationId xmlns:a16="http://schemas.microsoft.com/office/drawing/2014/main" id="{CAFE1C97-E1EA-440F-8264-00E7EBECDBD9}"/>
              </a:ext>
            </a:extLst>
          </p:cNvPr>
          <p:cNvSpPr txBox="1">
            <a:spLocks/>
          </p:cNvSpPr>
          <p:nvPr/>
        </p:nvSpPr>
        <p:spPr bwMode="gray">
          <a:xfrm>
            <a:off x="5088000" y="2637000"/>
            <a:ext cx="2664000" cy="720000"/>
          </a:xfrm>
          <a:prstGeom prst="rect">
            <a:avLst/>
          </a:prstGeom>
          <a:solidFill>
            <a:schemeClr val="accent1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CEAFF822-92E4-4276-B768-D03810121BAE}"/>
              </a:ext>
            </a:extLst>
          </p:cNvPr>
          <p:cNvGrpSpPr/>
          <p:nvPr/>
        </p:nvGrpSpPr>
        <p:grpSpPr bwMode="gray">
          <a:xfrm>
            <a:off x="4511998" y="2637000"/>
            <a:ext cx="576000" cy="720000"/>
            <a:chOff x="6455675" y="2637000"/>
            <a:chExt cx="576000" cy="720000"/>
          </a:xfrm>
        </p:grpSpPr>
        <p:sp>
          <p:nvSpPr>
            <p:cNvPr id="126" name="Inhaltsplatzhalter 7">
              <a:extLst>
                <a:ext uri="{FF2B5EF4-FFF2-40B4-BE49-F238E27FC236}">
                  <a16:creationId xmlns:a16="http://schemas.microsoft.com/office/drawing/2014/main" id="{50DDA60B-4A8A-422E-BDF7-4A57FF9A6D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55675" y="26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27" name="Grafik 126">
              <a:extLst>
                <a:ext uri="{FF2B5EF4-FFF2-40B4-BE49-F238E27FC236}">
                  <a16:creationId xmlns:a16="http://schemas.microsoft.com/office/drawing/2014/main" id="{481770E6-9D81-452D-B7B9-C568B6EEB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19133" y="2709000"/>
              <a:ext cx="449084" cy="576000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5334502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0" name="Objekt 6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rostokąt 11" hidden="1">
            <a:extLst>
              <a:ext uri="{FF2B5EF4-FFF2-40B4-BE49-F238E27FC236}">
                <a16:creationId xmlns:a16="http://schemas.microsoft.com/office/drawing/2014/main" id="{3D76B691-37E2-49DF-A1EA-6E9D95283C7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6946B472-71A6-4E3D-8C55-AB25B1601E5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/>
          <a:p>
            <a:r>
              <a:rPr lang="en-US" dirty="0" err="1" smtClean="0"/>
              <a:t>Organisation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0052F9F-9B8E-473B-BEC0-CA5B91BB76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9" name="Datumsplatzhalter 5">
            <a:extLst>
              <a:ext uri="{FF2B5EF4-FFF2-40B4-BE49-F238E27FC236}">
                <a16:creationId xmlns:a16="http://schemas.microsoft.com/office/drawing/2014/main" id="{C5784642-91B5-4117-9196-C57FFD058AC6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984352" y="6550324"/>
            <a:ext cx="792000" cy="144000"/>
          </a:xfrm>
        </p:spPr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3" name="Fußzeilenplatzhalter 6">
            <a:extLst>
              <a:ext uri="{FF2B5EF4-FFF2-40B4-BE49-F238E27FC236}">
                <a16:creationId xmlns:a16="http://schemas.microsoft.com/office/drawing/2014/main" id="{A7D6FE7C-DB59-40A4-BAC2-AE48FF5506C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884396" y="6550324"/>
            <a:ext cx="7704000" cy="144000"/>
          </a:xfrm>
        </p:spPr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7" name="Foliennummernplatzhalter 15">
            <a:extLst>
              <a:ext uri="{FF2B5EF4-FFF2-40B4-BE49-F238E27FC236}">
                <a16:creationId xmlns:a16="http://schemas.microsoft.com/office/drawing/2014/main" id="{52606008-1A3A-4393-ABCD-10D91E953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551864" y="6550324"/>
            <a:ext cx="288000" cy="144000"/>
          </a:xfrm>
        </p:spPr>
        <p:txBody>
          <a:bodyPr/>
          <a:lstStyle/>
          <a:p>
            <a:fld id="{8FF9B0DE-3FEB-4AA0-B465-B80EF7C1333D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81" name="Inhaltsplatzhalter 7">
            <a:extLst>
              <a:ext uri="{FF2B5EF4-FFF2-40B4-BE49-F238E27FC236}">
                <a16:creationId xmlns:a16="http://schemas.microsoft.com/office/drawing/2014/main" id="{D46DAB0B-AC19-411E-BE4A-2C9438599FE7}"/>
              </a:ext>
            </a:extLst>
          </p:cNvPr>
          <p:cNvSpPr txBox="1">
            <a:spLocks/>
          </p:cNvSpPr>
          <p:nvPr/>
        </p:nvSpPr>
        <p:spPr bwMode="gray">
          <a:xfrm>
            <a:off x="5088000" y="1700808"/>
            <a:ext cx="2664000" cy="720000"/>
          </a:xfrm>
          <a:prstGeom prst="rect">
            <a:avLst/>
          </a:prstGeom>
          <a:solidFill>
            <a:schemeClr val="bg2"/>
          </a:solidFill>
        </p:spPr>
        <p:txBody>
          <a:bodyPr lIns="216000" tIns="108000" rIns="21600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&lt;Job title&gt;</a:t>
            </a:r>
            <a:endParaRPr lang="en-US" sz="1400" dirty="0"/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5A66EB9A-F8E3-43FB-AE80-507CBAF030ED}"/>
              </a:ext>
            </a:extLst>
          </p:cNvPr>
          <p:cNvGrpSpPr/>
          <p:nvPr/>
        </p:nvGrpSpPr>
        <p:grpSpPr bwMode="gray">
          <a:xfrm>
            <a:off x="4511675" y="1700808"/>
            <a:ext cx="576000" cy="720000"/>
            <a:chOff x="4511675" y="1700808"/>
            <a:chExt cx="576000" cy="720000"/>
          </a:xfrm>
        </p:grpSpPr>
        <p:sp>
          <p:nvSpPr>
            <p:cNvPr id="85" name="Inhaltsplatzhalter 7">
              <a:extLst>
                <a:ext uri="{FF2B5EF4-FFF2-40B4-BE49-F238E27FC236}">
                  <a16:creationId xmlns:a16="http://schemas.microsoft.com/office/drawing/2014/main" id="{D748418B-B679-4139-80FC-4728C01CFC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11675" y="1700808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86" name="Grafik 85">
              <a:extLst>
                <a:ext uri="{FF2B5EF4-FFF2-40B4-BE49-F238E27FC236}">
                  <a16:creationId xmlns:a16="http://schemas.microsoft.com/office/drawing/2014/main" id="{ABC420DD-9C2D-4FD8-B17A-1818953A6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75133" y="1772808"/>
              <a:ext cx="449084" cy="576000"/>
            </a:xfrm>
            <a:prstGeom prst="rect">
              <a:avLst/>
            </a:prstGeom>
          </p:spPr>
        </p:pic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EB9D79A2-A72A-4430-A567-1A2243C2A47E}"/>
              </a:ext>
            </a:extLst>
          </p:cNvPr>
          <p:cNvGrpSpPr/>
          <p:nvPr/>
        </p:nvGrpSpPr>
        <p:grpSpPr bwMode="gray">
          <a:xfrm>
            <a:off x="552000" y="5301000"/>
            <a:ext cx="576000" cy="720000"/>
            <a:chOff x="552000" y="5301000"/>
            <a:chExt cx="576000" cy="720000"/>
          </a:xfrm>
        </p:grpSpPr>
        <p:sp>
          <p:nvSpPr>
            <p:cNvPr id="92" name="Inhaltsplatzhalter 7">
              <a:extLst>
                <a:ext uri="{FF2B5EF4-FFF2-40B4-BE49-F238E27FC236}">
                  <a16:creationId xmlns:a16="http://schemas.microsoft.com/office/drawing/2014/main" id="{49FE50CF-7DBB-424A-B4D9-EE64C0E079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613D7C4D-D2AC-44E4-9F3A-767A69B6C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6ED59808-B697-4540-B58F-1E1BA6CD7635}"/>
              </a:ext>
            </a:extLst>
          </p:cNvPr>
          <p:cNvGrpSpPr/>
          <p:nvPr/>
        </p:nvGrpSpPr>
        <p:grpSpPr bwMode="gray">
          <a:xfrm>
            <a:off x="552000" y="4437000"/>
            <a:ext cx="576000" cy="720000"/>
            <a:chOff x="552000" y="4437000"/>
            <a:chExt cx="576000" cy="720000"/>
          </a:xfrm>
        </p:grpSpPr>
        <p:sp>
          <p:nvSpPr>
            <p:cNvPr id="97" name="Inhaltsplatzhalter 7">
              <a:extLst>
                <a:ext uri="{FF2B5EF4-FFF2-40B4-BE49-F238E27FC236}">
                  <a16:creationId xmlns:a16="http://schemas.microsoft.com/office/drawing/2014/main" id="{EBCF924A-4611-41D3-AEFF-A3C0A7EC406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165F54FE-4705-41E4-B68A-82F4E90DA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0063F489-F876-442F-993A-1D9EB0149D45}"/>
              </a:ext>
            </a:extLst>
          </p:cNvPr>
          <p:cNvGrpSpPr/>
          <p:nvPr/>
        </p:nvGrpSpPr>
        <p:grpSpPr bwMode="gray">
          <a:xfrm>
            <a:off x="552000" y="3573000"/>
            <a:ext cx="576000" cy="720000"/>
            <a:chOff x="552000" y="3573000"/>
            <a:chExt cx="576000" cy="720000"/>
          </a:xfrm>
        </p:grpSpPr>
        <p:sp>
          <p:nvSpPr>
            <p:cNvPr id="100" name="Inhaltsplatzhalter 7">
              <a:extLst>
                <a:ext uri="{FF2B5EF4-FFF2-40B4-BE49-F238E27FC236}">
                  <a16:creationId xmlns:a16="http://schemas.microsoft.com/office/drawing/2014/main" id="{400F7F77-D6DC-4D61-9B5A-1FB07659D95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01" name="Grafik 100">
              <a:extLst>
                <a:ext uri="{FF2B5EF4-FFF2-40B4-BE49-F238E27FC236}">
                  <a16:creationId xmlns:a16="http://schemas.microsoft.com/office/drawing/2014/main" id="{009C3324-B832-461D-B605-4667FF40F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102" name="Inhaltsplatzhalter 7">
            <a:extLst>
              <a:ext uri="{FF2B5EF4-FFF2-40B4-BE49-F238E27FC236}">
                <a16:creationId xmlns:a16="http://schemas.microsoft.com/office/drawing/2014/main" id="{BFF92FE0-C3FF-42E1-B63E-65A296FF7717}"/>
              </a:ext>
            </a:extLst>
          </p:cNvPr>
          <p:cNvSpPr txBox="1">
            <a:spLocks/>
          </p:cNvSpPr>
          <p:nvPr/>
        </p:nvSpPr>
        <p:spPr bwMode="gray">
          <a:xfrm>
            <a:off x="1345240" y="35730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03" name="Inhaltsplatzhalter 7">
            <a:extLst>
              <a:ext uri="{FF2B5EF4-FFF2-40B4-BE49-F238E27FC236}">
                <a16:creationId xmlns:a16="http://schemas.microsoft.com/office/drawing/2014/main" id="{68F1CFDB-A52E-448E-9D3E-39D747A6709D}"/>
              </a:ext>
            </a:extLst>
          </p:cNvPr>
          <p:cNvSpPr txBox="1">
            <a:spLocks/>
          </p:cNvSpPr>
          <p:nvPr/>
        </p:nvSpPr>
        <p:spPr bwMode="gray">
          <a:xfrm>
            <a:off x="7249240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CDC76678-E238-4501-A001-4491DEA6C3D1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ACF91B5B-8D27-4195-ACB6-9C3D993B97D2}"/>
              </a:ext>
            </a:extLst>
          </p:cNvPr>
          <p:cNvCxnSpPr>
            <a:cxnSpLocks/>
          </p:cNvCxnSpPr>
          <p:nvPr/>
        </p:nvCxnSpPr>
        <p:spPr bwMode="gray">
          <a:xfrm>
            <a:off x="6456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Inhaltsplatzhalter 7">
            <a:extLst>
              <a:ext uri="{FF2B5EF4-FFF2-40B4-BE49-F238E27FC236}">
                <a16:creationId xmlns:a16="http://schemas.microsoft.com/office/drawing/2014/main" id="{902565C6-2616-4A53-8F29-A8A773CE7531}"/>
              </a:ext>
            </a:extLst>
          </p:cNvPr>
          <p:cNvSpPr txBox="1">
            <a:spLocks/>
          </p:cNvSpPr>
          <p:nvPr/>
        </p:nvSpPr>
        <p:spPr bwMode="gray">
          <a:xfrm>
            <a:off x="134400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07" name="Inhaltsplatzhalter 7">
            <a:extLst>
              <a:ext uri="{FF2B5EF4-FFF2-40B4-BE49-F238E27FC236}">
                <a16:creationId xmlns:a16="http://schemas.microsoft.com/office/drawing/2014/main" id="{B67B2E50-4D6A-405B-9B21-C3D6191C03D4}"/>
              </a:ext>
            </a:extLst>
          </p:cNvPr>
          <p:cNvSpPr txBox="1">
            <a:spLocks/>
          </p:cNvSpPr>
          <p:nvPr/>
        </p:nvSpPr>
        <p:spPr bwMode="gray">
          <a:xfrm>
            <a:off x="724924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D46CDE33-C747-40C5-92B0-FA8A617B91EA}"/>
              </a:ext>
            </a:extLst>
          </p:cNvPr>
          <p:cNvCxnSpPr>
            <a:cxnSpLocks/>
          </p:cNvCxnSpPr>
          <p:nvPr/>
        </p:nvCxnSpPr>
        <p:spPr bwMode="gray">
          <a:xfrm>
            <a:off x="550863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8C74A116-CD1E-4A2A-85F8-9EA4F746436E}"/>
              </a:ext>
            </a:extLst>
          </p:cNvPr>
          <p:cNvCxnSpPr>
            <a:cxnSpLocks/>
          </p:cNvCxnSpPr>
          <p:nvPr/>
        </p:nvCxnSpPr>
        <p:spPr bwMode="gray">
          <a:xfrm>
            <a:off x="6456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Inhaltsplatzhalter 7">
            <a:extLst>
              <a:ext uri="{FF2B5EF4-FFF2-40B4-BE49-F238E27FC236}">
                <a16:creationId xmlns:a16="http://schemas.microsoft.com/office/drawing/2014/main" id="{28A770B7-D4F3-4D35-BE51-392CE18FEF4A}"/>
              </a:ext>
            </a:extLst>
          </p:cNvPr>
          <p:cNvSpPr txBox="1">
            <a:spLocks/>
          </p:cNvSpPr>
          <p:nvPr/>
        </p:nvSpPr>
        <p:spPr bwMode="gray">
          <a:xfrm>
            <a:off x="134400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11" name="Inhaltsplatzhalter 7">
            <a:extLst>
              <a:ext uri="{FF2B5EF4-FFF2-40B4-BE49-F238E27FC236}">
                <a16:creationId xmlns:a16="http://schemas.microsoft.com/office/drawing/2014/main" id="{7C99D708-3D5E-4580-A095-BE69DD99F0EE}"/>
              </a:ext>
            </a:extLst>
          </p:cNvPr>
          <p:cNvSpPr txBox="1">
            <a:spLocks/>
          </p:cNvSpPr>
          <p:nvPr/>
        </p:nvSpPr>
        <p:spPr bwMode="gray">
          <a:xfrm>
            <a:off x="724924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5FDDC95C-A8EC-44B3-A268-532BA294CF7F}"/>
              </a:ext>
            </a:extLst>
          </p:cNvPr>
          <p:cNvCxnSpPr>
            <a:cxnSpLocks/>
          </p:cNvCxnSpPr>
          <p:nvPr/>
        </p:nvCxnSpPr>
        <p:spPr bwMode="gray">
          <a:xfrm>
            <a:off x="550863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244059F7-CD1D-4334-B7FC-FDD1A1B3F25B}"/>
              </a:ext>
            </a:extLst>
          </p:cNvPr>
          <p:cNvCxnSpPr>
            <a:cxnSpLocks/>
          </p:cNvCxnSpPr>
          <p:nvPr/>
        </p:nvCxnSpPr>
        <p:spPr bwMode="gray">
          <a:xfrm>
            <a:off x="6456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Inhaltsplatzhalter 7">
            <a:extLst>
              <a:ext uri="{FF2B5EF4-FFF2-40B4-BE49-F238E27FC236}">
                <a16:creationId xmlns:a16="http://schemas.microsoft.com/office/drawing/2014/main" id="{F868341A-672F-4765-BFC1-743A49AFA21C}"/>
              </a:ext>
            </a:extLst>
          </p:cNvPr>
          <p:cNvSpPr txBox="1">
            <a:spLocks/>
          </p:cNvSpPr>
          <p:nvPr/>
        </p:nvSpPr>
        <p:spPr bwMode="gray">
          <a:xfrm>
            <a:off x="4296328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2347B9C6-27EB-45DB-9567-205BC0DF8B0C}"/>
              </a:ext>
            </a:extLst>
          </p:cNvPr>
          <p:cNvCxnSpPr>
            <a:cxnSpLocks/>
          </p:cNvCxnSpPr>
          <p:nvPr/>
        </p:nvCxnSpPr>
        <p:spPr bwMode="gray">
          <a:xfrm>
            <a:off x="3503712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Inhaltsplatzhalter 7">
            <a:extLst>
              <a:ext uri="{FF2B5EF4-FFF2-40B4-BE49-F238E27FC236}">
                <a16:creationId xmlns:a16="http://schemas.microsoft.com/office/drawing/2014/main" id="{CE18B9FF-DFA0-432F-8C26-A7610335F5C1}"/>
              </a:ext>
            </a:extLst>
          </p:cNvPr>
          <p:cNvSpPr txBox="1">
            <a:spLocks/>
          </p:cNvSpPr>
          <p:nvPr/>
        </p:nvSpPr>
        <p:spPr bwMode="gray">
          <a:xfrm>
            <a:off x="4296328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5468CD62-B950-46DB-8DC5-C9A0C840B85C}"/>
              </a:ext>
            </a:extLst>
          </p:cNvPr>
          <p:cNvCxnSpPr>
            <a:cxnSpLocks/>
          </p:cNvCxnSpPr>
          <p:nvPr/>
        </p:nvCxnSpPr>
        <p:spPr bwMode="gray">
          <a:xfrm>
            <a:off x="3503712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Inhaltsplatzhalter 7">
            <a:extLst>
              <a:ext uri="{FF2B5EF4-FFF2-40B4-BE49-F238E27FC236}">
                <a16:creationId xmlns:a16="http://schemas.microsoft.com/office/drawing/2014/main" id="{BB492BA5-105A-4762-836C-E87991ADF767}"/>
              </a:ext>
            </a:extLst>
          </p:cNvPr>
          <p:cNvSpPr txBox="1">
            <a:spLocks/>
          </p:cNvSpPr>
          <p:nvPr/>
        </p:nvSpPr>
        <p:spPr bwMode="gray">
          <a:xfrm>
            <a:off x="4296328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FD455ABA-E24D-4273-A53D-FEBF58448023}"/>
              </a:ext>
            </a:extLst>
          </p:cNvPr>
          <p:cNvCxnSpPr>
            <a:cxnSpLocks/>
          </p:cNvCxnSpPr>
          <p:nvPr/>
        </p:nvCxnSpPr>
        <p:spPr bwMode="gray">
          <a:xfrm>
            <a:off x="3503712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Inhaltsplatzhalter 7">
            <a:extLst>
              <a:ext uri="{FF2B5EF4-FFF2-40B4-BE49-F238E27FC236}">
                <a16:creationId xmlns:a16="http://schemas.microsoft.com/office/drawing/2014/main" id="{27CC215C-05AB-4913-89A3-92BE6834C196}"/>
              </a:ext>
            </a:extLst>
          </p:cNvPr>
          <p:cNvSpPr txBox="1">
            <a:spLocks/>
          </p:cNvSpPr>
          <p:nvPr/>
        </p:nvSpPr>
        <p:spPr bwMode="gray">
          <a:xfrm>
            <a:off x="10201240" y="3573104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6E88A1D0-F5FB-48C9-B1F9-CFE4AF5ACEA5}"/>
              </a:ext>
            </a:extLst>
          </p:cNvPr>
          <p:cNvCxnSpPr>
            <a:cxnSpLocks/>
          </p:cNvCxnSpPr>
          <p:nvPr/>
        </p:nvCxnSpPr>
        <p:spPr bwMode="gray">
          <a:xfrm>
            <a:off x="9408624" y="3501104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Inhaltsplatzhalter 7">
            <a:extLst>
              <a:ext uri="{FF2B5EF4-FFF2-40B4-BE49-F238E27FC236}">
                <a16:creationId xmlns:a16="http://schemas.microsoft.com/office/drawing/2014/main" id="{D34F0F2C-E977-4E0F-B35E-76F4A7CB240F}"/>
              </a:ext>
            </a:extLst>
          </p:cNvPr>
          <p:cNvSpPr txBox="1">
            <a:spLocks/>
          </p:cNvSpPr>
          <p:nvPr/>
        </p:nvSpPr>
        <p:spPr bwMode="gray">
          <a:xfrm>
            <a:off x="10201240" y="4437872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10ED488C-31FF-417D-A891-E21F43FD72B1}"/>
              </a:ext>
            </a:extLst>
          </p:cNvPr>
          <p:cNvCxnSpPr>
            <a:cxnSpLocks/>
          </p:cNvCxnSpPr>
          <p:nvPr/>
        </p:nvCxnSpPr>
        <p:spPr bwMode="gray">
          <a:xfrm>
            <a:off x="9408624" y="4365872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Inhaltsplatzhalter 7">
            <a:extLst>
              <a:ext uri="{FF2B5EF4-FFF2-40B4-BE49-F238E27FC236}">
                <a16:creationId xmlns:a16="http://schemas.microsoft.com/office/drawing/2014/main" id="{2E25733E-2F7A-4578-AA46-EDA894BFA07E}"/>
              </a:ext>
            </a:extLst>
          </p:cNvPr>
          <p:cNvSpPr txBox="1">
            <a:spLocks/>
          </p:cNvSpPr>
          <p:nvPr/>
        </p:nvSpPr>
        <p:spPr bwMode="gray">
          <a:xfrm>
            <a:off x="10201240" y="53012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2E86C63F-A9CC-4728-9E65-9A7FFA84853B}"/>
              </a:ext>
            </a:extLst>
          </p:cNvPr>
          <p:cNvCxnSpPr>
            <a:cxnSpLocks/>
          </p:cNvCxnSpPr>
          <p:nvPr/>
        </p:nvCxnSpPr>
        <p:spPr bwMode="gray">
          <a:xfrm>
            <a:off x="9408624" y="52292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F4E40F68-EA68-46BE-901B-CF422DD928DC}"/>
              </a:ext>
            </a:extLst>
          </p:cNvPr>
          <p:cNvGrpSpPr/>
          <p:nvPr/>
        </p:nvGrpSpPr>
        <p:grpSpPr bwMode="gray">
          <a:xfrm>
            <a:off x="3504000" y="5301000"/>
            <a:ext cx="576000" cy="720000"/>
            <a:chOff x="552000" y="5301000"/>
            <a:chExt cx="576000" cy="720000"/>
          </a:xfrm>
        </p:grpSpPr>
        <p:sp>
          <p:nvSpPr>
            <p:cNvPr id="129" name="Inhaltsplatzhalter 7">
              <a:extLst>
                <a:ext uri="{FF2B5EF4-FFF2-40B4-BE49-F238E27FC236}">
                  <a16:creationId xmlns:a16="http://schemas.microsoft.com/office/drawing/2014/main" id="{761CF1AF-3446-44F7-AB3F-9DDE5FA3A63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30" name="Grafik 129">
              <a:extLst>
                <a:ext uri="{FF2B5EF4-FFF2-40B4-BE49-F238E27FC236}">
                  <a16:creationId xmlns:a16="http://schemas.microsoft.com/office/drawing/2014/main" id="{8A692B5C-89B2-4CD5-84FA-70B255586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BA32591D-B8AF-47A3-A15E-51A1956F6854}"/>
              </a:ext>
            </a:extLst>
          </p:cNvPr>
          <p:cNvGrpSpPr/>
          <p:nvPr/>
        </p:nvGrpSpPr>
        <p:grpSpPr bwMode="gray">
          <a:xfrm>
            <a:off x="3504000" y="4437000"/>
            <a:ext cx="576000" cy="720000"/>
            <a:chOff x="552000" y="4437000"/>
            <a:chExt cx="576000" cy="720000"/>
          </a:xfrm>
        </p:grpSpPr>
        <p:sp>
          <p:nvSpPr>
            <p:cNvPr id="132" name="Inhaltsplatzhalter 7">
              <a:extLst>
                <a:ext uri="{FF2B5EF4-FFF2-40B4-BE49-F238E27FC236}">
                  <a16:creationId xmlns:a16="http://schemas.microsoft.com/office/drawing/2014/main" id="{0C0AD40C-21D1-4930-9052-FB56A70A09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33" name="Grafik 132">
              <a:extLst>
                <a:ext uri="{FF2B5EF4-FFF2-40B4-BE49-F238E27FC236}">
                  <a16:creationId xmlns:a16="http://schemas.microsoft.com/office/drawing/2014/main" id="{094C30B6-4EA2-466F-9FDC-96D056CC4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C6AFCACC-A994-44A0-B67C-A5C79E83032A}"/>
              </a:ext>
            </a:extLst>
          </p:cNvPr>
          <p:cNvGrpSpPr/>
          <p:nvPr/>
        </p:nvGrpSpPr>
        <p:grpSpPr bwMode="gray">
          <a:xfrm>
            <a:off x="3504000" y="3573000"/>
            <a:ext cx="576000" cy="720000"/>
            <a:chOff x="552000" y="3573000"/>
            <a:chExt cx="576000" cy="720000"/>
          </a:xfrm>
        </p:grpSpPr>
        <p:sp>
          <p:nvSpPr>
            <p:cNvPr id="135" name="Inhaltsplatzhalter 7">
              <a:extLst>
                <a:ext uri="{FF2B5EF4-FFF2-40B4-BE49-F238E27FC236}">
                  <a16:creationId xmlns:a16="http://schemas.microsoft.com/office/drawing/2014/main" id="{02455F84-8901-4255-A14F-09982AED3C6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36" name="Grafik 135">
              <a:extLst>
                <a:ext uri="{FF2B5EF4-FFF2-40B4-BE49-F238E27FC236}">
                  <a16:creationId xmlns:a16="http://schemas.microsoft.com/office/drawing/2014/main" id="{11E0B790-0F60-4749-B2B9-BE49D5EB6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37" name="Gruppieren 136">
            <a:extLst>
              <a:ext uri="{FF2B5EF4-FFF2-40B4-BE49-F238E27FC236}">
                <a16:creationId xmlns:a16="http://schemas.microsoft.com/office/drawing/2014/main" id="{FADFB4B4-492C-47FE-82A7-DAAD427DF939}"/>
              </a:ext>
            </a:extLst>
          </p:cNvPr>
          <p:cNvGrpSpPr/>
          <p:nvPr/>
        </p:nvGrpSpPr>
        <p:grpSpPr bwMode="gray">
          <a:xfrm>
            <a:off x="6456000" y="5301000"/>
            <a:ext cx="576000" cy="720000"/>
            <a:chOff x="552000" y="5301000"/>
            <a:chExt cx="576000" cy="720000"/>
          </a:xfrm>
        </p:grpSpPr>
        <p:sp>
          <p:nvSpPr>
            <p:cNvPr id="138" name="Inhaltsplatzhalter 7">
              <a:extLst>
                <a:ext uri="{FF2B5EF4-FFF2-40B4-BE49-F238E27FC236}">
                  <a16:creationId xmlns:a16="http://schemas.microsoft.com/office/drawing/2014/main" id="{368C764E-F959-4E10-AB71-2DE9B0CB6D9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7D7DF36B-A6DF-476A-A2BB-F5EAE5931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51EA1127-F588-4B77-82F3-BA959221A80A}"/>
              </a:ext>
            </a:extLst>
          </p:cNvPr>
          <p:cNvGrpSpPr/>
          <p:nvPr/>
        </p:nvGrpSpPr>
        <p:grpSpPr bwMode="gray">
          <a:xfrm>
            <a:off x="6456000" y="4437000"/>
            <a:ext cx="576000" cy="720000"/>
            <a:chOff x="552000" y="4437000"/>
            <a:chExt cx="576000" cy="720000"/>
          </a:xfrm>
        </p:grpSpPr>
        <p:sp>
          <p:nvSpPr>
            <p:cNvPr id="141" name="Inhaltsplatzhalter 7">
              <a:extLst>
                <a:ext uri="{FF2B5EF4-FFF2-40B4-BE49-F238E27FC236}">
                  <a16:creationId xmlns:a16="http://schemas.microsoft.com/office/drawing/2014/main" id="{846B3A10-5FEF-4FDA-BD96-4768BFA42CD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AE33C0F6-F2A1-4D5C-B350-B3B8125B9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9B56E718-CB0E-432C-8C00-F3D75A5D2AF3}"/>
              </a:ext>
            </a:extLst>
          </p:cNvPr>
          <p:cNvGrpSpPr/>
          <p:nvPr/>
        </p:nvGrpSpPr>
        <p:grpSpPr bwMode="gray">
          <a:xfrm>
            <a:off x="6456000" y="3573000"/>
            <a:ext cx="576000" cy="720000"/>
            <a:chOff x="552000" y="3573000"/>
            <a:chExt cx="576000" cy="720000"/>
          </a:xfrm>
        </p:grpSpPr>
        <p:sp>
          <p:nvSpPr>
            <p:cNvPr id="144" name="Inhaltsplatzhalter 7">
              <a:extLst>
                <a:ext uri="{FF2B5EF4-FFF2-40B4-BE49-F238E27FC236}">
                  <a16:creationId xmlns:a16="http://schemas.microsoft.com/office/drawing/2014/main" id="{51E9A66B-D8FE-4693-A915-792CFFCA65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45" name="Grafik 144">
              <a:extLst>
                <a:ext uri="{FF2B5EF4-FFF2-40B4-BE49-F238E27FC236}">
                  <a16:creationId xmlns:a16="http://schemas.microsoft.com/office/drawing/2014/main" id="{45898749-8108-47F1-943A-F043BFE45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A562E43E-E9B8-4740-AEF1-670299872426}"/>
              </a:ext>
            </a:extLst>
          </p:cNvPr>
          <p:cNvGrpSpPr/>
          <p:nvPr/>
        </p:nvGrpSpPr>
        <p:grpSpPr bwMode="gray">
          <a:xfrm>
            <a:off x="9408000" y="5301000"/>
            <a:ext cx="576000" cy="720000"/>
            <a:chOff x="552000" y="5301000"/>
            <a:chExt cx="576000" cy="720000"/>
          </a:xfrm>
        </p:grpSpPr>
        <p:sp>
          <p:nvSpPr>
            <p:cNvPr id="147" name="Inhaltsplatzhalter 7">
              <a:extLst>
                <a:ext uri="{FF2B5EF4-FFF2-40B4-BE49-F238E27FC236}">
                  <a16:creationId xmlns:a16="http://schemas.microsoft.com/office/drawing/2014/main" id="{A33F236D-FFB0-4424-ACEE-00A9774A059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5301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48" name="Grafik 147">
              <a:extLst>
                <a:ext uri="{FF2B5EF4-FFF2-40B4-BE49-F238E27FC236}">
                  <a16:creationId xmlns:a16="http://schemas.microsoft.com/office/drawing/2014/main" id="{9CCE5DDB-3CD9-4D5C-BE0C-860033EB99F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5373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D358E1B8-9A4D-4D08-9E76-66A96D8287F2}"/>
              </a:ext>
            </a:extLst>
          </p:cNvPr>
          <p:cNvGrpSpPr/>
          <p:nvPr/>
        </p:nvGrpSpPr>
        <p:grpSpPr bwMode="gray">
          <a:xfrm>
            <a:off x="9408000" y="4437000"/>
            <a:ext cx="576000" cy="720000"/>
            <a:chOff x="552000" y="4437000"/>
            <a:chExt cx="576000" cy="720000"/>
          </a:xfrm>
        </p:grpSpPr>
        <p:sp>
          <p:nvSpPr>
            <p:cNvPr id="150" name="Inhaltsplatzhalter 7">
              <a:extLst>
                <a:ext uri="{FF2B5EF4-FFF2-40B4-BE49-F238E27FC236}">
                  <a16:creationId xmlns:a16="http://schemas.microsoft.com/office/drawing/2014/main" id="{E4DB0F63-EB69-4709-93AB-170729FD0E5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4437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1" name="Grafik 150">
              <a:extLst>
                <a:ext uri="{FF2B5EF4-FFF2-40B4-BE49-F238E27FC236}">
                  <a16:creationId xmlns:a16="http://schemas.microsoft.com/office/drawing/2014/main" id="{DC4E2514-680E-47AD-9DB5-5DD98AF31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4509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5111FACD-5B71-4A26-9FD6-F7A96A70F499}"/>
              </a:ext>
            </a:extLst>
          </p:cNvPr>
          <p:cNvGrpSpPr/>
          <p:nvPr/>
        </p:nvGrpSpPr>
        <p:grpSpPr bwMode="gray">
          <a:xfrm>
            <a:off x="9408000" y="3573000"/>
            <a:ext cx="576000" cy="720000"/>
            <a:chOff x="552000" y="3573000"/>
            <a:chExt cx="576000" cy="720000"/>
          </a:xfrm>
        </p:grpSpPr>
        <p:sp>
          <p:nvSpPr>
            <p:cNvPr id="153" name="Inhaltsplatzhalter 7">
              <a:extLst>
                <a:ext uri="{FF2B5EF4-FFF2-40B4-BE49-F238E27FC236}">
                  <a16:creationId xmlns:a16="http://schemas.microsoft.com/office/drawing/2014/main" id="{02417C35-6960-4002-B9D2-6B5EF5D1854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4" name="Grafik 153">
              <a:extLst>
                <a:ext uri="{FF2B5EF4-FFF2-40B4-BE49-F238E27FC236}">
                  <a16:creationId xmlns:a16="http://schemas.microsoft.com/office/drawing/2014/main" id="{E7B8AC04-842A-4F45-BB94-2E0C7F89FE5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55" name="Gruppieren 154">
            <a:extLst>
              <a:ext uri="{FF2B5EF4-FFF2-40B4-BE49-F238E27FC236}">
                <a16:creationId xmlns:a16="http://schemas.microsoft.com/office/drawing/2014/main" id="{FE4CDF16-0EFC-49A2-AA2C-D453C288D9CA}"/>
              </a:ext>
            </a:extLst>
          </p:cNvPr>
          <p:cNvGrpSpPr/>
          <p:nvPr/>
        </p:nvGrpSpPr>
        <p:grpSpPr bwMode="gray">
          <a:xfrm>
            <a:off x="552000" y="2708896"/>
            <a:ext cx="576000" cy="720000"/>
            <a:chOff x="552000" y="3573000"/>
            <a:chExt cx="576000" cy="720000"/>
          </a:xfrm>
        </p:grpSpPr>
        <p:sp>
          <p:nvSpPr>
            <p:cNvPr id="156" name="Inhaltsplatzhalter 7">
              <a:extLst>
                <a:ext uri="{FF2B5EF4-FFF2-40B4-BE49-F238E27FC236}">
                  <a16:creationId xmlns:a16="http://schemas.microsoft.com/office/drawing/2014/main" id="{CD29E887-1F18-4849-B351-C52F599560E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57" name="Grafik 156">
              <a:extLst>
                <a:ext uri="{FF2B5EF4-FFF2-40B4-BE49-F238E27FC236}">
                  <a16:creationId xmlns:a16="http://schemas.microsoft.com/office/drawing/2014/main" id="{A052FCE3-C71C-4E92-AA42-2B5D08254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sp>
        <p:nvSpPr>
          <p:cNvPr id="158" name="Inhaltsplatzhalter 7">
            <a:extLst>
              <a:ext uri="{FF2B5EF4-FFF2-40B4-BE49-F238E27FC236}">
                <a16:creationId xmlns:a16="http://schemas.microsoft.com/office/drawing/2014/main" id="{0584039D-74A8-495D-AB8C-AF2A2EF83AB7}"/>
              </a:ext>
            </a:extLst>
          </p:cNvPr>
          <p:cNvSpPr txBox="1">
            <a:spLocks/>
          </p:cNvSpPr>
          <p:nvPr/>
        </p:nvSpPr>
        <p:spPr bwMode="gray">
          <a:xfrm>
            <a:off x="1345240" y="2708896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sp>
        <p:nvSpPr>
          <p:cNvPr id="159" name="Inhaltsplatzhalter 7">
            <a:extLst>
              <a:ext uri="{FF2B5EF4-FFF2-40B4-BE49-F238E27FC236}">
                <a16:creationId xmlns:a16="http://schemas.microsoft.com/office/drawing/2014/main" id="{2B31CCE8-BA7E-43A8-AF93-E00670FE6617}"/>
              </a:ext>
            </a:extLst>
          </p:cNvPr>
          <p:cNvSpPr txBox="1">
            <a:spLocks/>
          </p:cNvSpPr>
          <p:nvPr/>
        </p:nvSpPr>
        <p:spPr bwMode="gray">
          <a:xfrm>
            <a:off x="7249240" y="27090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60" name="Gerader Verbinder 159">
            <a:extLst>
              <a:ext uri="{FF2B5EF4-FFF2-40B4-BE49-F238E27FC236}">
                <a16:creationId xmlns:a16="http://schemas.microsoft.com/office/drawing/2014/main" id="{EAE803D6-1976-42A4-A5D2-2552FABDDBF1}"/>
              </a:ext>
            </a:extLst>
          </p:cNvPr>
          <p:cNvCxnSpPr>
            <a:cxnSpLocks/>
          </p:cNvCxnSpPr>
          <p:nvPr/>
        </p:nvCxnSpPr>
        <p:spPr bwMode="gray">
          <a:xfrm>
            <a:off x="550863" y="26370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Gerader Verbinder 160">
            <a:extLst>
              <a:ext uri="{FF2B5EF4-FFF2-40B4-BE49-F238E27FC236}">
                <a16:creationId xmlns:a16="http://schemas.microsoft.com/office/drawing/2014/main" id="{C5711F45-E257-4C76-B9A8-C26C4EC59AAF}"/>
              </a:ext>
            </a:extLst>
          </p:cNvPr>
          <p:cNvCxnSpPr>
            <a:cxnSpLocks/>
          </p:cNvCxnSpPr>
          <p:nvPr/>
        </p:nvCxnSpPr>
        <p:spPr bwMode="gray">
          <a:xfrm>
            <a:off x="6456624" y="26370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Inhaltsplatzhalter 7">
            <a:extLst>
              <a:ext uri="{FF2B5EF4-FFF2-40B4-BE49-F238E27FC236}">
                <a16:creationId xmlns:a16="http://schemas.microsoft.com/office/drawing/2014/main" id="{11765576-A901-42D1-810E-C973D329B2DF}"/>
              </a:ext>
            </a:extLst>
          </p:cNvPr>
          <p:cNvSpPr txBox="1">
            <a:spLocks/>
          </p:cNvSpPr>
          <p:nvPr/>
        </p:nvSpPr>
        <p:spPr bwMode="gray">
          <a:xfrm>
            <a:off x="4296328" y="27090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63" name="Gerader Verbinder 162">
            <a:extLst>
              <a:ext uri="{FF2B5EF4-FFF2-40B4-BE49-F238E27FC236}">
                <a16:creationId xmlns:a16="http://schemas.microsoft.com/office/drawing/2014/main" id="{8CA14B74-AFB5-467B-9849-83F3054BCB08}"/>
              </a:ext>
            </a:extLst>
          </p:cNvPr>
          <p:cNvCxnSpPr>
            <a:cxnSpLocks/>
          </p:cNvCxnSpPr>
          <p:nvPr/>
        </p:nvCxnSpPr>
        <p:spPr bwMode="gray">
          <a:xfrm>
            <a:off x="3503712" y="26370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Inhaltsplatzhalter 7">
            <a:extLst>
              <a:ext uri="{FF2B5EF4-FFF2-40B4-BE49-F238E27FC236}">
                <a16:creationId xmlns:a16="http://schemas.microsoft.com/office/drawing/2014/main" id="{3340B2F5-1F1C-43E9-A89D-B14C15055871}"/>
              </a:ext>
            </a:extLst>
          </p:cNvPr>
          <p:cNvSpPr txBox="1">
            <a:spLocks/>
          </p:cNvSpPr>
          <p:nvPr/>
        </p:nvSpPr>
        <p:spPr bwMode="gray">
          <a:xfrm>
            <a:off x="10201240" y="2709000"/>
            <a:ext cx="1512000" cy="720000"/>
          </a:xfrm>
          <a:prstGeom prst="rect">
            <a:avLst/>
          </a:prstGeom>
          <a:noFill/>
        </p:spPr>
        <p:txBody>
          <a:bodyPr lIns="0" tIns="108000" rIns="0" bIns="108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 smtClean="0"/>
              <a:t>&lt;First name&gt;, &lt;name&gt;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&lt;Job title&gt;</a:t>
            </a:r>
            <a:endParaRPr lang="en-US" sz="1200" dirty="0"/>
          </a:p>
        </p:txBody>
      </p: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869A98C1-B67D-41A4-A4CE-325EE45ADF2D}"/>
              </a:ext>
            </a:extLst>
          </p:cNvPr>
          <p:cNvCxnSpPr>
            <a:cxnSpLocks/>
          </p:cNvCxnSpPr>
          <p:nvPr/>
        </p:nvCxnSpPr>
        <p:spPr bwMode="gray">
          <a:xfrm>
            <a:off x="9408624" y="2637000"/>
            <a:ext cx="230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uppieren 165">
            <a:extLst>
              <a:ext uri="{FF2B5EF4-FFF2-40B4-BE49-F238E27FC236}">
                <a16:creationId xmlns:a16="http://schemas.microsoft.com/office/drawing/2014/main" id="{BCE483FC-E771-43AE-BEF9-F98372C18645}"/>
              </a:ext>
            </a:extLst>
          </p:cNvPr>
          <p:cNvGrpSpPr/>
          <p:nvPr/>
        </p:nvGrpSpPr>
        <p:grpSpPr bwMode="gray">
          <a:xfrm>
            <a:off x="3504000" y="2708896"/>
            <a:ext cx="576000" cy="720000"/>
            <a:chOff x="552000" y="3573000"/>
            <a:chExt cx="576000" cy="720000"/>
          </a:xfrm>
        </p:grpSpPr>
        <p:sp>
          <p:nvSpPr>
            <p:cNvPr id="167" name="Inhaltsplatzhalter 7">
              <a:extLst>
                <a:ext uri="{FF2B5EF4-FFF2-40B4-BE49-F238E27FC236}">
                  <a16:creationId xmlns:a16="http://schemas.microsoft.com/office/drawing/2014/main" id="{6093EF4F-D3B5-487C-81A3-0A9920295D3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68" name="Grafik 167">
              <a:extLst>
                <a:ext uri="{FF2B5EF4-FFF2-40B4-BE49-F238E27FC236}">
                  <a16:creationId xmlns:a16="http://schemas.microsoft.com/office/drawing/2014/main" id="{41001440-D7F2-4A0E-BA4C-13CAD5516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69" name="Gruppieren 168">
            <a:extLst>
              <a:ext uri="{FF2B5EF4-FFF2-40B4-BE49-F238E27FC236}">
                <a16:creationId xmlns:a16="http://schemas.microsoft.com/office/drawing/2014/main" id="{8005A6A4-74A5-4E53-B840-2EFB780F8D87}"/>
              </a:ext>
            </a:extLst>
          </p:cNvPr>
          <p:cNvGrpSpPr/>
          <p:nvPr/>
        </p:nvGrpSpPr>
        <p:grpSpPr bwMode="gray">
          <a:xfrm>
            <a:off x="6456000" y="2708896"/>
            <a:ext cx="576000" cy="720000"/>
            <a:chOff x="552000" y="3573000"/>
            <a:chExt cx="576000" cy="720000"/>
          </a:xfrm>
        </p:grpSpPr>
        <p:sp>
          <p:nvSpPr>
            <p:cNvPr id="170" name="Inhaltsplatzhalter 7">
              <a:extLst>
                <a:ext uri="{FF2B5EF4-FFF2-40B4-BE49-F238E27FC236}">
                  <a16:creationId xmlns:a16="http://schemas.microsoft.com/office/drawing/2014/main" id="{86A5D975-5393-4F4F-BDDB-1291BEF6A32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1" name="Grafik 170">
              <a:extLst>
                <a:ext uri="{FF2B5EF4-FFF2-40B4-BE49-F238E27FC236}">
                  <a16:creationId xmlns:a16="http://schemas.microsoft.com/office/drawing/2014/main" id="{3936070A-4D92-4983-9FF5-E22C6A60A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  <p:grpSp>
        <p:nvGrpSpPr>
          <p:cNvPr id="172" name="Gruppieren 171">
            <a:extLst>
              <a:ext uri="{FF2B5EF4-FFF2-40B4-BE49-F238E27FC236}">
                <a16:creationId xmlns:a16="http://schemas.microsoft.com/office/drawing/2014/main" id="{E94827B7-9A5D-451E-ADE7-D5E5DA958DE3}"/>
              </a:ext>
            </a:extLst>
          </p:cNvPr>
          <p:cNvGrpSpPr/>
          <p:nvPr/>
        </p:nvGrpSpPr>
        <p:grpSpPr bwMode="gray">
          <a:xfrm>
            <a:off x="9408000" y="2708896"/>
            <a:ext cx="576000" cy="720000"/>
            <a:chOff x="552000" y="3573000"/>
            <a:chExt cx="576000" cy="720000"/>
          </a:xfrm>
        </p:grpSpPr>
        <p:sp>
          <p:nvSpPr>
            <p:cNvPr id="173" name="Inhaltsplatzhalter 7">
              <a:extLst>
                <a:ext uri="{FF2B5EF4-FFF2-40B4-BE49-F238E27FC236}">
                  <a16:creationId xmlns:a16="http://schemas.microsoft.com/office/drawing/2014/main" id="{6CDB2B43-0562-46FD-907F-543C91496D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2000" y="3573000"/>
              <a:ext cx="5760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lIns="216000" tIns="108000" rIns="216000" bIns="108000" anchor="t" anchorCtr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pic>
          <p:nvPicPr>
            <p:cNvPr id="174" name="Grafik 173">
              <a:extLst>
                <a:ext uri="{FF2B5EF4-FFF2-40B4-BE49-F238E27FC236}">
                  <a16:creationId xmlns:a16="http://schemas.microsoft.com/office/drawing/2014/main" id="{3E991A81-3C51-4D51-B132-F27D589B5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5E8ED"/>
                </a:clrFrom>
                <a:clrTo>
                  <a:srgbClr val="E5E8ED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5458" y="3645000"/>
              <a:ext cx="449084" cy="576000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02621176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0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without heading</a:t>
            </a:r>
            <a:endParaRPr lang="en-US" dirty="0"/>
          </a:p>
        </p:txBody>
      </p:sp>
      <p:graphicFrame>
        <p:nvGraphicFramePr>
          <p:cNvPr id="14" name="Tabelle 8">
            <a:extLst>
              <a:ext uri="{FF2B5EF4-FFF2-40B4-BE49-F238E27FC236}">
                <a16:creationId xmlns:a16="http://schemas.microsoft.com/office/drawing/2014/main" id="{549FB248-2B37-4FE3-926F-43B518089519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16247293"/>
              </p:ext>
            </p:extLst>
          </p:nvPr>
        </p:nvGraphicFramePr>
        <p:xfrm>
          <a:off x="550863" y="1700213"/>
          <a:ext cx="11160000" cy="412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B2AE4B3F-4246-4323-93D7-5D2D928D0A6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66F170D5-1FCE-4110-9A4A-F62635E52B3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6FD5C124-6958-49C1-8A95-CCBBFC80B9A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2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99775351"/>
      </p:ext>
    </p:extLst>
  </p:cSld>
  <p:clrMapOvr>
    <a:masterClrMapping/>
  </p:clrMapOvr>
  <p:transition spd="slow"/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4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</a:t>
            </a:r>
            <a:endParaRPr lang="en-US" dirty="0"/>
          </a:p>
        </p:txBody>
      </p:sp>
      <p:graphicFrame>
        <p:nvGraphicFramePr>
          <p:cNvPr id="17" name="Tabelle 8">
            <a:extLst>
              <a:ext uri="{FF2B5EF4-FFF2-40B4-BE49-F238E27FC236}">
                <a16:creationId xmlns:a16="http://schemas.microsoft.com/office/drawing/2014/main" id="{1C4AE8B0-1479-494A-B777-BCD56C4397DF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6809996"/>
              </p:ext>
            </p:extLst>
          </p:nvPr>
        </p:nvGraphicFramePr>
        <p:xfrm>
          <a:off x="550863" y="1700213"/>
          <a:ext cx="11161712" cy="4392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606">
                <a:tc gridSpan="5"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Table heading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First row</a:t>
                      </a:r>
                      <a:b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heading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2584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56F395CB-6385-4761-8202-E44CAB070BC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E45407D2-FCFC-4D2E-8A72-1D0A1CE3813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897A04E9-F252-46A2-B100-D6BDF00379C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3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7840360"/>
      </p:ext>
    </p:extLst>
  </p:cSld>
  <p:clrMapOvr>
    <a:masterClrMapping/>
  </p:clrMapOvr>
  <p:transition spd="slow"/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8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</a:t>
            </a:r>
            <a:endParaRPr lang="en-US" dirty="0"/>
          </a:p>
        </p:txBody>
      </p:sp>
      <p:graphicFrame>
        <p:nvGraphicFramePr>
          <p:cNvPr id="17" name="Tabelle 8">
            <a:extLst>
              <a:ext uri="{FF2B5EF4-FFF2-40B4-BE49-F238E27FC236}">
                <a16:creationId xmlns:a16="http://schemas.microsoft.com/office/drawing/2014/main" id="{77506F41-1C81-49F5-8056-D817AAE3A25D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3119112"/>
              </p:ext>
            </p:extLst>
          </p:nvPr>
        </p:nvGraphicFramePr>
        <p:xfrm>
          <a:off x="550863" y="1700213"/>
          <a:ext cx="11161712" cy="4392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606">
                <a:tc gridSpan="5"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Table heading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First row</a:t>
                      </a:r>
                      <a:b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heading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2584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DD7CBF48-2897-46D2-A26A-4BD164819AD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671F978-B803-4C79-A914-CF8EDEADD1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1FA02E59-49EC-4BD8-8110-961A2D2C4F1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4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24848158"/>
      </p:ext>
    </p:extLst>
  </p:cSld>
  <p:clrMapOvr>
    <a:masterClrMapping/>
  </p:clrMapOvr>
  <p:transition spd="slow"/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2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with highlight</a:t>
            </a:r>
            <a:endParaRPr lang="en-US" dirty="0"/>
          </a:p>
        </p:txBody>
      </p:sp>
      <p:graphicFrame>
        <p:nvGraphicFramePr>
          <p:cNvPr id="17" name="Tabelle 8">
            <a:extLst>
              <a:ext uri="{FF2B5EF4-FFF2-40B4-BE49-F238E27FC236}">
                <a16:creationId xmlns:a16="http://schemas.microsoft.com/office/drawing/2014/main" id="{8144D264-F3E0-4B0A-B4A8-BDF9548CAE0A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3495684"/>
              </p:ext>
            </p:extLst>
          </p:nvPr>
        </p:nvGraphicFramePr>
        <p:xfrm>
          <a:off x="550863" y="1700213"/>
          <a:ext cx="11161712" cy="4392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606">
                <a:tc gridSpan="5"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Table heading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First row</a:t>
                      </a:r>
                      <a:b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heading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2584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66B9E354-DF5F-45FC-BE1A-CAEC95EFDA4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27BEE54F-D04E-4FF4-96A9-50F14DA93B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B5B27546-A6C4-40B1-BFF0-F592AAA7F58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5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85542485"/>
      </p:ext>
    </p:extLst>
  </p:cSld>
  <p:clrMapOvr>
    <a:masterClrMapping/>
  </p:clrMapOvr>
  <p:transition spd="slow"/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6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table</a:t>
            </a:r>
            <a:endParaRPr lang="en-US" dirty="0"/>
          </a:p>
        </p:txBody>
      </p:sp>
      <p:graphicFrame>
        <p:nvGraphicFramePr>
          <p:cNvPr id="17" name="Tabelle 8">
            <a:extLst>
              <a:ext uri="{FF2B5EF4-FFF2-40B4-BE49-F238E27FC236}">
                <a16:creationId xmlns:a16="http://schemas.microsoft.com/office/drawing/2014/main" id="{20988367-962C-4C00-BECB-708120670112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9792200"/>
              </p:ext>
            </p:extLst>
          </p:nvPr>
        </p:nvGraphicFramePr>
        <p:xfrm>
          <a:off x="550863" y="1700213"/>
          <a:ext cx="11161712" cy="4392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606">
                <a:tc gridSpan="5"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Table heading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First row</a:t>
                      </a:r>
                      <a:b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heading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2584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Result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AD8DDE69-A0FB-45EB-8CC4-73A8A20123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42BD5427-6690-4B32-B96F-EAADBF3C256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8AF59726-F133-48DC-859B-7FE7232C58C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6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6919842"/>
      </p:ext>
    </p:extLst>
  </p:cSld>
  <p:clrMapOvr>
    <a:masterClrMapping/>
  </p:clrMapOvr>
  <p:transition spd="slow"/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E68204DA-F9AC-4FE4-A595-9407EE6833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0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E68204DA-F9AC-4FE4-A595-9407EE68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ytuł 11">
            <a:extLst>
              <a:ext uri="{FF2B5EF4-FFF2-40B4-BE49-F238E27FC236}">
                <a16:creationId xmlns:a16="http://schemas.microsoft.com/office/drawing/2014/main" id="{D6D3AABA-1DD1-4F10-B96F-361481EA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table with highlight</a:t>
            </a:r>
            <a:endParaRPr lang="en-US" dirty="0"/>
          </a:p>
        </p:txBody>
      </p:sp>
      <p:graphicFrame>
        <p:nvGraphicFramePr>
          <p:cNvPr id="13" name="Tabelle 8">
            <a:extLst>
              <a:ext uri="{FF2B5EF4-FFF2-40B4-BE49-F238E27FC236}">
                <a16:creationId xmlns:a16="http://schemas.microsoft.com/office/drawing/2014/main" id="{6674AEF4-2006-4798-A452-F629B5B4082B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7454229"/>
              </p:ext>
            </p:extLst>
          </p:nvPr>
        </p:nvGraphicFramePr>
        <p:xfrm>
          <a:off x="550863" y="1700213"/>
          <a:ext cx="11161712" cy="4392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606">
                <a:tc gridSpan="5"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Table heading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First row</a:t>
                      </a:r>
                      <a:b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heading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2584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1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Result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8E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j-lt"/>
                        </a:rPr>
                        <a:t>4,000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ED2FD58-20C9-40A5-A0FE-510327E571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DFD4F32-C2D9-4E68-8392-B4C04637DA4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9FFB931-E974-4B60-967A-9B4E782B974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7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71497984"/>
      </p:ext>
    </p:extLst>
  </p:cSld>
  <p:clrMapOvr>
    <a:masterClrMapping/>
  </p:clrMapOvr>
  <p:transition spd="slow"/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13" name="Objekt 1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01B1A30-A3BF-48A6-AB51-124C983605D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ytuł 15">
            <a:extLst>
              <a:ext uri="{FF2B5EF4-FFF2-40B4-BE49-F238E27FC236}">
                <a16:creationId xmlns:a16="http://schemas.microsoft.com/office/drawing/2014/main" id="{0FCBBC2B-E058-4347-ACB9-80A94508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with rating (squares)</a:t>
            </a:r>
            <a:endParaRPr lang="en-US" dirty="0"/>
          </a:p>
        </p:txBody>
      </p:sp>
      <p:graphicFrame>
        <p:nvGraphicFramePr>
          <p:cNvPr id="84" name="Tabelle 8">
            <a:extLst>
              <a:ext uri="{FF2B5EF4-FFF2-40B4-BE49-F238E27FC236}">
                <a16:creationId xmlns:a16="http://schemas.microsoft.com/office/drawing/2014/main" id="{2F1E3DF1-5D53-4E0A-8766-3221A02FC3F7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2029388"/>
              </p:ext>
            </p:extLst>
          </p:nvPr>
        </p:nvGraphicFramePr>
        <p:xfrm>
          <a:off x="550863" y="1700213"/>
          <a:ext cx="11160000" cy="361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+mj-lt"/>
                        </a:rPr>
                        <a:t>Lorem ipsum</a:t>
                      </a:r>
                    </a:p>
                  </a:txBody>
                  <a:tcPr marL="144000" marR="144000" marT="144000" marB="14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Dolor sit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Datumsplatzhalter 21">
            <a:extLst>
              <a:ext uri="{FF2B5EF4-FFF2-40B4-BE49-F238E27FC236}">
                <a16:creationId xmlns:a16="http://schemas.microsoft.com/office/drawing/2014/main" id="{F4B90D5C-1A25-44BB-A232-233BD42DE3B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3" name="Fußzeilenplatzhalter 22">
            <a:extLst>
              <a:ext uri="{FF2B5EF4-FFF2-40B4-BE49-F238E27FC236}">
                <a16:creationId xmlns:a16="http://schemas.microsoft.com/office/drawing/2014/main" id="{9C2AFFFA-9E08-48EE-81AC-247B48DBB70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4" name="Foliennummernplatzhalter 23">
            <a:extLst>
              <a:ext uri="{FF2B5EF4-FFF2-40B4-BE49-F238E27FC236}">
                <a16:creationId xmlns:a16="http://schemas.microsoft.com/office/drawing/2014/main" id="{C611FD30-0360-4CCC-9F73-BC71A4CA584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31A5ABE5-AD8C-4A35-A332-1C9E5F9D8422}"/>
              </a:ext>
            </a:extLst>
          </p:cNvPr>
          <p:cNvSpPr/>
          <p:nvPr/>
        </p:nvSpPr>
        <p:spPr bwMode="gray">
          <a:xfrm>
            <a:off x="551384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02BC63DC-81D1-4724-99EE-8190454E6973}"/>
              </a:ext>
            </a:extLst>
          </p:cNvPr>
          <p:cNvSpPr/>
          <p:nvPr/>
        </p:nvSpPr>
        <p:spPr bwMode="gray">
          <a:xfrm>
            <a:off x="767929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003C70B-A343-4E9E-84F5-893A579E0DBF}"/>
              </a:ext>
            </a:extLst>
          </p:cNvPr>
          <p:cNvSpPr/>
          <p:nvPr/>
        </p:nvSpPr>
        <p:spPr bwMode="gray">
          <a:xfrm>
            <a:off x="983953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B649A89-9AB2-45AA-9887-44DF18C33E77}"/>
              </a:ext>
            </a:extLst>
          </p:cNvPr>
          <p:cNvSpPr/>
          <p:nvPr/>
        </p:nvSpPr>
        <p:spPr bwMode="gray">
          <a:xfrm>
            <a:off x="1199977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9AB5D06-36D2-4769-A938-529ABB4D4105}"/>
              </a:ext>
            </a:extLst>
          </p:cNvPr>
          <p:cNvSpPr/>
          <p:nvPr/>
        </p:nvSpPr>
        <p:spPr bwMode="gray">
          <a:xfrm>
            <a:off x="1416001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8D52F7C-D1CB-4EAF-8745-A4677BCEDD3D}"/>
              </a:ext>
            </a:extLst>
          </p:cNvPr>
          <p:cNvSpPr/>
          <p:nvPr/>
        </p:nvSpPr>
        <p:spPr bwMode="gray">
          <a:xfrm>
            <a:off x="1703511" y="5732735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D1DE430-7E95-429B-9A11-AC24A8E4AD40}"/>
              </a:ext>
            </a:extLst>
          </p:cNvPr>
          <p:cNvSpPr/>
          <p:nvPr/>
        </p:nvSpPr>
        <p:spPr bwMode="gray">
          <a:xfrm>
            <a:off x="551384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B240B2B7-C9C2-45E7-8578-6A1F125CDF86}"/>
              </a:ext>
            </a:extLst>
          </p:cNvPr>
          <p:cNvSpPr/>
          <p:nvPr/>
        </p:nvSpPr>
        <p:spPr bwMode="gray">
          <a:xfrm>
            <a:off x="767929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BD7B1E37-2CC3-46D6-8D48-7ED8DF621D7C}"/>
              </a:ext>
            </a:extLst>
          </p:cNvPr>
          <p:cNvSpPr/>
          <p:nvPr/>
        </p:nvSpPr>
        <p:spPr bwMode="gray">
          <a:xfrm>
            <a:off x="983953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747A78-45F4-4C57-8D31-C72882013608}"/>
              </a:ext>
            </a:extLst>
          </p:cNvPr>
          <p:cNvSpPr/>
          <p:nvPr/>
        </p:nvSpPr>
        <p:spPr bwMode="gray">
          <a:xfrm>
            <a:off x="1199977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3F724C7B-1F16-4758-8FC6-8E36F7278B9B}"/>
              </a:ext>
            </a:extLst>
          </p:cNvPr>
          <p:cNvSpPr/>
          <p:nvPr/>
        </p:nvSpPr>
        <p:spPr bwMode="gray">
          <a:xfrm>
            <a:off x="1416001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CF2023DC-A682-4790-B071-E87FCE54CE41}"/>
              </a:ext>
            </a:extLst>
          </p:cNvPr>
          <p:cNvSpPr/>
          <p:nvPr/>
        </p:nvSpPr>
        <p:spPr bwMode="gray">
          <a:xfrm>
            <a:off x="1703511" y="5948759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B9094DED-4579-4EF4-AF8D-B386A5878FEC}"/>
              </a:ext>
            </a:extLst>
          </p:cNvPr>
          <p:cNvSpPr/>
          <p:nvPr/>
        </p:nvSpPr>
        <p:spPr bwMode="gray">
          <a:xfrm>
            <a:off x="3863752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9F123A2D-C822-4FD5-9455-2EA88A3DB7E3}"/>
              </a:ext>
            </a:extLst>
          </p:cNvPr>
          <p:cNvSpPr/>
          <p:nvPr/>
        </p:nvSpPr>
        <p:spPr bwMode="gray">
          <a:xfrm>
            <a:off x="4080297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3F47D3A9-DB0B-4595-ABB0-E532C5E18876}"/>
              </a:ext>
            </a:extLst>
          </p:cNvPr>
          <p:cNvSpPr/>
          <p:nvPr/>
        </p:nvSpPr>
        <p:spPr bwMode="gray">
          <a:xfrm>
            <a:off x="4296321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CAB926A9-0950-4A6B-9942-1FE53A4DBECF}"/>
              </a:ext>
            </a:extLst>
          </p:cNvPr>
          <p:cNvSpPr/>
          <p:nvPr/>
        </p:nvSpPr>
        <p:spPr bwMode="gray">
          <a:xfrm>
            <a:off x="4512345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18C58D7A-4AFD-4536-9D61-D224487833E3}"/>
              </a:ext>
            </a:extLst>
          </p:cNvPr>
          <p:cNvSpPr/>
          <p:nvPr/>
        </p:nvSpPr>
        <p:spPr bwMode="gray">
          <a:xfrm>
            <a:off x="4728369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4DD0ABDD-F8F3-413A-BDC9-C527F7CDF272}"/>
              </a:ext>
            </a:extLst>
          </p:cNvPr>
          <p:cNvSpPr/>
          <p:nvPr/>
        </p:nvSpPr>
        <p:spPr bwMode="gray">
          <a:xfrm>
            <a:off x="5015879" y="5732735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0FF481F4-C3D4-40B6-A45C-ADF91CF75AC7}"/>
              </a:ext>
            </a:extLst>
          </p:cNvPr>
          <p:cNvSpPr/>
          <p:nvPr/>
        </p:nvSpPr>
        <p:spPr bwMode="gray">
          <a:xfrm>
            <a:off x="3863752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440FFA3C-AA69-4F99-AAE3-571A7B46740B}"/>
              </a:ext>
            </a:extLst>
          </p:cNvPr>
          <p:cNvSpPr/>
          <p:nvPr/>
        </p:nvSpPr>
        <p:spPr bwMode="gray">
          <a:xfrm>
            <a:off x="4080297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AA818C0-1B48-43C5-B867-C92EA4D4ABF2}"/>
              </a:ext>
            </a:extLst>
          </p:cNvPr>
          <p:cNvSpPr/>
          <p:nvPr/>
        </p:nvSpPr>
        <p:spPr bwMode="gray">
          <a:xfrm>
            <a:off x="4296321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8B10C7FB-0951-4242-910F-3367714AF968}"/>
              </a:ext>
            </a:extLst>
          </p:cNvPr>
          <p:cNvSpPr/>
          <p:nvPr/>
        </p:nvSpPr>
        <p:spPr bwMode="gray">
          <a:xfrm>
            <a:off x="4512345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3589109-5A13-4325-BF81-02FF2DDE4145}"/>
              </a:ext>
            </a:extLst>
          </p:cNvPr>
          <p:cNvSpPr/>
          <p:nvPr/>
        </p:nvSpPr>
        <p:spPr bwMode="gray">
          <a:xfrm>
            <a:off x="4728369" y="5948759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EA884A3-AFCB-48CA-B03F-B334219FD9E2}"/>
              </a:ext>
            </a:extLst>
          </p:cNvPr>
          <p:cNvSpPr/>
          <p:nvPr/>
        </p:nvSpPr>
        <p:spPr bwMode="gray">
          <a:xfrm>
            <a:off x="5015879" y="5948759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85267490-5867-48BA-8957-DA7AA7A7AA60}"/>
              </a:ext>
            </a:extLst>
          </p:cNvPr>
          <p:cNvSpPr/>
          <p:nvPr/>
        </p:nvSpPr>
        <p:spPr bwMode="gray">
          <a:xfrm>
            <a:off x="7752184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092B0515-39CD-46DD-8372-C1C0C3F46E96}"/>
              </a:ext>
            </a:extLst>
          </p:cNvPr>
          <p:cNvSpPr/>
          <p:nvPr/>
        </p:nvSpPr>
        <p:spPr bwMode="gray">
          <a:xfrm>
            <a:off x="7968729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7EB8F7A-05F6-419D-B05B-553A67FA5B1E}"/>
              </a:ext>
            </a:extLst>
          </p:cNvPr>
          <p:cNvSpPr/>
          <p:nvPr/>
        </p:nvSpPr>
        <p:spPr bwMode="gray">
          <a:xfrm>
            <a:off x="8184753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1293E24-F4E2-4CB8-8EB3-98603C08AE30}"/>
              </a:ext>
            </a:extLst>
          </p:cNvPr>
          <p:cNvSpPr/>
          <p:nvPr/>
        </p:nvSpPr>
        <p:spPr bwMode="gray">
          <a:xfrm>
            <a:off x="8400777" y="573273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A1ED4EA9-DD4C-4CB5-98E4-D9C9259C5777}"/>
              </a:ext>
            </a:extLst>
          </p:cNvPr>
          <p:cNvSpPr/>
          <p:nvPr/>
        </p:nvSpPr>
        <p:spPr bwMode="gray">
          <a:xfrm>
            <a:off x="8616801" y="5732735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F378361-7020-4007-8F31-8639CA98FF32}"/>
              </a:ext>
            </a:extLst>
          </p:cNvPr>
          <p:cNvSpPr/>
          <p:nvPr/>
        </p:nvSpPr>
        <p:spPr bwMode="gray">
          <a:xfrm>
            <a:off x="8904311" y="5732735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DE9C959-82F9-4108-8B7D-501A9AAB7B4B}"/>
              </a:ext>
            </a:extLst>
          </p:cNvPr>
          <p:cNvSpPr/>
          <p:nvPr/>
        </p:nvSpPr>
        <p:spPr bwMode="gray">
          <a:xfrm>
            <a:off x="7752184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356D7EE3-E9AB-4C55-904D-B4BD93699552}"/>
              </a:ext>
            </a:extLst>
          </p:cNvPr>
          <p:cNvSpPr/>
          <p:nvPr/>
        </p:nvSpPr>
        <p:spPr bwMode="gray">
          <a:xfrm>
            <a:off x="7968729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93F485A-A729-49F0-8309-835C258D7223}"/>
              </a:ext>
            </a:extLst>
          </p:cNvPr>
          <p:cNvSpPr/>
          <p:nvPr/>
        </p:nvSpPr>
        <p:spPr bwMode="gray">
          <a:xfrm>
            <a:off x="8184753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9107F92-1FE2-459F-8F14-9FA1FF0A6DB0}"/>
              </a:ext>
            </a:extLst>
          </p:cNvPr>
          <p:cNvSpPr/>
          <p:nvPr/>
        </p:nvSpPr>
        <p:spPr bwMode="gray">
          <a:xfrm>
            <a:off x="8400777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1DAB92F-3A1D-4517-9A45-D108ACE73D67}"/>
              </a:ext>
            </a:extLst>
          </p:cNvPr>
          <p:cNvSpPr/>
          <p:nvPr/>
        </p:nvSpPr>
        <p:spPr bwMode="gray">
          <a:xfrm>
            <a:off x="8616801" y="5948759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8F83F832-5500-4AC4-88E3-BBEEB6E7A95C}"/>
              </a:ext>
            </a:extLst>
          </p:cNvPr>
          <p:cNvSpPr/>
          <p:nvPr/>
        </p:nvSpPr>
        <p:spPr bwMode="gray">
          <a:xfrm>
            <a:off x="8904311" y="5948759"/>
            <a:ext cx="1440000" cy="1445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D70432C-2C0D-4C8F-A379-D410F35A25A1}"/>
              </a:ext>
            </a:extLst>
          </p:cNvPr>
          <p:cNvSpPr/>
          <p:nvPr/>
        </p:nvSpPr>
        <p:spPr bwMode="gray">
          <a:xfrm>
            <a:off x="9696400" y="247327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97D19EF-1DDA-4B68-A0E2-282341B6FAF1}"/>
              </a:ext>
            </a:extLst>
          </p:cNvPr>
          <p:cNvSpPr/>
          <p:nvPr/>
        </p:nvSpPr>
        <p:spPr bwMode="gray">
          <a:xfrm>
            <a:off x="9912945" y="247327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11014AC4-3E60-4B96-B8B5-780E013300B6}"/>
              </a:ext>
            </a:extLst>
          </p:cNvPr>
          <p:cNvSpPr/>
          <p:nvPr/>
        </p:nvSpPr>
        <p:spPr bwMode="gray">
          <a:xfrm>
            <a:off x="10128969" y="247327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70893A1-2389-4C00-90CD-D47466A316A6}"/>
              </a:ext>
            </a:extLst>
          </p:cNvPr>
          <p:cNvSpPr/>
          <p:nvPr/>
        </p:nvSpPr>
        <p:spPr bwMode="gray">
          <a:xfrm>
            <a:off x="10344993" y="247327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07ED9B2-EE05-4519-9359-B47DDE3CC0BF}"/>
              </a:ext>
            </a:extLst>
          </p:cNvPr>
          <p:cNvSpPr/>
          <p:nvPr/>
        </p:nvSpPr>
        <p:spPr bwMode="gray">
          <a:xfrm>
            <a:off x="10561017" y="247327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D4287E00-6A3D-4914-BBFD-074C5012C277}"/>
              </a:ext>
            </a:extLst>
          </p:cNvPr>
          <p:cNvSpPr/>
          <p:nvPr/>
        </p:nvSpPr>
        <p:spPr bwMode="gray">
          <a:xfrm>
            <a:off x="9696400" y="2977166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2E321490-E36B-4026-82B8-7F695C24AB0D}"/>
              </a:ext>
            </a:extLst>
          </p:cNvPr>
          <p:cNvSpPr/>
          <p:nvPr/>
        </p:nvSpPr>
        <p:spPr bwMode="gray">
          <a:xfrm>
            <a:off x="9912945" y="297716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07F25E08-38C3-431B-845B-75E5DC6B0BE7}"/>
              </a:ext>
            </a:extLst>
          </p:cNvPr>
          <p:cNvSpPr/>
          <p:nvPr/>
        </p:nvSpPr>
        <p:spPr bwMode="gray">
          <a:xfrm>
            <a:off x="10128969" y="297716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93A84F50-22A6-4524-A03D-F2E086CCC0F4}"/>
              </a:ext>
            </a:extLst>
          </p:cNvPr>
          <p:cNvSpPr/>
          <p:nvPr/>
        </p:nvSpPr>
        <p:spPr bwMode="gray">
          <a:xfrm>
            <a:off x="10344993" y="297716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BAC7D636-1F94-4A97-90CE-C919D52F6F51}"/>
              </a:ext>
            </a:extLst>
          </p:cNvPr>
          <p:cNvSpPr/>
          <p:nvPr/>
        </p:nvSpPr>
        <p:spPr bwMode="gray">
          <a:xfrm>
            <a:off x="10561017" y="297716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30BDB45-48EF-4979-BC85-A221F602DB94}"/>
              </a:ext>
            </a:extLst>
          </p:cNvPr>
          <p:cNvSpPr/>
          <p:nvPr/>
        </p:nvSpPr>
        <p:spPr bwMode="gray">
          <a:xfrm>
            <a:off x="9696400" y="348106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DE03C563-C4E2-4BA5-B503-5EA31E8B5131}"/>
              </a:ext>
            </a:extLst>
          </p:cNvPr>
          <p:cNvSpPr/>
          <p:nvPr/>
        </p:nvSpPr>
        <p:spPr bwMode="gray">
          <a:xfrm>
            <a:off x="9912945" y="348106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5ED4901B-38F6-47C9-8463-EF2956DBC03A}"/>
              </a:ext>
            </a:extLst>
          </p:cNvPr>
          <p:cNvSpPr/>
          <p:nvPr/>
        </p:nvSpPr>
        <p:spPr bwMode="gray">
          <a:xfrm>
            <a:off x="10128969" y="348106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E37DCA9-28F6-4378-AFC8-845342737392}"/>
              </a:ext>
            </a:extLst>
          </p:cNvPr>
          <p:cNvSpPr/>
          <p:nvPr/>
        </p:nvSpPr>
        <p:spPr bwMode="gray">
          <a:xfrm>
            <a:off x="10344993" y="348106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18CB7009-542E-4C8D-A274-C9FBD2ADDA53}"/>
              </a:ext>
            </a:extLst>
          </p:cNvPr>
          <p:cNvSpPr/>
          <p:nvPr/>
        </p:nvSpPr>
        <p:spPr bwMode="gray">
          <a:xfrm>
            <a:off x="10561017" y="348106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36089BD-8B6F-4276-AD9A-CAAB3E938FAE}"/>
              </a:ext>
            </a:extLst>
          </p:cNvPr>
          <p:cNvSpPr/>
          <p:nvPr/>
        </p:nvSpPr>
        <p:spPr bwMode="gray">
          <a:xfrm>
            <a:off x="9696400" y="3984956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BFE09D3-5DA5-4B39-97C2-AD497F815EBF}"/>
              </a:ext>
            </a:extLst>
          </p:cNvPr>
          <p:cNvSpPr/>
          <p:nvPr/>
        </p:nvSpPr>
        <p:spPr bwMode="gray">
          <a:xfrm>
            <a:off x="9912945" y="3984956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7209FE5-40CC-4415-800B-149D7313B107}"/>
              </a:ext>
            </a:extLst>
          </p:cNvPr>
          <p:cNvSpPr/>
          <p:nvPr/>
        </p:nvSpPr>
        <p:spPr bwMode="gray">
          <a:xfrm>
            <a:off x="10128969" y="3984956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4FD74DE0-120C-476B-B70C-599579A0821A}"/>
              </a:ext>
            </a:extLst>
          </p:cNvPr>
          <p:cNvSpPr/>
          <p:nvPr/>
        </p:nvSpPr>
        <p:spPr bwMode="gray">
          <a:xfrm>
            <a:off x="10344993" y="398495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4D702438-D68B-47E2-AEB4-FFF731255BA8}"/>
              </a:ext>
            </a:extLst>
          </p:cNvPr>
          <p:cNvSpPr/>
          <p:nvPr/>
        </p:nvSpPr>
        <p:spPr bwMode="gray">
          <a:xfrm>
            <a:off x="10561017" y="3984956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485CFD80-3445-4E2E-9C24-7096760843A4}"/>
              </a:ext>
            </a:extLst>
          </p:cNvPr>
          <p:cNvSpPr/>
          <p:nvPr/>
        </p:nvSpPr>
        <p:spPr bwMode="gray">
          <a:xfrm>
            <a:off x="9696400" y="448885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60260E-1C02-4891-9B07-B94A98393F90}"/>
              </a:ext>
            </a:extLst>
          </p:cNvPr>
          <p:cNvSpPr/>
          <p:nvPr/>
        </p:nvSpPr>
        <p:spPr bwMode="gray">
          <a:xfrm>
            <a:off x="9912945" y="448885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B0AF0FD-B4C7-4FB8-9769-312479650DF4}"/>
              </a:ext>
            </a:extLst>
          </p:cNvPr>
          <p:cNvSpPr/>
          <p:nvPr/>
        </p:nvSpPr>
        <p:spPr bwMode="gray">
          <a:xfrm>
            <a:off x="10128969" y="448885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3C98AF68-A082-4D98-A104-5064999107AD}"/>
              </a:ext>
            </a:extLst>
          </p:cNvPr>
          <p:cNvSpPr/>
          <p:nvPr/>
        </p:nvSpPr>
        <p:spPr bwMode="gray">
          <a:xfrm>
            <a:off x="10344993" y="4488851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1C35986E-7BCC-4187-B833-012170850C23}"/>
              </a:ext>
            </a:extLst>
          </p:cNvPr>
          <p:cNvSpPr/>
          <p:nvPr/>
        </p:nvSpPr>
        <p:spPr bwMode="gray">
          <a:xfrm>
            <a:off x="10561017" y="4488851"/>
            <a:ext cx="144537" cy="144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2853C10-48FA-4BD5-B24B-AA9B6A7BBE0A}"/>
              </a:ext>
            </a:extLst>
          </p:cNvPr>
          <p:cNvSpPr/>
          <p:nvPr/>
        </p:nvSpPr>
        <p:spPr bwMode="gray">
          <a:xfrm>
            <a:off x="9696400" y="499274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1AECBC8-CF4F-434D-BA37-FFA3CBD4607D}"/>
              </a:ext>
            </a:extLst>
          </p:cNvPr>
          <p:cNvSpPr/>
          <p:nvPr/>
        </p:nvSpPr>
        <p:spPr bwMode="gray">
          <a:xfrm>
            <a:off x="9912945" y="499274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5083C1BA-5945-4693-968D-226AD1E2DBF7}"/>
              </a:ext>
            </a:extLst>
          </p:cNvPr>
          <p:cNvSpPr/>
          <p:nvPr/>
        </p:nvSpPr>
        <p:spPr bwMode="gray">
          <a:xfrm>
            <a:off x="10128969" y="499274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AD76D2F-8BB5-40F3-99E2-6F7EFF978442}"/>
              </a:ext>
            </a:extLst>
          </p:cNvPr>
          <p:cNvSpPr/>
          <p:nvPr/>
        </p:nvSpPr>
        <p:spPr bwMode="gray">
          <a:xfrm>
            <a:off x="10344993" y="499274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A07BF81-0A59-4B82-8810-80B9EB4645B3}"/>
              </a:ext>
            </a:extLst>
          </p:cNvPr>
          <p:cNvSpPr/>
          <p:nvPr/>
        </p:nvSpPr>
        <p:spPr bwMode="gray">
          <a:xfrm>
            <a:off x="10561017" y="4992745"/>
            <a:ext cx="144537" cy="14453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36081795"/>
      </p:ext>
    </p:extLst>
  </p:cSld>
  <p:clrMapOvr>
    <a:masterClrMapping/>
  </p:clrMapOvr>
  <p:transition spd="slow"/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Rectangle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8" name="think-cell Folie" r:id="rId9" imgW="0" imgH="0" progId="TCLayout.ActiveDocument.1">
                  <p:embed/>
                </p:oleObj>
              </mc:Choice>
              <mc:Fallback>
                <p:oleObj name="think-cell Folie" r:id="rId9" imgW="0" imgH="0" progId="TCLayout.ActiveDocument.1">
                  <p:embed/>
                  <p:pic>
                    <p:nvPicPr>
                      <p:cNvPr id="194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2" name="Rectangle 17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24000" y="0"/>
            <a:ext cx="158750" cy="15875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numCol="1" spc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0030765-1849-41E4-BE90-CF89B817E70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exts with ic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9</a:t>
            </a:fld>
            <a:endParaRPr lang="en-US" dirty="0"/>
          </a:p>
        </p:txBody>
      </p:sp>
      <p:grpSp>
        <p:nvGrpSpPr>
          <p:cNvPr id="50" name="Grupa 49">
            <a:extLst>
              <a:ext uri="{FF2B5EF4-FFF2-40B4-BE49-F238E27FC236}">
                <a16:creationId xmlns:a16="http://schemas.microsoft.com/office/drawing/2014/main" id="{68252C89-8CDF-4C52-A6BD-5B4460C061A0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552000" y="1701000"/>
            <a:ext cx="589846" cy="648000"/>
            <a:chOff x="11261725" y="1700213"/>
            <a:chExt cx="450851" cy="495300"/>
          </a:xfrm>
        </p:grpSpPr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F9AA5FB7-D7DC-4696-90AA-A46AF1A2D9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Line 7">
              <a:extLst>
                <a:ext uri="{FF2B5EF4-FFF2-40B4-BE49-F238E27FC236}">
                  <a16:creationId xmlns:a16="http://schemas.microsoft.com/office/drawing/2014/main" id="{74927B7C-10DB-4D3D-8FD4-A295495CF211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Line 8">
              <a:extLst>
                <a:ext uri="{FF2B5EF4-FFF2-40B4-BE49-F238E27FC236}">
                  <a16:creationId xmlns:a16="http://schemas.microsoft.com/office/drawing/2014/main" id="{847DB8C8-D946-44F2-A7B6-175C78D1046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Line 9">
              <a:extLst>
                <a:ext uri="{FF2B5EF4-FFF2-40B4-BE49-F238E27FC236}">
                  <a16:creationId xmlns:a16="http://schemas.microsoft.com/office/drawing/2014/main" id="{1FF31402-7E67-4115-8641-460BA6E074D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Line 10">
              <a:extLst>
                <a:ext uri="{FF2B5EF4-FFF2-40B4-BE49-F238E27FC236}">
                  <a16:creationId xmlns:a16="http://schemas.microsoft.com/office/drawing/2014/main" id="{B735134A-C164-4A7F-B568-1ED842B7329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Line 11">
              <a:extLst>
                <a:ext uri="{FF2B5EF4-FFF2-40B4-BE49-F238E27FC236}">
                  <a16:creationId xmlns:a16="http://schemas.microsoft.com/office/drawing/2014/main" id="{6D9A0B9F-2425-416A-BA98-ECE58B7357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Line 12">
              <a:extLst>
                <a:ext uri="{FF2B5EF4-FFF2-40B4-BE49-F238E27FC236}">
                  <a16:creationId xmlns:a16="http://schemas.microsoft.com/office/drawing/2014/main" id="{6F38F042-E367-436C-A8FD-E2ECAF7F805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Line 13">
              <a:extLst>
                <a:ext uri="{FF2B5EF4-FFF2-40B4-BE49-F238E27FC236}">
                  <a16:creationId xmlns:a16="http://schemas.microsoft.com/office/drawing/2014/main" id="{B10FA79A-F1B3-4679-8A89-38F81CB40BC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Line 14">
              <a:extLst>
                <a:ext uri="{FF2B5EF4-FFF2-40B4-BE49-F238E27FC236}">
                  <a16:creationId xmlns:a16="http://schemas.microsoft.com/office/drawing/2014/main" id="{82A1D407-D4B0-467C-80CF-103FF792C6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Line 15">
              <a:extLst>
                <a:ext uri="{FF2B5EF4-FFF2-40B4-BE49-F238E27FC236}">
                  <a16:creationId xmlns:a16="http://schemas.microsoft.com/office/drawing/2014/main" id="{78C7346F-A7B5-41AB-9AE3-1046FB98F0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Line 16">
              <a:extLst>
                <a:ext uri="{FF2B5EF4-FFF2-40B4-BE49-F238E27FC236}">
                  <a16:creationId xmlns:a16="http://schemas.microsoft.com/office/drawing/2014/main" id="{4244E837-C154-418D-B14C-CB2F610E75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2" name="Grupa 61">
            <a:extLst>
              <a:ext uri="{FF2B5EF4-FFF2-40B4-BE49-F238E27FC236}">
                <a16:creationId xmlns:a16="http://schemas.microsoft.com/office/drawing/2014/main" id="{A11DD5E4-5DA2-4E89-8498-527C1C5DFD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56040" y="1701000"/>
            <a:ext cx="605873" cy="648000"/>
            <a:chOff x="11225213" y="2628901"/>
            <a:chExt cx="479425" cy="512762"/>
          </a:xfrm>
        </p:grpSpPr>
        <p:sp>
          <p:nvSpPr>
            <p:cNvPr id="63" name="Line 20">
              <a:extLst>
                <a:ext uri="{FF2B5EF4-FFF2-40B4-BE49-F238E27FC236}">
                  <a16:creationId xmlns:a16="http://schemas.microsoft.com/office/drawing/2014/main" id="{88B4A372-EF3B-40AE-A3C5-EE52391259A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7262C17C-EE70-442C-92FE-6CE51443A3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Line 22">
              <a:extLst>
                <a:ext uri="{FF2B5EF4-FFF2-40B4-BE49-F238E27FC236}">
                  <a16:creationId xmlns:a16="http://schemas.microsoft.com/office/drawing/2014/main" id="{C9282195-F469-494A-ABC2-3505BFEB0DF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Line 23">
              <a:extLst>
                <a:ext uri="{FF2B5EF4-FFF2-40B4-BE49-F238E27FC236}">
                  <a16:creationId xmlns:a16="http://schemas.microsoft.com/office/drawing/2014/main" id="{92C16EF5-14C1-4F20-9AB3-C5D45ACF2AE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24">
              <a:extLst>
                <a:ext uri="{FF2B5EF4-FFF2-40B4-BE49-F238E27FC236}">
                  <a16:creationId xmlns:a16="http://schemas.microsoft.com/office/drawing/2014/main" id="{B70300BA-1E0B-4295-A116-325C42B36D9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Line 25">
              <a:extLst>
                <a:ext uri="{FF2B5EF4-FFF2-40B4-BE49-F238E27FC236}">
                  <a16:creationId xmlns:a16="http://schemas.microsoft.com/office/drawing/2014/main" id="{288CB782-7DE2-4EFF-8307-4B1E6649C065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FD27515E-252C-46F9-AFBA-F61AA1E00A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3" name="Inhaltsplatzhalter 7">
            <a:extLst>
              <a:ext uri="{FF2B5EF4-FFF2-40B4-BE49-F238E27FC236}">
                <a16:creationId xmlns:a16="http://schemas.microsoft.com/office/drawing/2014/main" id="{7509F004-E243-48ED-917D-3C91456C7C64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2"/>
            <a:ext cx="5256000" cy="345638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dolore magna aliquam erat volutpat. Aliquam erat volutpat wisi enim ad minim nostrud exerci tation ullamcorper.</a:t>
            </a:r>
          </a:p>
          <a:p>
            <a:pPr lvl="2"/>
            <a:r>
              <a:rPr lang="en-US" dirty="0"/>
              <a:t>Ut wisi enim ad minim nostrud exerci lobortis </a:t>
            </a:r>
          </a:p>
          <a:p>
            <a:pPr lvl="2"/>
            <a:r>
              <a:rPr lang="en-US" dirty="0"/>
              <a:t>Duis autem vel eum iriure dolor in hendrerit </a:t>
            </a:r>
          </a:p>
          <a:p>
            <a:pPr lvl="3"/>
            <a:r>
              <a:rPr lang="en-US" dirty="0"/>
              <a:t>Blandit praesent luptatum lorem </a:t>
            </a:r>
          </a:p>
          <a:p>
            <a:pPr lvl="3"/>
            <a:r>
              <a:rPr lang="en-US" dirty="0"/>
              <a:t>Lorem ipsum delenit augue duis</a:t>
            </a:r>
          </a:p>
        </p:txBody>
      </p:sp>
      <p:sp>
        <p:nvSpPr>
          <p:cNvPr id="45" name="Inhaltsplatzhalter 7">
            <a:extLst>
              <a:ext uri="{FF2B5EF4-FFF2-40B4-BE49-F238E27FC236}">
                <a16:creationId xmlns:a16="http://schemas.microsoft.com/office/drawing/2014/main" id="{DD0AEB45-D025-4C8A-A5C2-2209E835017E}"/>
              </a:ext>
            </a:extLst>
          </p:cNvPr>
          <p:cNvSpPr txBox="1">
            <a:spLocks/>
          </p:cNvSpPr>
          <p:nvPr/>
        </p:nvSpPr>
        <p:spPr bwMode="gray">
          <a:xfrm>
            <a:off x="6456040" y="2636912"/>
            <a:ext cx="5256000" cy="345638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dolore magna aliquam erat volutpat. Aliquam erat volutpat wisi enim ad minim nostrud exerci tation ullamcorper.</a:t>
            </a:r>
          </a:p>
          <a:p>
            <a:pPr lvl="2"/>
            <a:r>
              <a:rPr lang="en-US" dirty="0"/>
              <a:t>Ut wisi enim ad minim nostrud exerci lobortis </a:t>
            </a:r>
          </a:p>
          <a:p>
            <a:pPr lvl="2"/>
            <a:r>
              <a:rPr lang="en-US" dirty="0"/>
              <a:t>Duis autem vel eum iriure dolor in hendrerit </a:t>
            </a:r>
          </a:p>
          <a:p>
            <a:pPr lvl="3"/>
            <a:r>
              <a:rPr lang="en-US" dirty="0"/>
              <a:t>Blandit praesent luptatum lorem </a:t>
            </a:r>
          </a:p>
          <a:p>
            <a:pPr lvl="3"/>
            <a:r>
              <a:rPr lang="en-US" dirty="0"/>
              <a:t>Lorem ipsum delenit augue dui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98655868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3F09187-E317-4098-8F9D-4F2615BBA63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3F09187-E317-4098-8F9D-4F2615BBA6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273761B3-437A-FD4C-B280-15195954EB8A}"/>
              </a:ext>
            </a:extLst>
          </p:cNvPr>
          <p:cNvSpPr txBox="1"/>
          <p:nvPr/>
        </p:nvSpPr>
        <p:spPr bwMode="gray">
          <a:xfrm>
            <a:off x="-1095324" y="-32598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CDF8E-C7F9-C643-B7A5-3FEEB3D0ADBB}"/>
              </a:ext>
            </a:extLst>
          </p:cNvPr>
          <p:cNvSpPr/>
          <p:nvPr/>
        </p:nvSpPr>
        <p:spPr bwMode="gray">
          <a:xfrm>
            <a:off x="10266218" y="6276109"/>
            <a:ext cx="1925782" cy="58189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0B59DE27-9111-4290-B32D-5A2DEAA78F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7E9542E-295A-4E9F-8FF8-B8804E7A9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slide with no descriptor</a:t>
            </a:r>
            <a:endParaRPr lang="en-US" dirty="0"/>
          </a:p>
        </p:txBody>
      </p:sp>
      <p:pic>
        <p:nvPicPr>
          <p:cNvPr id="14" name="Graphic 1">
            <a:extLst>
              <a:ext uri="{FF2B5EF4-FFF2-40B4-BE49-F238E27FC236}">
                <a16:creationId xmlns:a16="http://schemas.microsoft.com/office/drawing/2014/main" id="{02637A67-C881-4742-8034-840881CF18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551384" y="5985284"/>
            <a:ext cx="2757844" cy="342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87765076"/>
      </p:ext>
    </p:extLst>
  </p:cSld>
  <p:clrMapOvr>
    <a:masterClrMapping/>
  </p:clrMapOvr>
  <p:transition spd="slow"/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Rectangle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2" name="think-cell Folie" r:id="rId9" imgW="0" imgH="0" progId="TCLayout.ActiveDocument.1">
                  <p:embed/>
                </p:oleObj>
              </mc:Choice>
              <mc:Fallback>
                <p:oleObj name="think-cell Folie" r:id="rId9" imgW="0" imgH="0" progId="TCLayout.ActiveDocument.1">
                  <p:embed/>
                  <p:pic>
                    <p:nvPicPr>
                      <p:cNvPr id="194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2" name="Rectangle 17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24000" y="0"/>
            <a:ext cx="158750" cy="15875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numCol="1" spc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8240D88-E103-42B5-8A66-472B9A6423A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exts with ic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0</a:t>
            </a:fld>
            <a:endParaRPr lang="en-US" dirty="0"/>
          </a:p>
        </p:txBody>
      </p:sp>
      <p:grpSp>
        <p:nvGrpSpPr>
          <p:cNvPr id="103" name="Grupa 102">
            <a:extLst>
              <a:ext uri="{FF2B5EF4-FFF2-40B4-BE49-F238E27FC236}">
                <a16:creationId xmlns:a16="http://schemas.microsoft.com/office/drawing/2014/main" id="{26111AD4-9B79-4623-9AA0-DAED07A116F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00000" y="1701000"/>
            <a:ext cx="707685" cy="648000"/>
            <a:chOff x="11176000" y="3582988"/>
            <a:chExt cx="527050" cy="482600"/>
          </a:xfrm>
        </p:grpSpPr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6DAC85EB-B998-4897-A703-77EC89520A3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610E60E8-558B-43F6-BC46-D2C1B73F21C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F3813A6-74FC-4F5E-996A-1D75D14166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33">
              <a:extLst>
                <a:ext uri="{FF2B5EF4-FFF2-40B4-BE49-F238E27FC236}">
                  <a16:creationId xmlns:a16="http://schemas.microsoft.com/office/drawing/2014/main" id="{A8CEBD18-C7FB-4BCE-B2EB-4779E052D7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34">
              <a:extLst>
                <a:ext uri="{FF2B5EF4-FFF2-40B4-BE49-F238E27FC236}">
                  <a16:creationId xmlns:a16="http://schemas.microsoft.com/office/drawing/2014/main" id="{0C4FBE9D-26D1-47A1-A377-73E23F8777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35">
              <a:extLst>
                <a:ext uri="{FF2B5EF4-FFF2-40B4-BE49-F238E27FC236}">
                  <a16:creationId xmlns:a16="http://schemas.microsoft.com/office/drawing/2014/main" id="{A6759D5A-8B12-4B83-A658-55B80538B82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5" name="Inhaltsplatzhalter 7">
            <a:extLst>
              <a:ext uri="{FF2B5EF4-FFF2-40B4-BE49-F238E27FC236}">
                <a16:creationId xmlns:a16="http://schemas.microsoft.com/office/drawing/2014/main" id="{3B1AB3AB-9036-44E1-8C91-6BF2D692C524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2"/>
            <a:ext cx="3312591" cy="345638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 vitae ad aliquam erat volutpat.</a:t>
            </a:r>
          </a:p>
          <a:p>
            <a:pPr lvl="2"/>
            <a:r>
              <a:rPr lang="en-US" dirty="0"/>
              <a:t>Ut wisi enim ad minim nostrud ex ea commodo consequat</a:t>
            </a:r>
          </a:p>
          <a:p>
            <a:pPr lvl="2"/>
            <a:r>
              <a:rPr lang="en-US" dirty="0"/>
              <a:t>Duis autem vel eum iriure</a:t>
            </a:r>
            <a:br>
              <a:rPr lang="en-US" dirty="0"/>
            </a:br>
            <a:r>
              <a:rPr lang="en-US" dirty="0"/>
              <a:t>esse molestie consequat</a:t>
            </a:r>
          </a:p>
        </p:txBody>
      </p:sp>
      <p:grpSp>
        <p:nvGrpSpPr>
          <p:cNvPr id="46" name="Grupa 49">
            <a:extLst>
              <a:ext uri="{FF2B5EF4-FFF2-40B4-BE49-F238E27FC236}">
                <a16:creationId xmlns:a16="http://schemas.microsoft.com/office/drawing/2014/main" id="{76BCA0AE-40A6-4803-8259-48CCB9A67B7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552000" y="1701000"/>
            <a:ext cx="589846" cy="648000"/>
            <a:chOff x="11261725" y="1700213"/>
            <a:chExt cx="450851" cy="495300"/>
          </a:xfrm>
        </p:grpSpPr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D0E702DF-9BBA-415C-AE41-896E38CF7BF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Line 7">
              <a:extLst>
                <a:ext uri="{FF2B5EF4-FFF2-40B4-BE49-F238E27FC236}">
                  <a16:creationId xmlns:a16="http://schemas.microsoft.com/office/drawing/2014/main" id="{E0411304-5675-4AC0-B7A5-ED0EE5B88A8A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Line 8">
              <a:extLst>
                <a:ext uri="{FF2B5EF4-FFF2-40B4-BE49-F238E27FC236}">
                  <a16:creationId xmlns:a16="http://schemas.microsoft.com/office/drawing/2014/main" id="{64E27834-1724-4208-B44C-2A5441014CF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Line 9">
              <a:extLst>
                <a:ext uri="{FF2B5EF4-FFF2-40B4-BE49-F238E27FC236}">
                  <a16:creationId xmlns:a16="http://schemas.microsoft.com/office/drawing/2014/main" id="{A75EED9F-ADA5-44BF-BA43-1D1F15DAB33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Line 10">
              <a:extLst>
                <a:ext uri="{FF2B5EF4-FFF2-40B4-BE49-F238E27FC236}">
                  <a16:creationId xmlns:a16="http://schemas.microsoft.com/office/drawing/2014/main" id="{EC4FB07A-E732-4798-8CD9-68573ED05F7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Line 11">
              <a:extLst>
                <a:ext uri="{FF2B5EF4-FFF2-40B4-BE49-F238E27FC236}">
                  <a16:creationId xmlns:a16="http://schemas.microsoft.com/office/drawing/2014/main" id="{0F24073E-DC39-443A-9BE9-B2336B1B072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Line 12">
              <a:extLst>
                <a:ext uri="{FF2B5EF4-FFF2-40B4-BE49-F238E27FC236}">
                  <a16:creationId xmlns:a16="http://schemas.microsoft.com/office/drawing/2014/main" id="{C611ACA6-DE47-47A4-BB45-A2DDDA09E53C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Line 13">
              <a:extLst>
                <a:ext uri="{FF2B5EF4-FFF2-40B4-BE49-F238E27FC236}">
                  <a16:creationId xmlns:a16="http://schemas.microsoft.com/office/drawing/2014/main" id="{F3299B9F-61C9-498F-93DE-2A9C05AFFE2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Line 14">
              <a:extLst>
                <a:ext uri="{FF2B5EF4-FFF2-40B4-BE49-F238E27FC236}">
                  <a16:creationId xmlns:a16="http://schemas.microsoft.com/office/drawing/2014/main" id="{E6D67DCA-8E9F-44AA-899A-5924156BE86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Line 15">
              <a:extLst>
                <a:ext uri="{FF2B5EF4-FFF2-40B4-BE49-F238E27FC236}">
                  <a16:creationId xmlns:a16="http://schemas.microsoft.com/office/drawing/2014/main" id="{1E7C313C-0EFF-4AD8-A7B3-A20B7649432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Line 16">
              <a:extLst>
                <a:ext uri="{FF2B5EF4-FFF2-40B4-BE49-F238E27FC236}">
                  <a16:creationId xmlns:a16="http://schemas.microsoft.com/office/drawing/2014/main" id="{3DBB33B9-822C-440B-A32A-738D2CCDF8C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" name="Grupa 61">
            <a:extLst>
              <a:ext uri="{FF2B5EF4-FFF2-40B4-BE49-F238E27FC236}">
                <a16:creationId xmlns:a16="http://schemas.microsoft.com/office/drawing/2014/main" id="{D65D992B-8CC8-42E3-A70E-379967AC6DA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515817" y="1701000"/>
            <a:ext cx="605873" cy="648000"/>
            <a:chOff x="11225213" y="2628901"/>
            <a:chExt cx="479425" cy="512762"/>
          </a:xfrm>
        </p:grpSpPr>
        <p:sp>
          <p:nvSpPr>
            <p:cNvPr id="62" name="Line 20">
              <a:extLst>
                <a:ext uri="{FF2B5EF4-FFF2-40B4-BE49-F238E27FC236}">
                  <a16:creationId xmlns:a16="http://schemas.microsoft.com/office/drawing/2014/main" id="{E7546F30-0446-41BD-AE55-E59A095F9627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436262E5-2D32-4406-943E-6DC695AB60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Line 22">
              <a:extLst>
                <a:ext uri="{FF2B5EF4-FFF2-40B4-BE49-F238E27FC236}">
                  <a16:creationId xmlns:a16="http://schemas.microsoft.com/office/drawing/2014/main" id="{DAB18DD1-2789-4262-A7CD-1261526EC2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Line 23">
              <a:extLst>
                <a:ext uri="{FF2B5EF4-FFF2-40B4-BE49-F238E27FC236}">
                  <a16:creationId xmlns:a16="http://schemas.microsoft.com/office/drawing/2014/main" id="{72CAB93E-634D-4A3C-8478-5C0A68F415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Line 24">
              <a:extLst>
                <a:ext uri="{FF2B5EF4-FFF2-40B4-BE49-F238E27FC236}">
                  <a16:creationId xmlns:a16="http://schemas.microsoft.com/office/drawing/2014/main" id="{B6D5E54C-8B0E-47BA-805C-8D795FC85AB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25">
              <a:extLst>
                <a:ext uri="{FF2B5EF4-FFF2-40B4-BE49-F238E27FC236}">
                  <a16:creationId xmlns:a16="http://schemas.microsoft.com/office/drawing/2014/main" id="{5D16F1FA-6673-4574-9942-B578BE654C19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4DEB516F-C45C-42B3-90B4-A0DB765089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" name="Inhaltsplatzhalter 7">
            <a:extLst>
              <a:ext uri="{FF2B5EF4-FFF2-40B4-BE49-F238E27FC236}">
                <a16:creationId xmlns:a16="http://schemas.microsoft.com/office/drawing/2014/main" id="{9223747D-9012-4E2D-ACB8-21934E1B3D00}"/>
              </a:ext>
            </a:extLst>
          </p:cNvPr>
          <p:cNvSpPr txBox="1">
            <a:spLocks/>
          </p:cNvSpPr>
          <p:nvPr/>
        </p:nvSpPr>
        <p:spPr bwMode="gray">
          <a:xfrm>
            <a:off x="4515817" y="2636912"/>
            <a:ext cx="3240000" cy="345638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sther euismod dolore magna vitae ad aliquam erat volutpat.</a:t>
            </a:r>
          </a:p>
          <a:p>
            <a:pPr lvl="2"/>
            <a:r>
              <a:rPr lang="en-US" dirty="0"/>
              <a:t>Ut wisi enim ad minim nostrud ex ea commodo consequat</a:t>
            </a:r>
          </a:p>
          <a:p>
            <a:pPr lvl="2"/>
            <a:r>
              <a:rPr lang="en-US" dirty="0"/>
              <a:t>Duis autem vel eum iriure</a:t>
            </a:r>
            <a:br>
              <a:rPr lang="en-US" dirty="0"/>
            </a:br>
            <a:r>
              <a:rPr lang="en-US" dirty="0"/>
              <a:t>esse molestie consequat</a:t>
            </a:r>
          </a:p>
        </p:txBody>
      </p:sp>
      <p:sp>
        <p:nvSpPr>
          <p:cNvPr id="70" name="Inhaltsplatzhalter 7">
            <a:extLst>
              <a:ext uri="{FF2B5EF4-FFF2-40B4-BE49-F238E27FC236}">
                <a16:creationId xmlns:a16="http://schemas.microsoft.com/office/drawing/2014/main" id="{39ADA6A5-58F1-4DE4-9103-2CBFC06F8FAE}"/>
              </a:ext>
            </a:extLst>
          </p:cNvPr>
          <p:cNvSpPr txBox="1">
            <a:spLocks/>
          </p:cNvSpPr>
          <p:nvPr/>
        </p:nvSpPr>
        <p:spPr bwMode="gray">
          <a:xfrm>
            <a:off x="8400033" y="2636912"/>
            <a:ext cx="3312591" cy="345638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 vitae ad aliquam erat volutpat.</a:t>
            </a:r>
          </a:p>
          <a:p>
            <a:pPr lvl="2"/>
            <a:r>
              <a:rPr lang="en-US" dirty="0"/>
              <a:t>Ut wisi enim ad minim nostrud ex ea commodo consequat</a:t>
            </a:r>
          </a:p>
          <a:p>
            <a:pPr lvl="2"/>
            <a:r>
              <a:rPr lang="en-US" dirty="0"/>
              <a:t>Duis autem vel eum iriure</a:t>
            </a:r>
            <a:br>
              <a:rPr lang="en-US" dirty="0"/>
            </a:br>
            <a:r>
              <a:rPr lang="en-US" dirty="0"/>
              <a:t>esse molestie consequa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5626072"/>
      </p:ext>
    </p:extLst>
  </p:cSld>
  <p:clrMapOvr>
    <a:masterClrMapping/>
  </p:clrMapOvr>
  <p:transition spd="slow"/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90D9A20-B9FB-400B-80B0-8F4EADF7144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6" name="think-cell Folie" r:id="rId11" imgW="359" imgH="360" progId="TCLayout.ActiveDocument.1">
                  <p:embed/>
                </p:oleObj>
              </mc:Choice>
              <mc:Fallback>
                <p:oleObj name="think-cell Folie" r:id="rId11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90D9A20-B9FB-400B-80B0-8F4EADF71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F2C765D-DADC-43AD-9BD7-2DFDC50C48C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98771DB-C041-4CDB-90C9-4938C0D96DD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exts with ic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34EE2CCC-E66B-4A9D-8915-4CEDFDC596C1}"/>
              </a:ext>
            </a:extLst>
          </p:cNvPr>
          <p:cNvSpPr txBox="1">
            <a:spLocks/>
          </p:cNvSpPr>
          <p:nvPr/>
        </p:nvSpPr>
        <p:spPr bwMode="gray">
          <a:xfrm>
            <a:off x="1847305" y="1700808"/>
            <a:ext cx="3961358" cy="18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estherdolore magna aliquam erat volutpat bin. Ut wisi enim ad minim nostrud exerci lobortis nisl ut aliquip</a:t>
            </a:r>
          </a:p>
        </p:txBody>
      </p:sp>
      <p:grpSp>
        <p:nvGrpSpPr>
          <p:cNvPr id="59" name="Grupa 49">
            <a:extLst>
              <a:ext uri="{FF2B5EF4-FFF2-40B4-BE49-F238E27FC236}">
                <a16:creationId xmlns:a16="http://schemas.microsoft.com/office/drawing/2014/main" id="{6CA44518-E708-4FC4-B71D-B3035CDF6839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552000" y="1701000"/>
            <a:ext cx="589846" cy="648000"/>
            <a:chOff x="11261725" y="1700213"/>
            <a:chExt cx="450851" cy="495300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DC15728B-FD16-4E33-BDDE-7812C47DF2D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Line 7">
              <a:extLst>
                <a:ext uri="{FF2B5EF4-FFF2-40B4-BE49-F238E27FC236}">
                  <a16:creationId xmlns:a16="http://schemas.microsoft.com/office/drawing/2014/main" id="{5A21E4C5-4B72-4380-894D-4A4D6C29D76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Line 8">
              <a:extLst>
                <a:ext uri="{FF2B5EF4-FFF2-40B4-BE49-F238E27FC236}">
                  <a16:creationId xmlns:a16="http://schemas.microsoft.com/office/drawing/2014/main" id="{2BF8058E-89EA-409E-9196-0D3C4C692A8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9">
              <a:extLst>
                <a:ext uri="{FF2B5EF4-FFF2-40B4-BE49-F238E27FC236}">
                  <a16:creationId xmlns:a16="http://schemas.microsoft.com/office/drawing/2014/main" id="{CC327690-8548-469F-8908-C87C3C3F6A4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Line 10">
              <a:extLst>
                <a:ext uri="{FF2B5EF4-FFF2-40B4-BE49-F238E27FC236}">
                  <a16:creationId xmlns:a16="http://schemas.microsoft.com/office/drawing/2014/main" id="{4570768B-0F44-40CF-B2AA-0344024B4A0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Line 11">
              <a:extLst>
                <a:ext uri="{FF2B5EF4-FFF2-40B4-BE49-F238E27FC236}">
                  <a16:creationId xmlns:a16="http://schemas.microsoft.com/office/drawing/2014/main" id="{00A0D413-CCE8-45A3-96DC-EDA0547760E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Line 12">
              <a:extLst>
                <a:ext uri="{FF2B5EF4-FFF2-40B4-BE49-F238E27FC236}">
                  <a16:creationId xmlns:a16="http://schemas.microsoft.com/office/drawing/2014/main" id="{7FA80347-1151-4B33-877E-9C06BBCA13F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Line 13">
              <a:extLst>
                <a:ext uri="{FF2B5EF4-FFF2-40B4-BE49-F238E27FC236}">
                  <a16:creationId xmlns:a16="http://schemas.microsoft.com/office/drawing/2014/main" id="{3B0CA58F-40CE-46F6-ACA7-683589C2E1E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Line 14">
              <a:extLst>
                <a:ext uri="{FF2B5EF4-FFF2-40B4-BE49-F238E27FC236}">
                  <a16:creationId xmlns:a16="http://schemas.microsoft.com/office/drawing/2014/main" id="{F11D2425-3705-4D9B-A133-C1437D258D9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Line 15">
              <a:extLst>
                <a:ext uri="{FF2B5EF4-FFF2-40B4-BE49-F238E27FC236}">
                  <a16:creationId xmlns:a16="http://schemas.microsoft.com/office/drawing/2014/main" id="{A0184F87-A43E-4046-8BC9-798BE6D121C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Line 16">
              <a:extLst>
                <a:ext uri="{FF2B5EF4-FFF2-40B4-BE49-F238E27FC236}">
                  <a16:creationId xmlns:a16="http://schemas.microsoft.com/office/drawing/2014/main" id="{D07B2734-8A55-4573-B8F1-AB679329679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" name="Inhaltsplatzhalter 7">
            <a:extLst>
              <a:ext uri="{FF2B5EF4-FFF2-40B4-BE49-F238E27FC236}">
                <a16:creationId xmlns:a16="http://schemas.microsoft.com/office/drawing/2014/main" id="{F1CEAAD6-4C22-4FA8-B14B-ADF83EF32B30}"/>
              </a:ext>
            </a:extLst>
          </p:cNvPr>
          <p:cNvSpPr txBox="1">
            <a:spLocks/>
          </p:cNvSpPr>
          <p:nvPr/>
        </p:nvSpPr>
        <p:spPr bwMode="gray">
          <a:xfrm>
            <a:off x="1847305" y="4221296"/>
            <a:ext cx="3961358" cy="18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estherdolore magna aliquam erat volutpat bin. Ut wisi enim ad minim nostrud exerci lobortis nisl ut aliquip</a:t>
            </a:r>
          </a:p>
        </p:txBody>
      </p:sp>
      <p:grpSp>
        <p:nvGrpSpPr>
          <p:cNvPr id="88" name="Grupa 61">
            <a:extLst>
              <a:ext uri="{FF2B5EF4-FFF2-40B4-BE49-F238E27FC236}">
                <a16:creationId xmlns:a16="http://schemas.microsoft.com/office/drawing/2014/main" id="{53461810-094F-4B3E-A47F-E132E5D9470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1384" y="4221488"/>
            <a:ext cx="605873" cy="648000"/>
            <a:chOff x="11225213" y="2628901"/>
            <a:chExt cx="479425" cy="512762"/>
          </a:xfrm>
        </p:grpSpPr>
        <p:sp>
          <p:nvSpPr>
            <p:cNvPr id="89" name="Line 20">
              <a:extLst>
                <a:ext uri="{FF2B5EF4-FFF2-40B4-BE49-F238E27FC236}">
                  <a16:creationId xmlns:a16="http://schemas.microsoft.com/office/drawing/2014/main" id="{B3F3E859-1E39-4CD5-95C7-B74E84106DA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21">
              <a:extLst>
                <a:ext uri="{FF2B5EF4-FFF2-40B4-BE49-F238E27FC236}">
                  <a16:creationId xmlns:a16="http://schemas.microsoft.com/office/drawing/2014/main" id="{742C0445-76C0-4D64-B411-DC66C76EB45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Line 22">
              <a:extLst>
                <a:ext uri="{FF2B5EF4-FFF2-40B4-BE49-F238E27FC236}">
                  <a16:creationId xmlns:a16="http://schemas.microsoft.com/office/drawing/2014/main" id="{6CEA7203-DF2C-4658-871F-59C4A8C955E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Line 23">
              <a:extLst>
                <a:ext uri="{FF2B5EF4-FFF2-40B4-BE49-F238E27FC236}">
                  <a16:creationId xmlns:a16="http://schemas.microsoft.com/office/drawing/2014/main" id="{1C0975C3-C89B-4237-93F6-B4622F4F03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Line 24">
              <a:extLst>
                <a:ext uri="{FF2B5EF4-FFF2-40B4-BE49-F238E27FC236}">
                  <a16:creationId xmlns:a16="http://schemas.microsoft.com/office/drawing/2014/main" id="{F0413941-4A57-4F59-8FCB-204E27B5AD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Line 25">
              <a:extLst>
                <a:ext uri="{FF2B5EF4-FFF2-40B4-BE49-F238E27FC236}">
                  <a16:creationId xmlns:a16="http://schemas.microsoft.com/office/drawing/2014/main" id="{15DCDC44-D57A-4923-A9E4-00C30EF45540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26">
              <a:extLst>
                <a:ext uri="{FF2B5EF4-FFF2-40B4-BE49-F238E27FC236}">
                  <a16:creationId xmlns:a16="http://schemas.microsoft.com/office/drawing/2014/main" id="{A777BABD-E7DA-4EF7-8794-6A7F1B5181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6" name="Inhaltsplatzhalter 7">
            <a:extLst>
              <a:ext uri="{FF2B5EF4-FFF2-40B4-BE49-F238E27FC236}">
                <a16:creationId xmlns:a16="http://schemas.microsoft.com/office/drawing/2014/main" id="{82CA628F-836C-4999-99BE-5869F786BD38}"/>
              </a:ext>
            </a:extLst>
          </p:cNvPr>
          <p:cNvSpPr txBox="1">
            <a:spLocks/>
          </p:cNvSpPr>
          <p:nvPr/>
        </p:nvSpPr>
        <p:spPr bwMode="gray">
          <a:xfrm>
            <a:off x="7751266" y="1700808"/>
            <a:ext cx="3961358" cy="18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estherdolore magna aliquam erat volutpat bin. Ut wisi enim ad minim nostrud exerci lobortis nisl ut aliquip</a:t>
            </a:r>
          </a:p>
        </p:txBody>
      </p:sp>
      <p:grpSp>
        <p:nvGrpSpPr>
          <p:cNvPr id="109" name="Grupa 49">
            <a:extLst>
              <a:ext uri="{FF2B5EF4-FFF2-40B4-BE49-F238E27FC236}">
                <a16:creationId xmlns:a16="http://schemas.microsoft.com/office/drawing/2014/main" id="{E13010A8-2BF7-4CA7-B7E6-150853092088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6455961" y="4221488"/>
            <a:ext cx="589846" cy="648000"/>
            <a:chOff x="11261725" y="1700213"/>
            <a:chExt cx="450851" cy="495300"/>
          </a:xfrm>
        </p:grpSpPr>
        <p:sp>
          <p:nvSpPr>
            <p:cNvPr id="110" name="Freeform 6">
              <a:extLst>
                <a:ext uri="{FF2B5EF4-FFF2-40B4-BE49-F238E27FC236}">
                  <a16:creationId xmlns:a16="http://schemas.microsoft.com/office/drawing/2014/main" id="{1D6F68B5-9B35-43B1-9D60-BF478DB879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Line 7">
              <a:extLst>
                <a:ext uri="{FF2B5EF4-FFF2-40B4-BE49-F238E27FC236}">
                  <a16:creationId xmlns:a16="http://schemas.microsoft.com/office/drawing/2014/main" id="{CBF6F6A6-017D-4561-B2CC-9471FAFE9550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Line 8">
              <a:extLst>
                <a:ext uri="{FF2B5EF4-FFF2-40B4-BE49-F238E27FC236}">
                  <a16:creationId xmlns:a16="http://schemas.microsoft.com/office/drawing/2014/main" id="{0322FF85-E38C-4283-8897-C4F66BC115D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Line 9">
              <a:extLst>
                <a:ext uri="{FF2B5EF4-FFF2-40B4-BE49-F238E27FC236}">
                  <a16:creationId xmlns:a16="http://schemas.microsoft.com/office/drawing/2014/main" id="{3567EDEE-070D-4EB9-BEEF-D8A7F1965EE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Line 10">
              <a:extLst>
                <a:ext uri="{FF2B5EF4-FFF2-40B4-BE49-F238E27FC236}">
                  <a16:creationId xmlns:a16="http://schemas.microsoft.com/office/drawing/2014/main" id="{97ADAF82-8C8A-4432-ABD9-DB7D587CF13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Line 11">
              <a:extLst>
                <a:ext uri="{FF2B5EF4-FFF2-40B4-BE49-F238E27FC236}">
                  <a16:creationId xmlns:a16="http://schemas.microsoft.com/office/drawing/2014/main" id="{5A11BBB6-AAC4-470A-8D4B-FE18C57681C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Line 12">
              <a:extLst>
                <a:ext uri="{FF2B5EF4-FFF2-40B4-BE49-F238E27FC236}">
                  <a16:creationId xmlns:a16="http://schemas.microsoft.com/office/drawing/2014/main" id="{F7AACA3F-3820-43E1-B69B-6B99E7ECBDA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Line 13">
              <a:extLst>
                <a:ext uri="{FF2B5EF4-FFF2-40B4-BE49-F238E27FC236}">
                  <a16:creationId xmlns:a16="http://schemas.microsoft.com/office/drawing/2014/main" id="{D42CEC15-D96C-41DF-80F4-7A5F77ED7C4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Line 14">
              <a:extLst>
                <a:ext uri="{FF2B5EF4-FFF2-40B4-BE49-F238E27FC236}">
                  <a16:creationId xmlns:a16="http://schemas.microsoft.com/office/drawing/2014/main" id="{896EBF17-54A7-4990-8C41-DDBDD16167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Line 15">
              <a:extLst>
                <a:ext uri="{FF2B5EF4-FFF2-40B4-BE49-F238E27FC236}">
                  <a16:creationId xmlns:a16="http://schemas.microsoft.com/office/drawing/2014/main" id="{2DD7C6BD-DF3F-4A46-BBC2-344105FA5F9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Line 16">
              <a:extLst>
                <a:ext uri="{FF2B5EF4-FFF2-40B4-BE49-F238E27FC236}">
                  <a16:creationId xmlns:a16="http://schemas.microsoft.com/office/drawing/2014/main" id="{6C29CE70-4406-43EC-BB55-DC640502781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1" name="Inhaltsplatzhalter 7">
            <a:extLst>
              <a:ext uri="{FF2B5EF4-FFF2-40B4-BE49-F238E27FC236}">
                <a16:creationId xmlns:a16="http://schemas.microsoft.com/office/drawing/2014/main" id="{6FB26AD2-77A6-44FB-8AF9-6C8693A0494F}"/>
              </a:ext>
            </a:extLst>
          </p:cNvPr>
          <p:cNvSpPr txBox="1">
            <a:spLocks/>
          </p:cNvSpPr>
          <p:nvPr/>
        </p:nvSpPr>
        <p:spPr bwMode="gray">
          <a:xfrm>
            <a:off x="7751266" y="4221296"/>
            <a:ext cx="3961358" cy="187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estherdolore magna aliquam erat volutpat bin. Ut wisi enim ad minim nostrud exerci lobortis nisl ut aliquip</a:t>
            </a:r>
          </a:p>
        </p:txBody>
      </p:sp>
      <p:grpSp>
        <p:nvGrpSpPr>
          <p:cNvPr id="140" name="Grupa 155">
            <a:extLst>
              <a:ext uri="{FF2B5EF4-FFF2-40B4-BE49-F238E27FC236}">
                <a16:creationId xmlns:a16="http://schemas.microsoft.com/office/drawing/2014/main" id="{0EC45301-D6C2-4321-8437-FCA745AF81B0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gray">
          <a:xfrm>
            <a:off x="6468435" y="1700808"/>
            <a:ext cx="707685" cy="648000"/>
            <a:chOff x="11176000" y="3582988"/>
            <a:chExt cx="527050" cy="482600"/>
          </a:xfrm>
        </p:grpSpPr>
        <p:sp>
          <p:nvSpPr>
            <p:cNvPr id="141" name="Freeform 30">
              <a:extLst>
                <a:ext uri="{FF2B5EF4-FFF2-40B4-BE49-F238E27FC236}">
                  <a16:creationId xmlns:a16="http://schemas.microsoft.com/office/drawing/2014/main" id="{86C250BE-BF11-4FDC-88A0-021B6548D50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31">
              <a:extLst>
                <a:ext uri="{FF2B5EF4-FFF2-40B4-BE49-F238E27FC236}">
                  <a16:creationId xmlns:a16="http://schemas.microsoft.com/office/drawing/2014/main" id="{906D390B-F895-48BF-99D8-2C738CADB5F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32">
              <a:extLst>
                <a:ext uri="{FF2B5EF4-FFF2-40B4-BE49-F238E27FC236}">
                  <a16:creationId xmlns:a16="http://schemas.microsoft.com/office/drawing/2014/main" id="{8B114462-75A5-47DC-A226-A4E226A901A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33">
              <a:extLst>
                <a:ext uri="{FF2B5EF4-FFF2-40B4-BE49-F238E27FC236}">
                  <a16:creationId xmlns:a16="http://schemas.microsoft.com/office/drawing/2014/main" id="{76442B03-CFCF-4404-A219-FC0C3B497CD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34">
              <a:extLst>
                <a:ext uri="{FF2B5EF4-FFF2-40B4-BE49-F238E27FC236}">
                  <a16:creationId xmlns:a16="http://schemas.microsoft.com/office/drawing/2014/main" id="{69C22D7E-BF6B-48F0-A5AF-423132CC673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4385A491-AED0-44A0-9E3D-EE071A789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035667530"/>
      </p:ext>
    </p:extLst>
  </p:cSld>
  <p:clrMapOvr>
    <a:masterClrMapping/>
  </p:clrMapOvr>
  <p:transition spd="slow"/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B8B80E6-DCE4-478D-A28F-CDF1192BB31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B8B80E6-DCE4-478D-A28F-CDF1192BB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873086CA-6165-4C84-A2BD-2FB38BB033F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D738DADD-FB28-4C93-AEFF-3F48374A82C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59" r="29847"/>
          <a:stretch/>
        </p:blipFill>
        <p:spPr bwMode="gray">
          <a:xfrm>
            <a:off x="4187788" y="0"/>
            <a:ext cx="3888432" cy="6858000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2BBC7B78-11C6-401B-BA29-945B77B9264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Three phases </a:t>
            </a:r>
            <a:br>
              <a:rPr lang="en-US" dirty="0" smtClean="0"/>
            </a:br>
            <a:r>
              <a:rPr lang="en-US" dirty="0" smtClean="0"/>
              <a:t>with vertical imag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4BACCE09-1669-40F3-8776-2BEBD80142C2}"/>
              </a:ext>
            </a:extLst>
          </p:cNvPr>
          <p:cNvSpPr txBox="1">
            <a:spLocks/>
          </p:cNvSpPr>
          <p:nvPr/>
        </p:nvSpPr>
        <p:spPr bwMode="gray">
          <a:xfrm>
            <a:off x="551384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gnalectus malesuada</a:t>
            </a:r>
            <a:br>
              <a:rPr lang="en-US" dirty="0"/>
            </a:br>
            <a:r>
              <a:rPr lang="en-US" dirty="0"/>
              <a:t>libero, sit amet commodo magna eros.</a:t>
            </a:r>
          </a:p>
        </p:txBody>
      </p:sp>
      <p:sp>
        <p:nvSpPr>
          <p:cNvPr id="32" name="Inhaltsplatzhalter 7">
            <a:extLst>
              <a:ext uri="{FF2B5EF4-FFF2-40B4-BE49-F238E27FC236}">
                <a16:creationId xmlns:a16="http://schemas.microsoft.com/office/drawing/2014/main" id="{83694F5B-0142-42D2-AC71-C5D1A06A0068}"/>
              </a:ext>
            </a:extLst>
          </p:cNvPr>
          <p:cNvSpPr txBox="1">
            <a:spLocks/>
          </p:cNvSpPr>
          <p:nvPr/>
        </p:nvSpPr>
        <p:spPr bwMode="gray">
          <a:xfrm>
            <a:off x="8400256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gnalectus malesuada</a:t>
            </a:r>
            <a:br>
              <a:rPr lang="en-US" dirty="0"/>
            </a:br>
            <a:r>
              <a:rPr lang="en-US" dirty="0"/>
              <a:t>libero, sit amet commodo magna eros.</a:t>
            </a:r>
          </a:p>
        </p:txBody>
      </p: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61E8BC9C-CF9F-4A24-869E-7C6CE5D3CB6D}"/>
              </a:ext>
            </a:extLst>
          </p:cNvPr>
          <p:cNvSpPr txBox="1">
            <a:spLocks/>
          </p:cNvSpPr>
          <p:nvPr/>
        </p:nvSpPr>
        <p:spPr bwMode="gray">
          <a:xfrm>
            <a:off x="4511824" y="2924944"/>
            <a:ext cx="3240000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Lorem ipsum dolor sit amet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Maecenas porttitor congue magnalectus malesuada libero, sit amet commodo magna eros.</a:t>
            </a:r>
          </a:p>
        </p:txBody>
      </p: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BFA6D256-225D-446D-9DF6-0465D27F6F36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2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1</a:t>
            </a:r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B1A3D89C-C146-4BEC-B67D-48E73EBD6BD5}"/>
              </a:ext>
            </a:extLst>
          </p:cNvPr>
          <p:cNvSpPr txBox="1">
            <a:spLocks/>
          </p:cNvSpPr>
          <p:nvPr/>
        </p:nvSpPr>
        <p:spPr bwMode="gray">
          <a:xfrm>
            <a:off x="4511944" y="2636912"/>
            <a:ext cx="1080000" cy="1008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0D92981D-CAB6-45C9-8D25-ADCAC01D98A8}"/>
              </a:ext>
            </a:extLst>
          </p:cNvPr>
          <p:cNvSpPr txBox="1">
            <a:spLocks/>
          </p:cNvSpPr>
          <p:nvPr/>
        </p:nvSpPr>
        <p:spPr bwMode="gray">
          <a:xfrm>
            <a:off x="8400256" y="2636912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88944455"/>
      </p:ext>
    </p:extLst>
  </p:cSld>
  <p:clrMapOvr>
    <a:masterClrMapping/>
  </p:clrMapOvr>
  <p:transition spd="slow"/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4">
            <a:extLst>
              <a:ext uri="{FF2B5EF4-FFF2-40B4-BE49-F238E27FC236}">
                <a16:creationId xmlns:a16="http://schemas.microsoft.com/office/drawing/2014/main" id="{CEF9FC9C-3023-416C-ADD7-65D2021161A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12" b="15970"/>
          <a:stretch/>
        </p:blipFill>
        <p:spPr bwMode="gray">
          <a:xfrm>
            <a:off x="0" y="1701000"/>
            <a:ext cx="12192000" cy="1873405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1C6BDC6-6A60-4DCF-AAE6-5604194D473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think-cell Folie" r:id="rId10" imgW="359" imgH="360" progId="TCLayout.ActiveDocument.1">
                  <p:embed/>
                </p:oleObj>
              </mc:Choice>
              <mc:Fallback>
                <p:oleObj name="think-cell Folie" r:id="rId10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1C6BDC6-6A60-4DCF-AAE6-5604194D4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5B3DD6FB-4A46-4862-9168-B3845453061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03249C3-BEEE-4871-99D7-B55423B89AE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Four phases with horizontal imag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73A9842C-A72B-4141-94A2-B86359025B6A}"/>
              </a:ext>
            </a:extLst>
          </p:cNvPr>
          <p:cNvSpPr txBox="1">
            <a:spLocks/>
          </p:cNvSpPr>
          <p:nvPr/>
        </p:nvSpPr>
        <p:spPr bwMode="gray">
          <a:xfrm>
            <a:off x="551384" y="5013296"/>
            <a:ext cx="2304529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</p:txBody>
      </p: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AA291C16-726C-4DE3-BEDA-9B8D19869544}"/>
              </a:ext>
            </a:extLst>
          </p:cNvPr>
          <p:cNvSpPr txBox="1">
            <a:spLocks/>
          </p:cNvSpPr>
          <p:nvPr/>
        </p:nvSpPr>
        <p:spPr bwMode="gray">
          <a:xfrm>
            <a:off x="3503712" y="5013296"/>
            <a:ext cx="2304529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</p:txBody>
      </p: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F1918A11-F4E4-4CE9-9B40-D84417FA7537}"/>
              </a:ext>
            </a:extLst>
          </p:cNvPr>
          <p:cNvSpPr txBox="1">
            <a:spLocks/>
          </p:cNvSpPr>
          <p:nvPr/>
        </p:nvSpPr>
        <p:spPr bwMode="gray">
          <a:xfrm>
            <a:off x="6456040" y="5013296"/>
            <a:ext cx="2304529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</p:txBody>
      </p:sp>
      <p:sp>
        <p:nvSpPr>
          <p:cNvPr id="38" name="Inhaltsplatzhalter 7">
            <a:extLst>
              <a:ext uri="{FF2B5EF4-FFF2-40B4-BE49-F238E27FC236}">
                <a16:creationId xmlns:a16="http://schemas.microsoft.com/office/drawing/2014/main" id="{F1D52434-5AF7-4BDB-8D7E-D65B2CB096DF}"/>
              </a:ext>
            </a:extLst>
          </p:cNvPr>
          <p:cNvSpPr txBox="1">
            <a:spLocks/>
          </p:cNvSpPr>
          <p:nvPr/>
        </p:nvSpPr>
        <p:spPr bwMode="gray">
          <a:xfrm>
            <a:off x="9408368" y="5013296"/>
            <a:ext cx="2304529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0374CACA-0800-46EB-9EB9-DEE9EA4C9F85}"/>
              </a:ext>
            </a:extLst>
          </p:cNvPr>
          <p:cNvSpPr txBox="1">
            <a:spLocks/>
          </p:cNvSpPr>
          <p:nvPr/>
        </p:nvSpPr>
        <p:spPr bwMode="gray">
          <a:xfrm>
            <a:off x="551384" y="4725136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1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47B73D94-AAD6-46DC-B384-3DB802D65836}"/>
              </a:ext>
            </a:extLst>
          </p:cNvPr>
          <p:cNvSpPr txBox="1">
            <a:spLocks/>
          </p:cNvSpPr>
          <p:nvPr/>
        </p:nvSpPr>
        <p:spPr bwMode="gray">
          <a:xfrm>
            <a:off x="3503712" y="4725136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2</a:t>
            </a:r>
          </a:p>
        </p:txBody>
      </p: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9CCCE1ED-E8BD-4B39-B056-389E0C1A58BE}"/>
              </a:ext>
            </a:extLst>
          </p:cNvPr>
          <p:cNvSpPr txBox="1">
            <a:spLocks/>
          </p:cNvSpPr>
          <p:nvPr/>
        </p:nvSpPr>
        <p:spPr bwMode="gray">
          <a:xfrm>
            <a:off x="6456040" y="4725136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3</a:t>
            </a:r>
          </a:p>
        </p:txBody>
      </p:sp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052D9D58-11B5-425A-9338-224B773DFA5F}"/>
              </a:ext>
            </a:extLst>
          </p:cNvPr>
          <p:cNvSpPr txBox="1">
            <a:spLocks/>
          </p:cNvSpPr>
          <p:nvPr/>
        </p:nvSpPr>
        <p:spPr bwMode="gray">
          <a:xfrm>
            <a:off x="9408368" y="4725136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8654359"/>
      </p:ext>
    </p:extLst>
  </p:cSld>
  <p:clrMapOvr>
    <a:masterClrMapping/>
  </p:clrMapOvr>
  <p:transition spd="slow"/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1C6BDC6-6A60-4DCF-AAE6-5604194D47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1C6BDC6-6A60-4DCF-AAE6-5604194D4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5B3DD6FB-4A46-4862-9168-B3845453061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03249C3-BEEE-4871-99D7-B55423B89AE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Four phases with horizontal imag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4</a:t>
            </a:fld>
            <a:endParaRPr lang="en-US" dirty="0"/>
          </a:p>
        </p:txBody>
      </p:sp>
      <p:pic>
        <p:nvPicPr>
          <p:cNvPr id="24" name="Grafik 24">
            <a:extLst>
              <a:ext uri="{FF2B5EF4-FFF2-40B4-BE49-F238E27FC236}">
                <a16:creationId xmlns:a16="http://schemas.microsoft.com/office/drawing/2014/main" id="{B3982F2B-64C4-4B57-8571-688C6237F1A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12" b="15970"/>
          <a:stretch/>
        </p:blipFill>
        <p:spPr bwMode="gray">
          <a:xfrm>
            <a:off x="0" y="1701000"/>
            <a:ext cx="12192000" cy="1873405"/>
          </a:xfrm>
          <a:prstGeom prst="rect">
            <a:avLst/>
          </a:prstGeom>
        </p:spPr>
      </p:pic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7288ECFB-22EF-4C54-9F72-BBD2FE13A5DC}"/>
              </a:ext>
            </a:extLst>
          </p:cNvPr>
          <p:cNvSpPr txBox="1">
            <a:spLocks/>
          </p:cNvSpPr>
          <p:nvPr/>
        </p:nvSpPr>
        <p:spPr bwMode="gray">
          <a:xfrm>
            <a:off x="551384" y="4005064"/>
            <a:ext cx="2304529" cy="20882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.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A18B44E9-A4C3-492C-B131-CEB10CBB0DA0}"/>
              </a:ext>
            </a:extLst>
          </p:cNvPr>
          <p:cNvSpPr txBox="1">
            <a:spLocks/>
          </p:cNvSpPr>
          <p:nvPr/>
        </p:nvSpPr>
        <p:spPr bwMode="gray">
          <a:xfrm>
            <a:off x="3503712" y="4005064"/>
            <a:ext cx="2304529" cy="20882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.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DD060C1D-FD01-4E0C-876E-0C2740C07D10}"/>
              </a:ext>
            </a:extLst>
          </p:cNvPr>
          <p:cNvSpPr txBox="1">
            <a:spLocks/>
          </p:cNvSpPr>
          <p:nvPr/>
        </p:nvSpPr>
        <p:spPr bwMode="gray">
          <a:xfrm>
            <a:off x="6456040" y="4005064"/>
            <a:ext cx="2304529" cy="20882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.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B4B3E44C-B9C2-42AC-9763-CF5C946E89A0}"/>
              </a:ext>
            </a:extLst>
          </p:cNvPr>
          <p:cNvSpPr txBox="1">
            <a:spLocks/>
          </p:cNvSpPr>
          <p:nvPr/>
        </p:nvSpPr>
        <p:spPr bwMode="gray">
          <a:xfrm>
            <a:off x="9408368" y="4005064"/>
            <a:ext cx="2304529" cy="20882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.</a:t>
            </a:r>
          </a:p>
        </p:txBody>
      </p:sp>
      <p:pic>
        <p:nvPicPr>
          <p:cNvPr id="29" name="Graphic 17">
            <a:extLst>
              <a:ext uri="{FF2B5EF4-FFF2-40B4-BE49-F238E27FC236}">
                <a16:creationId xmlns:a16="http://schemas.microsoft.com/office/drawing/2014/main" id="{803C4034-2AD6-4D3E-834D-62C93A672B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2855640" y="4090481"/>
            <a:ext cx="288000" cy="202615"/>
          </a:xfrm>
          <a:prstGeom prst="rect">
            <a:avLst/>
          </a:prstGeom>
        </p:spPr>
      </p:pic>
      <p:pic>
        <p:nvPicPr>
          <p:cNvPr id="30" name="Graphic 17">
            <a:extLst>
              <a:ext uri="{FF2B5EF4-FFF2-40B4-BE49-F238E27FC236}">
                <a16:creationId xmlns:a16="http://schemas.microsoft.com/office/drawing/2014/main" id="{F366FC5D-6CBD-4F11-8AC1-94EE9EAB79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5807968" y="4090481"/>
            <a:ext cx="288000" cy="202615"/>
          </a:xfrm>
          <a:prstGeom prst="rect">
            <a:avLst/>
          </a:prstGeom>
        </p:spPr>
      </p:pic>
      <p:pic>
        <p:nvPicPr>
          <p:cNvPr id="31" name="Graphic 17">
            <a:extLst>
              <a:ext uri="{FF2B5EF4-FFF2-40B4-BE49-F238E27FC236}">
                <a16:creationId xmlns:a16="http://schemas.microsoft.com/office/drawing/2014/main" id="{BF07685E-4A25-494E-AC17-17565AB9A4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8760296" y="4090481"/>
            <a:ext cx="288000" cy="2026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55744038"/>
      </p:ext>
    </p:extLst>
  </p:cSld>
  <p:clrMapOvr>
    <a:masterClrMapping/>
  </p:clrMapOvr>
  <p:transition spd="slow"/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0E4B12E-565D-4E98-B64C-EBA28775691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02C5895-3C77-48A1-B15E-469688C0E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text boxes with conclusio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BEBD2ED9-39E1-4286-AC99-CE71CB7031F9}"/>
              </a:ext>
            </a:extLst>
          </p:cNvPr>
          <p:cNvSpPr txBox="1">
            <a:spLocks/>
          </p:cNvSpPr>
          <p:nvPr/>
        </p:nvSpPr>
        <p:spPr bwMode="gray">
          <a:xfrm>
            <a:off x="551384" y="1700808"/>
            <a:ext cx="3312591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  <a:p>
            <a:pPr lvl="2"/>
            <a:r>
              <a:rPr lang="en-US" dirty="0"/>
              <a:t>Duis autem vel eum iriure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18C9157-4216-472A-A28D-1E48329FF1A3}"/>
              </a:ext>
            </a:extLst>
          </p:cNvPr>
          <p:cNvSpPr txBox="1">
            <a:spLocks/>
          </p:cNvSpPr>
          <p:nvPr/>
        </p:nvSpPr>
        <p:spPr bwMode="gray">
          <a:xfrm>
            <a:off x="4515817" y="1700808"/>
            <a:ext cx="3240000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  <a:p>
            <a:pPr lvl="2"/>
            <a:r>
              <a:rPr lang="en-US" dirty="0"/>
              <a:t>Duis autem vel eum iriure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CABFBE58-3F9D-4E83-98FF-E0A1C406DA1F}"/>
              </a:ext>
            </a:extLst>
          </p:cNvPr>
          <p:cNvSpPr txBox="1">
            <a:spLocks/>
          </p:cNvSpPr>
          <p:nvPr/>
        </p:nvSpPr>
        <p:spPr bwMode="gray">
          <a:xfrm>
            <a:off x="8400033" y="1700808"/>
            <a:ext cx="3312591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  <a:p>
            <a:pPr lvl="2"/>
            <a:r>
              <a:rPr lang="en-US" dirty="0"/>
              <a:t>Duis autem vel eum iriure</a:t>
            </a:r>
          </a:p>
        </p:txBody>
      </p:sp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A3C3C8F8-5948-4CB9-82DE-05A6C73549E9}"/>
              </a:ext>
            </a:extLst>
          </p:cNvPr>
          <p:cNvSpPr txBox="1">
            <a:spLocks/>
          </p:cNvSpPr>
          <p:nvPr/>
        </p:nvSpPr>
        <p:spPr bwMode="gray">
          <a:xfrm>
            <a:off x="551384" y="4509120"/>
            <a:ext cx="11161191" cy="1584000"/>
          </a:xfrm>
          <a:prstGeom prst="rect">
            <a:avLst/>
          </a:prstGeom>
          <a:solidFill>
            <a:schemeClr val="bg2"/>
          </a:solidFill>
        </p:spPr>
        <p:txBody>
          <a:bodyPr lIns="216000" tIns="216000" rIns="216000" bIns="21600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clusion box</a:t>
            </a:r>
          </a:p>
          <a:p>
            <a:pPr lvl="1"/>
            <a:r>
              <a:rPr lang="en-US" dirty="0"/>
              <a:t>Vestibulum lacinia turpis. Aenean dignissim cursus magna. Ut wisia enim ad minim veniam,</a:t>
            </a:r>
            <a:br>
              <a:rPr lang="en-US" dirty="0"/>
            </a:br>
            <a:r>
              <a:rPr lang="en-US" dirty="0"/>
              <a:t>quis nostrud exerci tation ullamcorper lorem ipsum dolor sit amet diam nonummy ad esther.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79760363"/>
      </p:ext>
    </p:extLst>
  </p:cSld>
  <p:clrMapOvr>
    <a:masterClrMapping/>
  </p:clrMapOvr>
  <p:transition spd="slow"/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0E4B12E-565D-4E98-B64C-EBA28775691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02C5895-3C77-48A1-B15E-469688C0E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text boxes with conclusio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30" name="Inhaltsplatzhalter 7">
            <a:extLst>
              <a:ext uri="{FF2B5EF4-FFF2-40B4-BE49-F238E27FC236}">
                <a16:creationId xmlns:a16="http://schemas.microsoft.com/office/drawing/2014/main" id="{62D82E67-D098-4254-968B-BFDF8CF1398C}"/>
              </a:ext>
            </a:extLst>
          </p:cNvPr>
          <p:cNvSpPr txBox="1">
            <a:spLocks/>
          </p:cNvSpPr>
          <p:nvPr/>
        </p:nvSpPr>
        <p:spPr bwMode="gray">
          <a:xfrm>
            <a:off x="551384" y="1700808"/>
            <a:ext cx="3312000" cy="223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</p:txBody>
      </p:sp>
      <p:sp>
        <p:nvSpPr>
          <p:cNvPr id="34" name="Inhaltsplatzhalter 7">
            <a:extLst>
              <a:ext uri="{FF2B5EF4-FFF2-40B4-BE49-F238E27FC236}">
                <a16:creationId xmlns:a16="http://schemas.microsoft.com/office/drawing/2014/main" id="{55B8A56A-7506-47F1-B0DF-D4B1D68EA23A}"/>
              </a:ext>
            </a:extLst>
          </p:cNvPr>
          <p:cNvSpPr txBox="1">
            <a:spLocks/>
          </p:cNvSpPr>
          <p:nvPr/>
        </p:nvSpPr>
        <p:spPr bwMode="gray">
          <a:xfrm>
            <a:off x="4515817" y="1700808"/>
            <a:ext cx="3240000" cy="223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</p:txBody>
      </p: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7078193D-71C3-409E-B83A-8C4029D1C9EC}"/>
              </a:ext>
            </a:extLst>
          </p:cNvPr>
          <p:cNvSpPr txBox="1">
            <a:spLocks/>
          </p:cNvSpPr>
          <p:nvPr/>
        </p:nvSpPr>
        <p:spPr bwMode="gray">
          <a:xfrm>
            <a:off x="8400033" y="1700808"/>
            <a:ext cx="3312000" cy="223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</a:t>
            </a:r>
          </a:p>
          <a:p>
            <a:pPr lvl="2"/>
            <a:r>
              <a:rPr lang="en-US" dirty="0"/>
              <a:t>Ut wisi enim ad minim</a:t>
            </a:r>
          </a:p>
          <a:p>
            <a:pPr lvl="2"/>
            <a:r>
              <a:rPr lang="en-US" dirty="0"/>
              <a:t>Exea commodo consequat</a:t>
            </a:r>
          </a:p>
        </p:txBody>
      </p:sp>
      <p:sp>
        <p:nvSpPr>
          <p:cNvPr id="42" name="Inhaltsplatzhalter 7">
            <a:extLst>
              <a:ext uri="{FF2B5EF4-FFF2-40B4-BE49-F238E27FC236}">
                <a16:creationId xmlns:a16="http://schemas.microsoft.com/office/drawing/2014/main" id="{659D0AF9-0DD7-49ED-86A4-B7B747C72F6D}"/>
              </a:ext>
            </a:extLst>
          </p:cNvPr>
          <p:cNvSpPr txBox="1">
            <a:spLocks/>
          </p:cNvSpPr>
          <p:nvPr/>
        </p:nvSpPr>
        <p:spPr bwMode="gray">
          <a:xfrm>
            <a:off x="551384" y="4221296"/>
            <a:ext cx="3312000" cy="1872000"/>
          </a:xfrm>
          <a:prstGeom prst="rect">
            <a:avLst/>
          </a:prstGeom>
          <a:solidFill>
            <a:schemeClr val="bg2"/>
          </a:solidFill>
        </p:spPr>
        <p:txBody>
          <a:bodyPr lIns="216000" tIns="216000" rIns="216000" bIns="21600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clusion box</a:t>
            </a:r>
          </a:p>
          <a:p>
            <a:pPr lvl="1"/>
            <a:r>
              <a:rPr lang="en-US" dirty="0"/>
              <a:t>Vestibulum lacinia turpis. Aenean dignissim cursus magna. Ut wisia enim</a:t>
            </a:r>
          </a:p>
        </p:txBody>
      </p:sp>
      <p:sp>
        <p:nvSpPr>
          <p:cNvPr id="48" name="Inhaltsplatzhalter 7">
            <a:extLst>
              <a:ext uri="{FF2B5EF4-FFF2-40B4-BE49-F238E27FC236}">
                <a16:creationId xmlns:a16="http://schemas.microsoft.com/office/drawing/2014/main" id="{749667A1-A8EA-4C84-8C67-E34A8989C04A}"/>
              </a:ext>
            </a:extLst>
          </p:cNvPr>
          <p:cNvSpPr txBox="1">
            <a:spLocks/>
          </p:cNvSpPr>
          <p:nvPr/>
        </p:nvSpPr>
        <p:spPr bwMode="gray">
          <a:xfrm>
            <a:off x="8400624" y="4221296"/>
            <a:ext cx="3312000" cy="1872000"/>
          </a:xfrm>
          <a:prstGeom prst="rect">
            <a:avLst/>
          </a:prstGeom>
          <a:solidFill>
            <a:schemeClr val="bg2"/>
          </a:solidFill>
        </p:spPr>
        <p:txBody>
          <a:bodyPr lIns="216000" tIns="216000" rIns="216000" bIns="21600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clusion box</a:t>
            </a:r>
          </a:p>
          <a:p>
            <a:pPr lvl="1"/>
            <a:r>
              <a:rPr lang="en-US" dirty="0"/>
              <a:t>Vestibulum lacinia turpis. Aenean dignissim cursus magna. Ut wisia enim</a:t>
            </a:r>
          </a:p>
        </p:txBody>
      </p:sp>
      <p:sp>
        <p:nvSpPr>
          <p:cNvPr id="49" name="Inhaltsplatzhalter 7">
            <a:extLst>
              <a:ext uri="{FF2B5EF4-FFF2-40B4-BE49-F238E27FC236}">
                <a16:creationId xmlns:a16="http://schemas.microsoft.com/office/drawing/2014/main" id="{3FEAA74D-6AA7-4E24-83D8-F6077FBCCB8D}"/>
              </a:ext>
            </a:extLst>
          </p:cNvPr>
          <p:cNvSpPr txBox="1">
            <a:spLocks/>
          </p:cNvSpPr>
          <p:nvPr/>
        </p:nvSpPr>
        <p:spPr bwMode="gray">
          <a:xfrm>
            <a:off x="4515817" y="4221296"/>
            <a:ext cx="3240000" cy="1872000"/>
          </a:xfrm>
          <a:prstGeom prst="rect">
            <a:avLst/>
          </a:prstGeom>
          <a:solidFill>
            <a:schemeClr val="bg2"/>
          </a:solidFill>
        </p:spPr>
        <p:txBody>
          <a:bodyPr lIns="216000" tIns="216000" rIns="216000" bIns="21600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clusion box</a:t>
            </a:r>
          </a:p>
          <a:p>
            <a:pPr lvl="1"/>
            <a:r>
              <a:rPr lang="en-US" dirty="0"/>
              <a:t>Vestibulum lacinia turpis. Aenean dignissim cursus magna. Ut wisia eni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46289045"/>
      </p:ext>
    </p:extLst>
  </p:cSld>
  <p:clrMapOvr>
    <a:masterClrMapping/>
  </p:clrMapOvr>
  <p:transition spd="slow"/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906B85B-42B6-4CA6-BE68-247D4B72228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0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906B85B-42B6-4CA6-BE68-247D4B722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>
            <a:extLst>
              <a:ext uri="{FF2B5EF4-FFF2-40B4-BE49-F238E27FC236}">
                <a16:creationId xmlns:a16="http://schemas.microsoft.com/office/drawing/2014/main" id="{646AA848-7B1E-4F1B-9806-C9C0E996A77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F676D05F-1E27-4792-B062-9E7A6E3387E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2x2 text box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22" name="Inhaltsplatzhalter 7">
            <a:extLst>
              <a:ext uri="{FF2B5EF4-FFF2-40B4-BE49-F238E27FC236}">
                <a16:creationId xmlns:a16="http://schemas.microsoft.com/office/drawing/2014/main" id="{A2332E27-4027-4E82-A725-355FDD1BEB64}"/>
              </a:ext>
            </a:extLst>
          </p:cNvPr>
          <p:cNvSpPr txBox="1">
            <a:spLocks/>
          </p:cNvSpPr>
          <p:nvPr/>
        </p:nvSpPr>
        <p:spPr bwMode="gray">
          <a:xfrm>
            <a:off x="551384" y="1700808"/>
            <a:ext cx="331259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amet commodo magna eros.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B9666633-EF83-497B-842C-A813759283E0}"/>
              </a:ext>
            </a:extLst>
          </p:cNvPr>
          <p:cNvSpPr txBox="1">
            <a:spLocks/>
          </p:cNvSpPr>
          <p:nvPr/>
        </p:nvSpPr>
        <p:spPr bwMode="gray">
          <a:xfrm>
            <a:off x="4515817" y="1700808"/>
            <a:ext cx="3240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amet commodo magna eros.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99E4A8B1-2624-4F17-9EE4-4276A8EA82A2}"/>
              </a:ext>
            </a:extLst>
          </p:cNvPr>
          <p:cNvCxnSpPr>
            <a:cxnSpLocks/>
          </p:cNvCxnSpPr>
          <p:nvPr/>
        </p:nvCxnSpPr>
        <p:spPr bwMode="gray">
          <a:xfrm>
            <a:off x="4189896" y="1700213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2CDC03DF-0F10-43E2-896C-840BED3EA126}"/>
              </a:ext>
            </a:extLst>
          </p:cNvPr>
          <p:cNvSpPr txBox="1">
            <a:spLocks/>
          </p:cNvSpPr>
          <p:nvPr/>
        </p:nvSpPr>
        <p:spPr bwMode="gray">
          <a:xfrm>
            <a:off x="551384" y="4220641"/>
            <a:ext cx="331259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amet commodo magna eros.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4CD7FBAA-A465-4709-AD94-FEA57A11B7DA}"/>
              </a:ext>
            </a:extLst>
          </p:cNvPr>
          <p:cNvSpPr txBox="1">
            <a:spLocks/>
          </p:cNvSpPr>
          <p:nvPr/>
        </p:nvSpPr>
        <p:spPr bwMode="gray">
          <a:xfrm>
            <a:off x="4515817" y="4220641"/>
            <a:ext cx="3240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amet commodo magna eros.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D8BA2DB-69E5-4081-9090-4038E2100BC5}"/>
              </a:ext>
            </a:extLst>
          </p:cNvPr>
          <p:cNvCxnSpPr>
            <a:cxnSpLocks/>
          </p:cNvCxnSpPr>
          <p:nvPr/>
        </p:nvCxnSpPr>
        <p:spPr bwMode="gray">
          <a:xfrm>
            <a:off x="550863" y="3896519"/>
            <a:ext cx="72009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608264864"/>
      </p:ext>
    </p:extLst>
  </p:cSld>
  <p:clrMapOvr>
    <a:masterClrMapping/>
  </p:clrMapOvr>
  <p:transition spd="slow"/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6DA6DBC-6B2E-4D83-80B3-A6FD4E8FCE9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4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6DA6DBC-6B2E-4D83-80B3-A6FD4E8FC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495DC069-5634-45DF-83E3-34E40DB32DD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0A12BD6E-2BC6-447F-A24C-39F922C417C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3x2 text box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30" name="Inhaltsplatzhalter 7">
            <a:extLst>
              <a:ext uri="{FF2B5EF4-FFF2-40B4-BE49-F238E27FC236}">
                <a16:creationId xmlns:a16="http://schemas.microsoft.com/office/drawing/2014/main" id="{5C66A21E-95C7-49A1-9A12-A563155374E4}"/>
              </a:ext>
            </a:extLst>
          </p:cNvPr>
          <p:cNvSpPr txBox="1">
            <a:spLocks/>
          </p:cNvSpPr>
          <p:nvPr/>
        </p:nvSpPr>
        <p:spPr bwMode="gray">
          <a:xfrm>
            <a:off x="551384" y="1700808"/>
            <a:ext cx="2304529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C9CAD3E4-CA0C-42AE-8EAA-885D83681C4D}"/>
              </a:ext>
            </a:extLst>
          </p:cNvPr>
          <p:cNvSpPr txBox="1">
            <a:spLocks/>
          </p:cNvSpPr>
          <p:nvPr/>
        </p:nvSpPr>
        <p:spPr bwMode="gray">
          <a:xfrm>
            <a:off x="3503712" y="1700808"/>
            <a:ext cx="230495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B64921A-87D3-4C09-A2AC-40A83AE5665C}"/>
              </a:ext>
            </a:extLst>
          </p:cNvPr>
          <p:cNvCxnSpPr>
            <a:cxnSpLocks/>
          </p:cNvCxnSpPr>
          <p:nvPr/>
        </p:nvCxnSpPr>
        <p:spPr bwMode="gray">
          <a:xfrm>
            <a:off x="3179676" y="1700213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43632CF2-261C-44BC-81FC-6A4EA8ED5920}"/>
              </a:ext>
            </a:extLst>
          </p:cNvPr>
          <p:cNvSpPr txBox="1">
            <a:spLocks/>
          </p:cNvSpPr>
          <p:nvPr/>
        </p:nvSpPr>
        <p:spPr bwMode="gray">
          <a:xfrm>
            <a:off x="551384" y="4220641"/>
            <a:ext cx="2304529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  <p:sp>
        <p:nvSpPr>
          <p:cNvPr id="34" name="Inhaltsplatzhalter 7">
            <a:extLst>
              <a:ext uri="{FF2B5EF4-FFF2-40B4-BE49-F238E27FC236}">
                <a16:creationId xmlns:a16="http://schemas.microsoft.com/office/drawing/2014/main" id="{8FF0706B-1943-496D-94AC-E52831DCC300}"/>
              </a:ext>
            </a:extLst>
          </p:cNvPr>
          <p:cNvSpPr txBox="1">
            <a:spLocks/>
          </p:cNvSpPr>
          <p:nvPr/>
        </p:nvSpPr>
        <p:spPr bwMode="gray">
          <a:xfrm>
            <a:off x="3503712" y="4220641"/>
            <a:ext cx="230495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27DD948D-43AF-4AC8-8C99-DD5DA8EDC6AC}"/>
              </a:ext>
            </a:extLst>
          </p:cNvPr>
          <p:cNvCxnSpPr>
            <a:cxnSpLocks/>
          </p:cNvCxnSpPr>
          <p:nvPr/>
        </p:nvCxnSpPr>
        <p:spPr bwMode="gray">
          <a:xfrm>
            <a:off x="550863" y="3896519"/>
            <a:ext cx="820896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86A8ACBB-89C2-4C40-BC1E-FF49A779CFBA}"/>
              </a:ext>
            </a:extLst>
          </p:cNvPr>
          <p:cNvSpPr txBox="1">
            <a:spLocks/>
          </p:cNvSpPr>
          <p:nvPr/>
        </p:nvSpPr>
        <p:spPr bwMode="gray">
          <a:xfrm>
            <a:off x="6456040" y="1700808"/>
            <a:ext cx="230495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D9E60CD3-7FB5-4652-A7EF-88105109B859}"/>
              </a:ext>
            </a:extLst>
          </p:cNvPr>
          <p:cNvCxnSpPr>
            <a:cxnSpLocks/>
          </p:cNvCxnSpPr>
          <p:nvPr/>
        </p:nvCxnSpPr>
        <p:spPr bwMode="gray">
          <a:xfrm>
            <a:off x="6132352" y="1700213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Inhaltsplatzhalter 7">
            <a:extLst>
              <a:ext uri="{FF2B5EF4-FFF2-40B4-BE49-F238E27FC236}">
                <a16:creationId xmlns:a16="http://schemas.microsoft.com/office/drawing/2014/main" id="{AA84C619-58C8-4904-9A65-ACDFE820C184}"/>
              </a:ext>
            </a:extLst>
          </p:cNvPr>
          <p:cNvSpPr txBox="1">
            <a:spLocks/>
          </p:cNvSpPr>
          <p:nvPr/>
        </p:nvSpPr>
        <p:spPr bwMode="gray">
          <a:xfrm>
            <a:off x="6456040" y="4220641"/>
            <a:ext cx="2304951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nibh euismod dolore magna aliquam </a:t>
            </a:r>
            <a:br>
              <a:rPr lang="en-US" dirty="0"/>
            </a:br>
            <a:r>
              <a:rPr lang="en-US" dirty="0"/>
              <a:t>erat volutpat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47497237"/>
      </p:ext>
    </p:extLst>
  </p:cSld>
  <p:clrMapOvr>
    <a:masterClrMapping/>
  </p:clrMapOvr>
  <p:transition spd="slow"/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F5FBA25-6143-4973-BC5F-A53703FF1F2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8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F5FBA25-6143-4973-BC5F-A53703FF1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5DF73F83-751A-448B-80D6-82DC2962D172}"/>
              </a:ext>
            </a:extLst>
          </p:cNvPr>
          <p:cNvSpPr txBox="1">
            <a:spLocks/>
          </p:cNvSpPr>
          <p:nvPr/>
        </p:nvSpPr>
        <p:spPr bwMode="gray">
          <a:xfrm>
            <a:off x="8400256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lectus malesuada libero, sit amet commodo magna eros.</a:t>
            </a:r>
          </a:p>
        </p:txBody>
      </p: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43979A72-954F-4774-8CF1-977E50CAA31E}"/>
              </a:ext>
            </a:extLst>
          </p:cNvPr>
          <p:cNvSpPr txBox="1">
            <a:spLocks/>
          </p:cNvSpPr>
          <p:nvPr/>
        </p:nvSpPr>
        <p:spPr bwMode="gray">
          <a:xfrm>
            <a:off x="8400256" y="2636912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3</a:t>
            </a:r>
          </a:p>
        </p:txBody>
      </p:sp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id="{F5915044-8126-4777-95C8-0D62F5D361E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0270976-FA78-47A3-B555-4BF3F729F31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hree fact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17" name="Inhaltsplatzhalter 7">
            <a:extLst>
              <a:ext uri="{FF2B5EF4-FFF2-40B4-BE49-F238E27FC236}">
                <a16:creationId xmlns:a16="http://schemas.microsoft.com/office/drawing/2014/main" id="{B201DCE1-6314-49DE-BA6D-671FA4A49B55}"/>
              </a:ext>
            </a:extLst>
          </p:cNvPr>
          <p:cNvSpPr txBox="1">
            <a:spLocks/>
          </p:cNvSpPr>
          <p:nvPr/>
        </p:nvSpPr>
        <p:spPr bwMode="gray">
          <a:xfrm>
            <a:off x="551384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lectus malesuada libero, sit amet commodo magna eros.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A749D52B-41E2-4B07-A9E9-319C735822B0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2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1</a:t>
            </a:r>
          </a:p>
        </p:txBody>
      </p:sp>
      <p:sp>
        <p:nvSpPr>
          <p:cNvPr id="24" name="Inhaltsplatzhalter 7">
            <a:extLst>
              <a:ext uri="{FF2B5EF4-FFF2-40B4-BE49-F238E27FC236}">
                <a16:creationId xmlns:a16="http://schemas.microsoft.com/office/drawing/2014/main" id="{953FDFC3-39E5-4DED-B3A0-0BD3DCA32211}"/>
              </a:ext>
            </a:extLst>
          </p:cNvPr>
          <p:cNvSpPr txBox="1">
            <a:spLocks/>
          </p:cNvSpPr>
          <p:nvPr/>
        </p:nvSpPr>
        <p:spPr bwMode="gray">
          <a:xfrm>
            <a:off x="4511824" y="2924944"/>
            <a:ext cx="3240000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lectus malesuada libero, sit amet commodo magna eros.</a:t>
            </a:r>
          </a:p>
        </p:txBody>
      </p: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29A11596-5907-4C79-A99C-C7D2C932F692}"/>
              </a:ext>
            </a:extLst>
          </p:cNvPr>
          <p:cNvSpPr txBox="1">
            <a:spLocks/>
          </p:cNvSpPr>
          <p:nvPr/>
        </p:nvSpPr>
        <p:spPr bwMode="gray">
          <a:xfrm>
            <a:off x="4511824" y="2636912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91687353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62ED23-5AAC-41C1-B2E9-259C96435D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62ED23-5AAC-41C1-B2E9-259C96435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4" descr="Ein Bild, das draußen, Himmel, Boden, Berg enthält.&#10;&#10;Automatisch generierte Beschreibung">
            <a:extLst>
              <a:ext uri="{FF2B5EF4-FFF2-40B4-BE49-F238E27FC236}">
                <a16:creationId xmlns:a16="http://schemas.microsoft.com/office/drawing/2014/main" id="{64CDD5C2-370B-43C1-ACF9-6BAB820FBAE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/>
        </p:blipFill>
        <p:spPr bwMode="gray">
          <a:xfrm>
            <a:off x="0" y="0"/>
            <a:ext cx="12191999" cy="6858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606B9B4-B8AB-495B-BB73-3197F5BAA2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1383" y="476672"/>
            <a:ext cx="5904979" cy="1260000"/>
          </a:xfrm>
        </p:spPr>
        <p:txBody>
          <a:bodyPr vert="horz"/>
          <a:lstStyle/>
          <a:p>
            <a:r>
              <a:rPr lang="en-US" dirty="0"/>
              <a:t>Presentation title in Liebherr Head Black</a:t>
            </a:r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F5DF92BB-25AA-4D10-AC28-27BC8D333E24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B4C60D9-9BAF-46CC-9A95-900AAFA1A2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199125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F5489AD-C4D2-4690-A3F9-0C498C6D7B17}"/>
              </a:ext>
            </a:extLst>
          </p:cNvPr>
          <p:cNvSpPr/>
          <p:nvPr/>
        </p:nvSpPr>
        <p:spPr bwMode="gray">
          <a:xfrm>
            <a:off x="1" y="0"/>
            <a:ext cx="8759824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A9A4B21-BE79-4580-B3DF-B12CE02F96D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2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A9A4B21-BE79-4580-B3DF-B12CE02F9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id="{A0C7BCBA-77CA-4773-8DB8-E22D295025D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AE77932-C3E0-4399-B0DC-83BAB07578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Numbered list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4E1669A-FD22-4A49-9DCF-906EEBA9846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CFD49E1-7EFC-4401-9AF5-8CB5D1FD22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8881351-A924-4AD7-8813-2C05160808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24" name="Inhaltsplatzhalter 7">
            <a:extLst>
              <a:ext uri="{FF2B5EF4-FFF2-40B4-BE49-F238E27FC236}">
                <a16:creationId xmlns:a16="http://schemas.microsoft.com/office/drawing/2014/main" id="{D53C3682-6810-4898-B80F-939957FC95EF}"/>
              </a:ext>
            </a:extLst>
          </p:cNvPr>
          <p:cNvSpPr txBox="1">
            <a:spLocks/>
          </p:cNvSpPr>
          <p:nvPr/>
        </p:nvSpPr>
        <p:spPr bwMode="gray">
          <a:xfrm>
            <a:off x="9409113" y="1700213"/>
            <a:ext cx="2303734" cy="439273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Maecenas porttitor vitae congue massa. Fusce est pulvinar ultricies, bin amet commodo ade magna eros quis urna.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7616C14-B434-4B08-A729-905C57748ADE}"/>
              </a:ext>
            </a:extLst>
          </p:cNvPr>
          <p:cNvSpPr txBox="1">
            <a:spLocks/>
          </p:cNvSpPr>
          <p:nvPr/>
        </p:nvSpPr>
        <p:spPr bwMode="gray">
          <a:xfrm>
            <a:off x="1991544" y="1700808"/>
            <a:ext cx="5760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malesuada.</a:t>
            </a:r>
          </a:p>
        </p:txBody>
      </p:sp>
      <p:sp>
        <p:nvSpPr>
          <p:cNvPr id="29" name="Inhaltsplatzhalter 7">
            <a:extLst>
              <a:ext uri="{FF2B5EF4-FFF2-40B4-BE49-F238E27FC236}">
                <a16:creationId xmlns:a16="http://schemas.microsoft.com/office/drawing/2014/main" id="{E5A13F62-71CD-4F1E-9309-883770AB9448}"/>
              </a:ext>
            </a:extLst>
          </p:cNvPr>
          <p:cNvSpPr txBox="1">
            <a:spLocks/>
          </p:cNvSpPr>
          <p:nvPr/>
        </p:nvSpPr>
        <p:spPr bwMode="gray">
          <a:xfrm>
            <a:off x="1991544" y="3284984"/>
            <a:ext cx="5760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malesuada.</a:t>
            </a:r>
          </a:p>
        </p:txBody>
      </p: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6DDA17D1-7ACD-4FC2-A2BD-E9EBAD2E474A}"/>
              </a:ext>
            </a:extLst>
          </p:cNvPr>
          <p:cNvSpPr txBox="1">
            <a:spLocks/>
          </p:cNvSpPr>
          <p:nvPr/>
        </p:nvSpPr>
        <p:spPr bwMode="gray">
          <a:xfrm>
            <a:off x="1991544" y="4869160"/>
            <a:ext cx="5760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, magna sed pulvinar ultricies, purus malesuada.</a:t>
            </a:r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65974D60-AE38-401B-B79D-BB92E333AC77}"/>
              </a:ext>
            </a:extLst>
          </p:cNvPr>
          <p:cNvSpPr txBox="1">
            <a:spLocks/>
          </p:cNvSpPr>
          <p:nvPr/>
        </p:nvSpPr>
        <p:spPr bwMode="gray">
          <a:xfrm>
            <a:off x="5513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03F4FBB2-5A5E-4751-8627-A6E5840CD8E6}"/>
              </a:ext>
            </a:extLst>
          </p:cNvPr>
          <p:cNvSpPr txBox="1">
            <a:spLocks/>
          </p:cNvSpPr>
          <p:nvPr/>
        </p:nvSpPr>
        <p:spPr bwMode="gray">
          <a:xfrm>
            <a:off x="551384" y="391505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08D6F6C9-645B-4559-9809-2A472B0DC213}"/>
              </a:ext>
            </a:extLst>
          </p:cNvPr>
          <p:cNvSpPr txBox="1">
            <a:spLocks/>
          </p:cNvSpPr>
          <p:nvPr/>
        </p:nvSpPr>
        <p:spPr bwMode="gray">
          <a:xfrm>
            <a:off x="551384" y="548122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81792015"/>
      </p:ext>
    </p:extLst>
  </p:cSld>
  <p:clrMapOvr>
    <a:masterClrMapping/>
  </p:clrMapOvr>
  <p:transition spd="slow"/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A9A4B21-BE79-4580-B3DF-B12CE02F96D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6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A9A4B21-BE79-4580-B3DF-B12CE02F9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F5489AD-C4D2-4690-A3F9-0C498C6D7B17}"/>
              </a:ext>
            </a:extLst>
          </p:cNvPr>
          <p:cNvSpPr/>
          <p:nvPr/>
        </p:nvSpPr>
        <p:spPr bwMode="gray">
          <a:xfrm>
            <a:off x="1" y="0"/>
            <a:ext cx="8759824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id="{A0C7BCBA-77CA-4773-8DB8-E22D295025D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AE77932-C3E0-4399-B0DC-83BAB075782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Numbered list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53D47FB-13FA-49F4-8455-E6B7E07D3B1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50EAD93-9EEC-41B6-9FC1-CF4F99352C4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4C3649D-3A33-420D-B64E-7818656EA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32" name="Inhaltsplatzhalter 7">
            <a:extLst>
              <a:ext uri="{FF2B5EF4-FFF2-40B4-BE49-F238E27FC236}">
                <a16:creationId xmlns:a16="http://schemas.microsoft.com/office/drawing/2014/main" id="{B4F4072B-2B35-45EA-A5C0-3254470EA443}"/>
              </a:ext>
            </a:extLst>
          </p:cNvPr>
          <p:cNvSpPr txBox="1">
            <a:spLocks/>
          </p:cNvSpPr>
          <p:nvPr/>
        </p:nvSpPr>
        <p:spPr bwMode="gray">
          <a:xfrm>
            <a:off x="1991544" y="1700808"/>
            <a:ext cx="5760000" cy="86409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Consetetur sadipscing elitr, sed diam nonumy eirmod tempor invidunt ut labore et dolore.</a:t>
            </a:r>
          </a:p>
        </p:txBody>
      </p:sp>
      <p:sp>
        <p:nvSpPr>
          <p:cNvPr id="34" name="Inhaltsplatzhalter 7">
            <a:extLst>
              <a:ext uri="{FF2B5EF4-FFF2-40B4-BE49-F238E27FC236}">
                <a16:creationId xmlns:a16="http://schemas.microsoft.com/office/drawing/2014/main" id="{7827692C-BC26-46D8-8881-90D376E69960}"/>
              </a:ext>
            </a:extLst>
          </p:cNvPr>
          <p:cNvSpPr txBox="1">
            <a:spLocks/>
          </p:cNvSpPr>
          <p:nvPr/>
        </p:nvSpPr>
        <p:spPr bwMode="gray">
          <a:xfrm>
            <a:off x="1991544" y="2852936"/>
            <a:ext cx="5760000" cy="86409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Consetetur sadipscing elitr, sed diam nonumy eirmod tempor invidunt ut labore et dolore.</a:t>
            </a:r>
          </a:p>
        </p:txBody>
      </p:sp>
      <p:sp>
        <p:nvSpPr>
          <p:cNvPr id="36" name="Inhaltsplatzhalter 7">
            <a:extLst>
              <a:ext uri="{FF2B5EF4-FFF2-40B4-BE49-F238E27FC236}">
                <a16:creationId xmlns:a16="http://schemas.microsoft.com/office/drawing/2014/main" id="{E7849AEE-7146-4B14-B10E-BFF462D37F2E}"/>
              </a:ext>
            </a:extLst>
          </p:cNvPr>
          <p:cNvSpPr txBox="1">
            <a:spLocks/>
          </p:cNvSpPr>
          <p:nvPr/>
        </p:nvSpPr>
        <p:spPr bwMode="gray">
          <a:xfrm>
            <a:off x="1991544" y="4005064"/>
            <a:ext cx="5760000" cy="86409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Consetetur sadipscing elitr, sed diam nonumy eirmod tempor invidunt ut labore et dolore.</a:t>
            </a:r>
          </a:p>
        </p:txBody>
      </p:sp>
      <p:sp>
        <p:nvSpPr>
          <p:cNvPr id="38" name="Inhaltsplatzhalter 7">
            <a:extLst>
              <a:ext uri="{FF2B5EF4-FFF2-40B4-BE49-F238E27FC236}">
                <a16:creationId xmlns:a16="http://schemas.microsoft.com/office/drawing/2014/main" id="{7B1CD836-6B9C-4D51-8D6D-D04A2A263D24}"/>
              </a:ext>
            </a:extLst>
          </p:cNvPr>
          <p:cNvSpPr txBox="1">
            <a:spLocks/>
          </p:cNvSpPr>
          <p:nvPr/>
        </p:nvSpPr>
        <p:spPr bwMode="gray">
          <a:xfrm>
            <a:off x="1991544" y="5157192"/>
            <a:ext cx="5760000" cy="86409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Consetetur sadipscing elitr, sed diam nonumy eirmod tempor invidunt ut labore et dolore.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6E0BB4A7-F2CF-4B44-B863-1A5CE53C952D}"/>
              </a:ext>
            </a:extLst>
          </p:cNvPr>
          <p:cNvSpPr txBox="1">
            <a:spLocks/>
          </p:cNvSpPr>
          <p:nvPr/>
        </p:nvSpPr>
        <p:spPr bwMode="gray">
          <a:xfrm>
            <a:off x="5513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182D1FAB-5517-4D4F-97CD-E329BC45A7C2}"/>
              </a:ext>
            </a:extLst>
          </p:cNvPr>
          <p:cNvSpPr txBox="1">
            <a:spLocks/>
          </p:cNvSpPr>
          <p:nvPr/>
        </p:nvSpPr>
        <p:spPr bwMode="gray">
          <a:xfrm>
            <a:off x="551384" y="350101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D84DA268-6758-4DA4-BC55-DCF5BD125A88}"/>
              </a:ext>
            </a:extLst>
          </p:cNvPr>
          <p:cNvSpPr txBox="1">
            <a:spLocks/>
          </p:cNvSpPr>
          <p:nvPr/>
        </p:nvSpPr>
        <p:spPr bwMode="gray">
          <a:xfrm>
            <a:off x="551384" y="465314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1CA78CD5-0008-4816-B141-DAF9F06F33FA}"/>
              </a:ext>
            </a:extLst>
          </p:cNvPr>
          <p:cNvSpPr txBox="1">
            <a:spLocks/>
          </p:cNvSpPr>
          <p:nvPr/>
        </p:nvSpPr>
        <p:spPr bwMode="gray">
          <a:xfrm>
            <a:off x="551384" y="580527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8C81612-D506-451F-A943-B0496D1F1235}"/>
              </a:ext>
            </a:extLst>
          </p:cNvPr>
          <p:cNvGrpSpPr/>
          <p:nvPr/>
        </p:nvGrpSpPr>
        <p:grpSpPr bwMode="gray">
          <a:xfrm>
            <a:off x="9408368" y="3284984"/>
            <a:ext cx="2304479" cy="2808000"/>
            <a:chOff x="9408368" y="3284984"/>
            <a:chExt cx="2304479" cy="2808000"/>
          </a:xfrm>
        </p:grpSpPr>
        <p:sp>
          <p:nvSpPr>
            <p:cNvPr id="39" name="Inhaltsplatzhalter 7">
              <a:extLst>
                <a:ext uri="{FF2B5EF4-FFF2-40B4-BE49-F238E27FC236}">
                  <a16:creationId xmlns:a16="http://schemas.microsoft.com/office/drawing/2014/main" id="{6E59D414-C1E0-4FCE-AB1C-A49ADCD65B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409113" y="3284984"/>
              <a:ext cx="2303734" cy="2808000"/>
            </a:xfrm>
            <a:prstGeom prst="rect">
              <a:avLst/>
            </a:prstGeom>
          </p:spPr>
          <p:txBody>
            <a:bodyPr lIns="0" tIns="288000" rIns="0" bIns="0"/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24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216000" algn="l" defTabSz="914400" rtl="0" eaLnBrk="1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Font typeface="Liebherr Text Office" panose="020B0604030000000000" pitchFamily="34" charset="0"/>
                <a:buChar char="—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Highlight box</a:t>
              </a:r>
            </a:p>
            <a:p>
              <a:pPr lvl="1"/>
              <a:r>
                <a:rPr lang="en-US" dirty="0"/>
                <a:t>Maecenas porttitor vitae congue massa. Fusce est pulvinar ultricies, bin amet commodo ade magna eros quis urna.</a:t>
              </a: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C85AC361-CF54-4F63-85CD-37B340C274F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408368" y="3284984"/>
              <a:ext cx="2304207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25224244"/>
      </p:ext>
    </p:extLst>
  </p:cSld>
  <p:clrMapOvr>
    <a:masterClrMapping/>
  </p:clrMapOvr>
  <p:transition spd="slow"/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9501F0-1361-41D3-B2A3-DAB4D853E26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0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39501F0-1361-41D3-B2A3-DAB4D853E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1F8FD995-7225-4D2F-A0F5-33B58E6A35D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B780824-A259-410F-8C96-F5FD68E47B0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Numbered lis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960CD243-8B34-49A6-8023-90CCCD517675}"/>
              </a:ext>
            </a:extLst>
          </p:cNvPr>
          <p:cNvSpPr txBox="1">
            <a:spLocks/>
          </p:cNvSpPr>
          <p:nvPr/>
        </p:nvSpPr>
        <p:spPr bwMode="gray">
          <a:xfrm>
            <a:off x="551384" y="2511296"/>
            <a:ext cx="2304529" cy="358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  <a:p>
            <a:pPr lvl="2"/>
            <a:r>
              <a:rPr lang="en-US" dirty="0"/>
              <a:t>Ut wisi enim ad </a:t>
            </a:r>
          </a:p>
          <a:p>
            <a:pPr lvl="2"/>
            <a:r>
              <a:rPr lang="en-US" dirty="0"/>
              <a:t>Minim nostrud est</a:t>
            </a:r>
          </a:p>
          <a:p>
            <a:pPr lvl="2"/>
            <a:r>
              <a:rPr lang="en-US" dirty="0"/>
              <a:t>Duis autem vel </a:t>
            </a:r>
          </a:p>
          <a:p>
            <a:pPr lvl="2"/>
            <a:r>
              <a:rPr lang="en-US" dirty="0"/>
              <a:t>Eum iriure esse</a:t>
            </a:r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C3DE53E0-A08C-4F89-B4C0-F66043EA8A1F}"/>
              </a:ext>
            </a:extLst>
          </p:cNvPr>
          <p:cNvSpPr txBox="1">
            <a:spLocks/>
          </p:cNvSpPr>
          <p:nvPr/>
        </p:nvSpPr>
        <p:spPr bwMode="gray">
          <a:xfrm>
            <a:off x="5513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B85DE865-793B-44AA-8D90-8696D2D3B2E5}"/>
              </a:ext>
            </a:extLst>
          </p:cNvPr>
          <p:cNvSpPr txBox="1">
            <a:spLocks/>
          </p:cNvSpPr>
          <p:nvPr/>
        </p:nvSpPr>
        <p:spPr bwMode="gray">
          <a:xfrm>
            <a:off x="3503712" y="2511296"/>
            <a:ext cx="2304529" cy="358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  <a:p>
            <a:pPr lvl="2"/>
            <a:r>
              <a:rPr lang="en-US" dirty="0"/>
              <a:t>Ut wisi enim ad </a:t>
            </a:r>
          </a:p>
          <a:p>
            <a:pPr lvl="2"/>
            <a:r>
              <a:rPr lang="en-US" dirty="0"/>
              <a:t>Minim nostrud est</a:t>
            </a:r>
          </a:p>
          <a:p>
            <a:pPr lvl="2"/>
            <a:r>
              <a:rPr lang="en-US" dirty="0"/>
              <a:t>Duis autem vel </a:t>
            </a:r>
          </a:p>
          <a:p>
            <a:pPr lvl="2"/>
            <a:r>
              <a:rPr lang="en-US" dirty="0"/>
              <a:t>Eum iriure esse</a:t>
            </a:r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81764066-CC2D-4B01-8FA3-9EC806959CB8}"/>
              </a:ext>
            </a:extLst>
          </p:cNvPr>
          <p:cNvSpPr txBox="1">
            <a:spLocks/>
          </p:cNvSpPr>
          <p:nvPr/>
        </p:nvSpPr>
        <p:spPr bwMode="gray">
          <a:xfrm>
            <a:off x="3503712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E6277FE-2FDB-4C58-976D-DD06F9F38412}"/>
              </a:ext>
            </a:extLst>
          </p:cNvPr>
          <p:cNvSpPr txBox="1">
            <a:spLocks/>
          </p:cNvSpPr>
          <p:nvPr/>
        </p:nvSpPr>
        <p:spPr bwMode="gray">
          <a:xfrm>
            <a:off x="6456040" y="2511296"/>
            <a:ext cx="2304529" cy="358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  <a:p>
            <a:pPr lvl="2"/>
            <a:r>
              <a:rPr lang="en-US" dirty="0"/>
              <a:t>Ut wisi enim ad </a:t>
            </a:r>
          </a:p>
          <a:p>
            <a:pPr lvl="2"/>
            <a:r>
              <a:rPr lang="en-US" dirty="0"/>
              <a:t>Minim nostrud est</a:t>
            </a:r>
          </a:p>
          <a:p>
            <a:pPr lvl="2"/>
            <a:r>
              <a:rPr lang="en-US" dirty="0"/>
              <a:t>Duis autem vel </a:t>
            </a:r>
          </a:p>
          <a:p>
            <a:pPr lvl="2"/>
            <a:r>
              <a:rPr lang="en-US" dirty="0"/>
              <a:t>Eum iriure esse</a:t>
            </a:r>
          </a:p>
        </p:txBody>
      </p:sp>
      <p:sp>
        <p:nvSpPr>
          <p:cNvPr id="35" name="Inhaltsplatzhalter 6">
            <a:extLst>
              <a:ext uri="{FF2B5EF4-FFF2-40B4-BE49-F238E27FC236}">
                <a16:creationId xmlns:a16="http://schemas.microsoft.com/office/drawing/2014/main" id="{F6630DE5-BFD4-4E9D-8C6B-D684AD7115BC}"/>
              </a:ext>
            </a:extLst>
          </p:cNvPr>
          <p:cNvSpPr txBox="1">
            <a:spLocks/>
          </p:cNvSpPr>
          <p:nvPr/>
        </p:nvSpPr>
        <p:spPr bwMode="gray">
          <a:xfrm>
            <a:off x="6456040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93759D31-203A-4452-B147-C55DCE65EDBD}"/>
              </a:ext>
            </a:extLst>
          </p:cNvPr>
          <p:cNvSpPr txBox="1">
            <a:spLocks/>
          </p:cNvSpPr>
          <p:nvPr/>
        </p:nvSpPr>
        <p:spPr bwMode="gray">
          <a:xfrm>
            <a:off x="9408095" y="2511296"/>
            <a:ext cx="2304529" cy="358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Sed diam nonummy magna aliquam erat.</a:t>
            </a:r>
          </a:p>
          <a:p>
            <a:pPr lvl="2"/>
            <a:r>
              <a:rPr lang="en-US" dirty="0"/>
              <a:t>Ut wisi enim ad </a:t>
            </a:r>
          </a:p>
          <a:p>
            <a:pPr lvl="2"/>
            <a:r>
              <a:rPr lang="en-US" dirty="0"/>
              <a:t>Minim nostrud est</a:t>
            </a:r>
          </a:p>
          <a:p>
            <a:pPr lvl="2"/>
            <a:r>
              <a:rPr lang="en-US" dirty="0"/>
              <a:t>Duis autem vel </a:t>
            </a:r>
          </a:p>
          <a:p>
            <a:pPr lvl="2"/>
            <a:r>
              <a:rPr lang="en-US" dirty="0"/>
              <a:t>Eum iriure esse</a:t>
            </a:r>
          </a:p>
        </p:txBody>
      </p:sp>
      <p:sp>
        <p:nvSpPr>
          <p:cNvPr id="41" name="Inhaltsplatzhalter 6">
            <a:extLst>
              <a:ext uri="{FF2B5EF4-FFF2-40B4-BE49-F238E27FC236}">
                <a16:creationId xmlns:a16="http://schemas.microsoft.com/office/drawing/2014/main" id="{625D523D-A2F7-4CBF-9D8B-A74E97703549}"/>
              </a:ext>
            </a:extLst>
          </p:cNvPr>
          <p:cNvSpPr txBox="1">
            <a:spLocks/>
          </p:cNvSpPr>
          <p:nvPr/>
        </p:nvSpPr>
        <p:spPr bwMode="gray">
          <a:xfrm>
            <a:off x="9408095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0977467"/>
      </p:ext>
    </p:extLst>
  </p:cSld>
  <p:clrMapOvr>
    <a:masterClrMapping/>
  </p:clrMapOvr>
  <p:transition spd="slow"/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01D5027D-EB2B-4E04-A9E3-CF2E0930B41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9CA90D9-9218-4F99-930A-F2D70F84E8D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Six text boxes with number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21" name="Inhaltsplatzhalter 7">
            <a:extLst>
              <a:ext uri="{FF2B5EF4-FFF2-40B4-BE49-F238E27FC236}">
                <a16:creationId xmlns:a16="http://schemas.microsoft.com/office/drawing/2014/main" id="{182DAB10-E735-4526-8EF5-BB42349B46AF}"/>
              </a:ext>
            </a:extLst>
          </p:cNvPr>
          <p:cNvSpPr txBox="1">
            <a:spLocks/>
          </p:cNvSpPr>
          <p:nvPr/>
        </p:nvSpPr>
        <p:spPr bwMode="gray">
          <a:xfrm>
            <a:off x="2855112" y="2511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B1BE184F-B687-429A-9682-F01D3937FECD}"/>
              </a:ext>
            </a:extLst>
          </p:cNvPr>
          <p:cNvSpPr txBox="1">
            <a:spLocks/>
          </p:cNvSpPr>
          <p:nvPr/>
        </p:nvSpPr>
        <p:spPr bwMode="gray">
          <a:xfrm>
            <a:off x="2855113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24" name="Inhaltsplatzhalter 7">
            <a:extLst>
              <a:ext uri="{FF2B5EF4-FFF2-40B4-BE49-F238E27FC236}">
                <a16:creationId xmlns:a16="http://schemas.microsoft.com/office/drawing/2014/main" id="{54E2082F-1F3B-4FD8-A24B-D77EFA122DFE}"/>
              </a:ext>
            </a:extLst>
          </p:cNvPr>
          <p:cNvSpPr txBox="1">
            <a:spLocks/>
          </p:cNvSpPr>
          <p:nvPr/>
        </p:nvSpPr>
        <p:spPr bwMode="gray">
          <a:xfrm>
            <a:off x="6023478" y="2511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25" name="Inhaltsplatzhalter 6">
            <a:extLst>
              <a:ext uri="{FF2B5EF4-FFF2-40B4-BE49-F238E27FC236}">
                <a16:creationId xmlns:a16="http://schemas.microsoft.com/office/drawing/2014/main" id="{4611F058-CDDB-4BE3-AC5C-0F8A4A4F67CC}"/>
              </a:ext>
            </a:extLst>
          </p:cNvPr>
          <p:cNvSpPr txBox="1">
            <a:spLocks/>
          </p:cNvSpPr>
          <p:nvPr/>
        </p:nvSpPr>
        <p:spPr bwMode="gray">
          <a:xfrm>
            <a:off x="6023478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CD9D323A-DA29-4CD9-8EAF-FB26667EC0B8}"/>
              </a:ext>
            </a:extLst>
          </p:cNvPr>
          <p:cNvSpPr txBox="1">
            <a:spLocks/>
          </p:cNvSpPr>
          <p:nvPr/>
        </p:nvSpPr>
        <p:spPr bwMode="gray">
          <a:xfrm>
            <a:off x="9192624" y="2511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0ED06A88-B965-4BA6-A69B-E436CFA3A9F3}"/>
              </a:ext>
            </a:extLst>
          </p:cNvPr>
          <p:cNvSpPr txBox="1">
            <a:spLocks/>
          </p:cNvSpPr>
          <p:nvPr/>
        </p:nvSpPr>
        <p:spPr bwMode="gray">
          <a:xfrm>
            <a:off x="919262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E1C5CBAF-FCA5-4A88-9737-933D9F7C7162}"/>
              </a:ext>
            </a:extLst>
          </p:cNvPr>
          <p:cNvSpPr txBox="1">
            <a:spLocks/>
          </p:cNvSpPr>
          <p:nvPr/>
        </p:nvSpPr>
        <p:spPr bwMode="gray">
          <a:xfrm>
            <a:off x="2855112" y="4797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29" name="Inhaltsplatzhalter 6">
            <a:extLst>
              <a:ext uri="{FF2B5EF4-FFF2-40B4-BE49-F238E27FC236}">
                <a16:creationId xmlns:a16="http://schemas.microsoft.com/office/drawing/2014/main" id="{298839AC-82F3-4F31-BF56-9C37FE57BA57}"/>
              </a:ext>
            </a:extLst>
          </p:cNvPr>
          <p:cNvSpPr txBox="1">
            <a:spLocks/>
          </p:cNvSpPr>
          <p:nvPr/>
        </p:nvSpPr>
        <p:spPr bwMode="gray">
          <a:xfrm>
            <a:off x="2855113" y="4634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  <p:sp>
        <p:nvSpPr>
          <p:cNvPr id="30" name="Inhaltsplatzhalter 7">
            <a:extLst>
              <a:ext uri="{FF2B5EF4-FFF2-40B4-BE49-F238E27FC236}">
                <a16:creationId xmlns:a16="http://schemas.microsoft.com/office/drawing/2014/main" id="{6F50AC56-9EEF-4875-AFB0-2144BF950C48}"/>
              </a:ext>
            </a:extLst>
          </p:cNvPr>
          <p:cNvSpPr txBox="1">
            <a:spLocks/>
          </p:cNvSpPr>
          <p:nvPr/>
        </p:nvSpPr>
        <p:spPr bwMode="gray">
          <a:xfrm>
            <a:off x="6023478" y="4797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86224E6D-B719-4F68-8DC9-8468958A0D0A}"/>
              </a:ext>
            </a:extLst>
          </p:cNvPr>
          <p:cNvSpPr txBox="1">
            <a:spLocks/>
          </p:cNvSpPr>
          <p:nvPr/>
        </p:nvSpPr>
        <p:spPr bwMode="gray">
          <a:xfrm>
            <a:off x="6023478" y="4634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5</a:t>
            </a:r>
          </a:p>
        </p:txBody>
      </p:sp>
      <p:sp>
        <p:nvSpPr>
          <p:cNvPr id="32" name="Inhaltsplatzhalter 7">
            <a:extLst>
              <a:ext uri="{FF2B5EF4-FFF2-40B4-BE49-F238E27FC236}">
                <a16:creationId xmlns:a16="http://schemas.microsoft.com/office/drawing/2014/main" id="{E91D3A81-6279-4456-B5A0-594074AA7E31}"/>
              </a:ext>
            </a:extLst>
          </p:cNvPr>
          <p:cNvSpPr txBox="1">
            <a:spLocks/>
          </p:cNvSpPr>
          <p:nvPr/>
        </p:nvSpPr>
        <p:spPr bwMode="gray">
          <a:xfrm>
            <a:off x="9192624" y="4797296"/>
            <a:ext cx="2520000" cy="129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</a:t>
            </a:r>
          </a:p>
          <a:p>
            <a:pPr lvl="1"/>
            <a:r>
              <a:rPr lang="en-US" dirty="0"/>
              <a:t>Integer facilisis blandit venenatis lacus erat. </a:t>
            </a:r>
          </a:p>
        </p:txBody>
      </p:sp>
      <p:sp>
        <p:nvSpPr>
          <p:cNvPr id="33" name="Inhaltsplatzhalter 6">
            <a:extLst>
              <a:ext uri="{FF2B5EF4-FFF2-40B4-BE49-F238E27FC236}">
                <a16:creationId xmlns:a16="http://schemas.microsoft.com/office/drawing/2014/main" id="{F75CCE3D-A7F0-4960-ACB9-DF1B3F7D28B4}"/>
              </a:ext>
            </a:extLst>
          </p:cNvPr>
          <p:cNvSpPr txBox="1">
            <a:spLocks/>
          </p:cNvSpPr>
          <p:nvPr/>
        </p:nvSpPr>
        <p:spPr bwMode="gray">
          <a:xfrm>
            <a:off x="9192624" y="4634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6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551116"/>
      </p:ext>
    </p:extLst>
  </p:cSld>
  <p:clrMapOvr>
    <a:masterClrMapping/>
  </p:clrMapOvr>
  <p:transition spd="slow"/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19729D7-8A6C-419D-A40A-85F17F84F19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8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19729D7-8A6C-419D-A40A-85F17F84F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F4976C3-06A8-4B67-B2AF-82540670EE5F}"/>
              </a:ext>
            </a:extLst>
          </p:cNvPr>
          <p:cNvCxnSpPr>
            <a:cxnSpLocks/>
          </p:cNvCxnSpPr>
          <p:nvPr/>
        </p:nvCxnSpPr>
        <p:spPr bwMode="gray">
          <a:xfrm>
            <a:off x="6131719" y="1700213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FBBB12F9-243B-41FE-93B7-C86E0F51DA4F}"/>
              </a:ext>
            </a:extLst>
          </p:cNvPr>
          <p:cNvCxnSpPr>
            <a:cxnSpLocks/>
          </p:cNvCxnSpPr>
          <p:nvPr/>
        </p:nvCxnSpPr>
        <p:spPr bwMode="gray">
          <a:xfrm>
            <a:off x="2279650" y="3896519"/>
            <a:ext cx="770413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48CC3086-D465-4CD5-A5B3-413768A673D6}"/>
              </a:ext>
            </a:extLst>
          </p:cNvPr>
          <p:cNvSpPr/>
          <p:nvPr/>
        </p:nvSpPr>
        <p:spPr bwMode="gray">
          <a:xfrm>
            <a:off x="5627852" y="3392996"/>
            <a:ext cx="1008208" cy="10082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F04AD698-F326-420C-B3DC-8C9AB22B83C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A0BCC2F-9DF5-4635-8DCD-36B0513628C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Four key messag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4</a:t>
            </a:fld>
            <a:endParaRPr lang="en-US" dirty="0"/>
          </a:p>
        </p:txBody>
      </p:sp>
      <p:grpSp>
        <p:nvGrpSpPr>
          <p:cNvPr id="46" name="Grupa 49">
            <a:extLst>
              <a:ext uri="{FF2B5EF4-FFF2-40B4-BE49-F238E27FC236}">
                <a16:creationId xmlns:a16="http://schemas.microsoft.com/office/drawing/2014/main" id="{2A4060A0-D655-4D8B-A178-857EF762CF7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5836796" y="3572519"/>
            <a:ext cx="589846" cy="648000"/>
            <a:chOff x="11261725" y="1700213"/>
            <a:chExt cx="450851" cy="495300"/>
          </a:xfrm>
        </p:grpSpPr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37E41B9D-65D6-498D-BB1F-4414452E913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Line 7">
              <a:extLst>
                <a:ext uri="{FF2B5EF4-FFF2-40B4-BE49-F238E27FC236}">
                  <a16:creationId xmlns:a16="http://schemas.microsoft.com/office/drawing/2014/main" id="{E306B288-2795-4A9B-A441-186BD79256F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Line 8">
              <a:extLst>
                <a:ext uri="{FF2B5EF4-FFF2-40B4-BE49-F238E27FC236}">
                  <a16:creationId xmlns:a16="http://schemas.microsoft.com/office/drawing/2014/main" id="{097560AD-8A42-4A3A-AB29-94F03C24C81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Line 9">
              <a:extLst>
                <a:ext uri="{FF2B5EF4-FFF2-40B4-BE49-F238E27FC236}">
                  <a16:creationId xmlns:a16="http://schemas.microsoft.com/office/drawing/2014/main" id="{920C01B1-BB8B-42BE-8640-C802FA0C3C4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Line 10">
              <a:extLst>
                <a:ext uri="{FF2B5EF4-FFF2-40B4-BE49-F238E27FC236}">
                  <a16:creationId xmlns:a16="http://schemas.microsoft.com/office/drawing/2014/main" id="{94886BF8-B9FE-4D9A-B1E3-C829B9024B8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Line 11">
              <a:extLst>
                <a:ext uri="{FF2B5EF4-FFF2-40B4-BE49-F238E27FC236}">
                  <a16:creationId xmlns:a16="http://schemas.microsoft.com/office/drawing/2014/main" id="{D7911DD3-4708-445E-9F6F-66F01650EA0C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Line 12">
              <a:extLst>
                <a:ext uri="{FF2B5EF4-FFF2-40B4-BE49-F238E27FC236}">
                  <a16:creationId xmlns:a16="http://schemas.microsoft.com/office/drawing/2014/main" id="{B7031F96-8723-42C4-89A9-FCD2B17AE78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Line 13">
              <a:extLst>
                <a:ext uri="{FF2B5EF4-FFF2-40B4-BE49-F238E27FC236}">
                  <a16:creationId xmlns:a16="http://schemas.microsoft.com/office/drawing/2014/main" id="{A3127955-C381-425F-A9A7-BC1146500AD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Line 14">
              <a:extLst>
                <a:ext uri="{FF2B5EF4-FFF2-40B4-BE49-F238E27FC236}">
                  <a16:creationId xmlns:a16="http://schemas.microsoft.com/office/drawing/2014/main" id="{A1471D62-F2BF-49AE-A53B-4783CD98745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Line 15">
              <a:extLst>
                <a:ext uri="{FF2B5EF4-FFF2-40B4-BE49-F238E27FC236}">
                  <a16:creationId xmlns:a16="http://schemas.microsoft.com/office/drawing/2014/main" id="{076E663C-99F0-4516-8C22-A602A82E4D4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Line 16">
              <a:extLst>
                <a:ext uri="{FF2B5EF4-FFF2-40B4-BE49-F238E27FC236}">
                  <a16:creationId xmlns:a16="http://schemas.microsoft.com/office/drawing/2014/main" id="{A594993F-4B5C-4A09-A0EC-365ED95BA8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8" name="Inhaltsplatzhalter 7">
            <a:extLst>
              <a:ext uri="{FF2B5EF4-FFF2-40B4-BE49-F238E27FC236}">
                <a16:creationId xmlns:a16="http://schemas.microsoft.com/office/drawing/2014/main" id="{A09C9009-F9FE-41A6-A7DD-D53B9CA8C4A6}"/>
              </a:ext>
            </a:extLst>
          </p:cNvPr>
          <p:cNvSpPr txBox="1">
            <a:spLocks/>
          </p:cNvSpPr>
          <p:nvPr/>
        </p:nvSpPr>
        <p:spPr bwMode="gray">
          <a:xfrm>
            <a:off x="3431704" y="1700807"/>
            <a:ext cx="2376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Integer facilisis blan-dit esthe venenatis lacus erat vitae lorem ipsum dolor sit. </a:t>
            </a:r>
          </a:p>
        </p:txBody>
      </p:sp>
      <p:sp>
        <p:nvSpPr>
          <p:cNvPr id="75" name="Inhaltsplatzhalter 7">
            <a:extLst>
              <a:ext uri="{FF2B5EF4-FFF2-40B4-BE49-F238E27FC236}">
                <a16:creationId xmlns:a16="http://schemas.microsoft.com/office/drawing/2014/main" id="{955C4390-1888-43D8-B4C6-1AC0E97D74EC}"/>
              </a:ext>
            </a:extLst>
          </p:cNvPr>
          <p:cNvSpPr txBox="1">
            <a:spLocks/>
          </p:cNvSpPr>
          <p:nvPr/>
        </p:nvSpPr>
        <p:spPr bwMode="gray">
          <a:xfrm>
            <a:off x="6456040" y="1700807"/>
            <a:ext cx="2376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Integer facilisis blan-dit esthe venenatis lacus erat vitae lorem ipsum dolor sit. </a:t>
            </a:r>
          </a:p>
        </p:txBody>
      </p:sp>
      <p:sp>
        <p:nvSpPr>
          <p:cNvPr id="89" name="Inhaltsplatzhalter 7">
            <a:extLst>
              <a:ext uri="{FF2B5EF4-FFF2-40B4-BE49-F238E27FC236}">
                <a16:creationId xmlns:a16="http://schemas.microsoft.com/office/drawing/2014/main" id="{03F3A007-4A0E-4F0D-B525-EB4EEE658EBE}"/>
              </a:ext>
            </a:extLst>
          </p:cNvPr>
          <p:cNvSpPr txBox="1">
            <a:spLocks/>
          </p:cNvSpPr>
          <p:nvPr/>
        </p:nvSpPr>
        <p:spPr bwMode="gray">
          <a:xfrm>
            <a:off x="3431704" y="4220641"/>
            <a:ext cx="2376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Integer facilisis blan-dit esthe venenatis lacus erat vitae lorem ipsum dolor sit. </a:t>
            </a:r>
          </a:p>
        </p:txBody>
      </p:sp>
      <p:sp>
        <p:nvSpPr>
          <p:cNvPr id="90" name="Inhaltsplatzhalter 7">
            <a:extLst>
              <a:ext uri="{FF2B5EF4-FFF2-40B4-BE49-F238E27FC236}">
                <a16:creationId xmlns:a16="http://schemas.microsoft.com/office/drawing/2014/main" id="{1990B67C-4BDA-4B15-9AC6-EBA7976AE4FD}"/>
              </a:ext>
            </a:extLst>
          </p:cNvPr>
          <p:cNvSpPr txBox="1">
            <a:spLocks/>
          </p:cNvSpPr>
          <p:nvPr/>
        </p:nvSpPr>
        <p:spPr bwMode="gray">
          <a:xfrm>
            <a:off x="6456040" y="4220641"/>
            <a:ext cx="2376000" cy="187265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Integer facilisis blan-dit esthe venenatis lacus erat vitae lorem ipsum dolor sit. </a:t>
            </a:r>
          </a:p>
        </p:txBody>
      </p: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5C4E0848-611D-4567-B95E-38E3A87AE315}"/>
              </a:ext>
            </a:extLst>
          </p:cNvPr>
          <p:cNvSpPr txBox="1">
            <a:spLocks/>
          </p:cNvSpPr>
          <p:nvPr/>
        </p:nvSpPr>
        <p:spPr bwMode="gray">
          <a:xfrm>
            <a:off x="2279576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33" name="Inhaltsplatzhalter 6">
            <a:extLst>
              <a:ext uri="{FF2B5EF4-FFF2-40B4-BE49-F238E27FC236}">
                <a16:creationId xmlns:a16="http://schemas.microsoft.com/office/drawing/2014/main" id="{588025EC-97E8-46E4-8B6D-F30DA538FF8F}"/>
              </a:ext>
            </a:extLst>
          </p:cNvPr>
          <p:cNvSpPr txBox="1">
            <a:spLocks/>
          </p:cNvSpPr>
          <p:nvPr/>
        </p:nvSpPr>
        <p:spPr bwMode="gray">
          <a:xfrm>
            <a:off x="9264432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CDA6EFE0-4055-4E94-B634-D0FDA70E1600}"/>
              </a:ext>
            </a:extLst>
          </p:cNvPr>
          <p:cNvSpPr txBox="1">
            <a:spLocks/>
          </p:cNvSpPr>
          <p:nvPr/>
        </p:nvSpPr>
        <p:spPr bwMode="gray">
          <a:xfrm>
            <a:off x="2279576" y="486916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35" name="Inhaltsplatzhalter 6">
            <a:extLst>
              <a:ext uri="{FF2B5EF4-FFF2-40B4-BE49-F238E27FC236}">
                <a16:creationId xmlns:a16="http://schemas.microsoft.com/office/drawing/2014/main" id="{738BB967-A13E-4E7A-8F3B-DA300ED64164}"/>
              </a:ext>
            </a:extLst>
          </p:cNvPr>
          <p:cNvSpPr txBox="1">
            <a:spLocks/>
          </p:cNvSpPr>
          <p:nvPr/>
        </p:nvSpPr>
        <p:spPr bwMode="gray">
          <a:xfrm>
            <a:off x="9264432" y="486916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j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885614"/>
      </p:ext>
    </p:extLst>
  </p:cSld>
  <p:clrMapOvr>
    <a:masterClrMapping/>
  </p:clrMapOvr>
  <p:transition spd="slow"/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A71EBB0-D2CF-4F2A-970A-0FDE967194B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D503CEB1-8715-4176-AAA3-E4195DE51F6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Combs with </a:t>
            </a:r>
            <a:r>
              <a:rPr lang="en-US" dirty="0" err="1" smtClean="0"/>
              <a:t>coloured</a:t>
            </a:r>
            <a:r>
              <a:rPr lang="en-US" dirty="0" smtClean="0"/>
              <a:t> section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29" name="Inhaltsplatzhalter 7">
            <a:extLst>
              <a:ext uri="{FF2B5EF4-FFF2-40B4-BE49-F238E27FC236}">
                <a16:creationId xmlns:a16="http://schemas.microsoft.com/office/drawing/2014/main" id="{458DE983-E6EE-4FC1-9F5D-C00599ADB10B}"/>
              </a:ext>
            </a:extLst>
          </p:cNvPr>
          <p:cNvSpPr txBox="1">
            <a:spLocks/>
          </p:cNvSpPr>
          <p:nvPr/>
        </p:nvSpPr>
        <p:spPr bwMode="gray">
          <a:xfrm>
            <a:off x="5447928" y="1700808"/>
            <a:ext cx="1368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F4F5DD3F-E15B-4DDC-B122-35A591546C4D}"/>
              </a:ext>
            </a:extLst>
          </p:cNvPr>
          <p:cNvSpPr txBox="1">
            <a:spLocks/>
          </p:cNvSpPr>
          <p:nvPr/>
        </p:nvSpPr>
        <p:spPr bwMode="gray">
          <a:xfrm>
            <a:off x="3935760" y="2456892"/>
            <a:ext cx="1368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24BAA15-DD19-441F-A2F0-2581AEC28BB7}"/>
              </a:ext>
            </a:extLst>
          </p:cNvPr>
          <p:cNvSpPr txBox="1">
            <a:spLocks/>
          </p:cNvSpPr>
          <p:nvPr/>
        </p:nvSpPr>
        <p:spPr bwMode="gray">
          <a:xfrm>
            <a:off x="3935760" y="3969212"/>
            <a:ext cx="1368000" cy="136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1645F2C0-C511-4265-8735-7C2CF16665F6}"/>
              </a:ext>
            </a:extLst>
          </p:cNvPr>
          <p:cNvSpPr txBox="1">
            <a:spLocks/>
          </p:cNvSpPr>
          <p:nvPr/>
        </p:nvSpPr>
        <p:spPr bwMode="gray">
          <a:xfrm>
            <a:off x="6960248" y="2456892"/>
            <a:ext cx="1368000" cy="136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D0D3F42A-F793-4122-ABD1-0C648A06EFEB}"/>
              </a:ext>
            </a:extLst>
          </p:cNvPr>
          <p:cNvSpPr txBox="1">
            <a:spLocks/>
          </p:cNvSpPr>
          <p:nvPr/>
        </p:nvSpPr>
        <p:spPr bwMode="gray">
          <a:xfrm>
            <a:off x="6960248" y="3969212"/>
            <a:ext cx="1368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8" name="Inhaltsplatzhalter 7">
            <a:extLst>
              <a:ext uri="{FF2B5EF4-FFF2-40B4-BE49-F238E27FC236}">
                <a16:creationId xmlns:a16="http://schemas.microsoft.com/office/drawing/2014/main" id="{13FAF18E-449D-4C58-A7DF-69E3567F0E99}"/>
              </a:ext>
            </a:extLst>
          </p:cNvPr>
          <p:cNvSpPr txBox="1">
            <a:spLocks/>
          </p:cNvSpPr>
          <p:nvPr/>
        </p:nvSpPr>
        <p:spPr bwMode="gray">
          <a:xfrm>
            <a:off x="5447928" y="4725296"/>
            <a:ext cx="1368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en-US" dirty="0"/>
              <a:t>Lorem ipsum</a:t>
            </a:r>
          </a:p>
        </p:txBody>
      </p:sp>
      <p:sp>
        <p:nvSpPr>
          <p:cNvPr id="39" name="Inhaltsplatzhalter 7">
            <a:extLst>
              <a:ext uri="{FF2B5EF4-FFF2-40B4-BE49-F238E27FC236}">
                <a16:creationId xmlns:a16="http://schemas.microsoft.com/office/drawing/2014/main" id="{6736FC31-6BC0-4626-A9C9-EF5C64B462DB}"/>
              </a:ext>
            </a:extLst>
          </p:cNvPr>
          <p:cNvSpPr txBox="1">
            <a:spLocks/>
          </p:cNvSpPr>
          <p:nvPr/>
        </p:nvSpPr>
        <p:spPr bwMode="gray">
          <a:xfrm>
            <a:off x="5447928" y="3212976"/>
            <a:ext cx="1368000" cy="1368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</a:ln>
        </p:spPr>
        <p:txBody>
          <a:bodyPr lIns="72000" tIns="72000" rIns="72000" bIns="7200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Lorem ipsum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B53F142-9DEE-458D-AAD1-B02EC1AF8E02}"/>
              </a:ext>
            </a:extLst>
          </p:cNvPr>
          <p:cNvCxnSpPr>
            <a:cxnSpLocks/>
          </p:cNvCxnSpPr>
          <p:nvPr/>
        </p:nvCxnSpPr>
        <p:spPr bwMode="gray">
          <a:xfrm>
            <a:off x="8688624" y="3140968"/>
            <a:ext cx="302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Inhaltsplatzhalter 7">
            <a:extLst>
              <a:ext uri="{FF2B5EF4-FFF2-40B4-BE49-F238E27FC236}">
                <a16:creationId xmlns:a16="http://schemas.microsoft.com/office/drawing/2014/main" id="{E8C187FE-B88B-4FA7-9F43-C15F2DC72E28}"/>
              </a:ext>
            </a:extLst>
          </p:cNvPr>
          <p:cNvSpPr txBox="1">
            <a:spLocks/>
          </p:cNvSpPr>
          <p:nvPr/>
        </p:nvSpPr>
        <p:spPr bwMode="gray">
          <a:xfrm>
            <a:off x="8688271" y="1700213"/>
            <a:ext cx="3024000" cy="1440755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Lorem ipsum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Sed vitae arcu in condimentum blandit. Duis molestie et nisl nibh. Maecenas venenatis eget 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C7384506-DBF4-49FB-8774-7B14C07AF610}"/>
              </a:ext>
            </a:extLst>
          </p:cNvPr>
          <p:cNvCxnSpPr>
            <a:cxnSpLocks/>
          </p:cNvCxnSpPr>
          <p:nvPr/>
        </p:nvCxnSpPr>
        <p:spPr bwMode="gray">
          <a:xfrm>
            <a:off x="551384" y="4653731"/>
            <a:ext cx="302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Inhaltsplatzhalter 7">
            <a:extLst>
              <a:ext uri="{FF2B5EF4-FFF2-40B4-BE49-F238E27FC236}">
                <a16:creationId xmlns:a16="http://schemas.microsoft.com/office/drawing/2014/main" id="{B8015656-7BE9-4451-9B1D-C8B7766817D4}"/>
              </a:ext>
            </a:extLst>
          </p:cNvPr>
          <p:cNvSpPr txBox="1">
            <a:spLocks/>
          </p:cNvSpPr>
          <p:nvPr/>
        </p:nvSpPr>
        <p:spPr bwMode="gray">
          <a:xfrm>
            <a:off x="551384" y="3212976"/>
            <a:ext cx="3024000" cy="1440755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Lorem ipsum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Sed vitae arcu in condimentum blandit. Duis molestie et nisl nibh. Maecenas venenatis eget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1638821"/>
      </p:ext>
    </p:extLst>
  </p:cSld>
  <p:clrMapOvr>
    <a:masterClrMapping/>
  </p:clrMapOvr>
  <p:transition spd="slow"/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6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22D987E-47EA-497D-A6B6-E9B43036F4A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902E8B8-239E-4741-B13E-82412397ABD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nfluences on</a:t>
            </a:r>
            <a:br>
              <a:rPr lang="en-US" dirty="0" smtClean="0"/>
            </a:br>
            <a:r>
              <a:rPr lang="en-US" dirty="0" smtClean="0"/>
              <a:t>the inner box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6</a:t>
            </a:fld>
            <a:endParaRPr lang="en-US" dirty="0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4AF3FB6-3950-4D91-9D42-C57FDC063526}"/>
              </a:ext>
            </a:extLst>
          </p:cNvPr>
          <p:cNvCxnSpPr>
            <a:cxnSpLocks/>
          </p:cNvCxnSpPr>
          <p:nvPr/>
        </p:nvCxnSpPr>
        <p:spPr bwMode="gray">
          <a:xfrm>
            <a:off x="7751763" y="2960948"/>
            <a:ext cx="396033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Inhaltsplatzhalter 7">
            <a:extLst>
              <a:ext uri="{FF2B5EF4-FFF2-40B4-BE49-F238E27FC236}">
                <a16:creationId xmlns:a16="http://schemas.microsoft.com/office/drawing/2014/main" id="{DCDD729C-6A5E-4A4A-A367-10ABC7942F8B}"/>
              </a:ext>
            </a:extLst>
          </p:cNvPr>
          <p:cNvSpPr txBox="1">
            <a:spLocks/>
          </p:cNvSpPr>
          <p:nvPr/>
        </p:nvSpPr>
        <p:spPr bwMode="gray">
          <a:xfrm>
            <a:off x="8401049" y="2240272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32545D3-BD0E-4F05-A307-0091518435C5}"/>
              </a:ext>
            </a:extLst>
          </p:cNvPr>
          <p:cNvCxnSpPr>
            <a:cxnSpLocks/>
          </p:cNvCxnSpPr>
          <p:nvPr/>
        </p:nvCxnSpPr>
        <p:spPr bwMode="gray">
          <a:xfrm>
            <a:off x="550862" y="2960948"/>
            <a:ext cx="39608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Inhaltsplatzhalter 7">
            <a:extLst>
              <a:ext uri="{FF2B5EF4-FFF2-40B4-BE49-F238E27FC236}">
                <a16:creationId xmlns:a16="http://schemas.microsoft.com/office/drawing/2014/main" id="{D3A699AB-FDA2-4536-91AE-814D0E03FE4E}"/>
              </a:ext>
            </a:extLst>
          </p:cNvPr>
          <p:cNvSpPr txBox="1">
            <a:spLocks/>
          </p:cNvSpPr>
          <p:nvPr/>
        </p:nvSpPr>
        <p:spPr bwMode="gray">
          <a:xfrm>
            <a:off x="551382" y="2240272"/>
            <a:ext cx="3312593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6A840781-2ADB-47F4-BF57-D3B8CE898731}"/>
              </a:ext>
            </a:extLst>
          </p:cNvPr>
          <p:cNvCxnSpPr>
            <a:cxnSpLocks/>
          </p:cNvCxnSpPr>
          <p:nvPr/>
        </p:nvCxnSpPr>
        <p:spPr bwMode="gray">
          <a:xfrm>
            <a:off x="7751763" y="4185456"/>
            <a:ext cx="396033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Inhaltsplatzhalter 7">
            <a:extLst>
              <a:ext uri="{FF2B5EF4-FFF2-40B4-BE49-F238E27FC236}">
                <a16:creationId xmlns:a16="http://schemas.microsoft.com/office/drawing/2014/main" id="{1B660A31-C66C-4945-A2B8-491AEB681F75}"/>
              </a:ext>
            </a:extLst>
          </p:cNvPr>
          <p:cNvSpPr txBox="1">
            <a:spLocks/>
          </p:cNvSpPr>
          <p:nvPr/>
        </p:nvSpPr>
        <p:spPr bwMode="gray">
          <a:xfrm>
            <a:off x="8401049" y="3464780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11DE2C9B-007D-4026-BF46-ECD900877231}"/>
              </a:ext>
            </a:extLst>
          </p:cNvPr>
          <p:cNvCxnSpPr>
            <a:cxnSpLocks/>
          </p:cNvCxnSpPr>
          <p:nvPr/>
        </p:nvCxnSpPr>
        <p:spPr bwMode="gray">
          <a:xfrm>
            <a:off x="550862" y="4185456"/>
            <a:ext cx="39608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Inhaltsplatzhalter 7">
            <a:extLst>
              <a:ext uri="{FF2B5EF4-FFF2-40B4-BE49-F238E27FC236}">
                <a16:creationId xmlns:a16="http://schemas.microsoft.com/office/drawing/2014/main" id="{89F42604-E900-4669-B5BD-26181A409D92}"/>
              </a:ext>
            </a:extLst>
          </p:cNvPr>
          <p:cNvSpPr txBox="1">
            <a:spLocks/>
          </p:cNvSpPr>
          <p:nvPr/>
        </p:nvSpPr>
        <p:spPr bwMode="gray">
          <a:xfrm>
            <a:off x="551382" y="3464780"/>
            <a:ext cx="3312593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25EF706C-1F35-471F-8B79-E85BD29B311E}"/>
              </a:ext>
            </a:extLst>
          </p:cNvPr>
          <p:cNvCxnSpPr>
            <a:cxnSpLocks/>
          </p:cNvCxnSpPr>
          <p:nvPr/>
        </p:nvCxnSpPr>
        <p:spPr bwMode="gray">
          <a:xfrm>
            <a:off x="7751763" y="5409816"/>
            <a:ext cx="396033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Inhaltsplatzhalter 7">
            <a:extLst>
              <a:ext uri="{FF2B5EF4-FFF2-40B4-BE49-F238E27FC236}">
                <a16:creationId xmlns:a16="http://schemas.microsoft.com/office/drawing/2014/main" id="{26AB1072-501A-49CE-83D8-9BCADA19763E}"/>
              </a:ext>
            </a:extLst>
          </p:cNvPr>
          <p:cNvSpPr txBox="1">
            <a:spLocks/>
          </p:cNvSpPr>
          <p:nvPr/>
        </p:nvSpPr>
        <p:spPr bwMode="gray">
          <a:xfrm>
            <a:off x="8401049" y="4689140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6E61629-6C38-4A12-8E3E-348928E3FCF6}"/>
              </a:ext>
            </a:extLst>
          </p:cNvPr>
          <p:cNvCxnSpPr>
            <a:cxnSpLocks/>
          </p:cNvCxnSpPr>
          <p:nvPr/>
        </p:nvCxnSpPr>
        <p:spPr bwMode="gray">
          <a:xfrm>
            <a:off x="550862" y="5409816"/>
            <a:ext cx="39608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Inhaltsplatzhalter 7">
            <a:extLst>
              <a:ext uri="{FF2B5EF4-FFF2-40B4-BE49-F238E27FC236}">
                <a16:creationId xmlns:a16="http://schemas.microsoft.com/office/drawing/2014/main" id="{86EE57BF-13F1-45F8-A719-D712AAEDBC1D}"/>
              </a:ext>
            </a:extLst>
          </p:cNvPr>
          <p:cNvSpPr txBox="1">
            <a:spLocks/>
          </p:cNvSpPr>
          <p:nvPr/>
        </p:nvSpPr>
        <p:spPr bwMode="gray">
          <a:xfrm>
            <a:off x="551382" y="4689140"/>
            <a:ext cx="3312593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dirty="0"/>
              <a:t>Sed diam nonummy nibh euismod dolore</a:t>
            </a:r>
          </a:p>
        </p:txBody>
      </p:sp>
      <p:sp>
        <p:nvSpPr>
          <p:cNvPr id="34" name="Inhaltsplatzhalter 7">
            <a:extLst>
              <a:ext uri="{FF2B5EF4-FFF2-40B4-BE49-F238E27FC236}">
                <a16:creationId xmlns:a16="http://schemas.microsoft.com/office/drawing/2014/main" id="{4A0B954D-9D06-4411-85D4-8B0AC221727B}"/>
              </a:ext>
            </a:extLst>
          </p:cNvPr>
          <p:cNvSpPr txBox="1">
            <a:spLocks/>
          </p:cNvSpPr>
          <p:nvPr/>
        </p:nvSpPr>
        <p:spPr bwMode="gray">
          <a:xfrm>
            <a:off x="4511824" y="0"/>
            <a:ext cx="3239939" cy="6857999"/>
          </a:xfrm>
          <a:prstGeom prst="rect">
            <a:avLst/>
          </a:prstGeom>
          <a:solidFill>
            <a:schemeClr val="bg2"/>
          </a:solidFill>
        </p:spPr>
        <p:txBody>
          <a:bodyPr lIns="216000" tIns="900000" rIns="21600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Lorem ipsum </a:t>
            </a:r>
            <a:br>
              <a:rPr lang="en-US" dirty="0"/>
            </a:br>
            <a:r>
              <a:rPr lang="en-US" dirty="0"/>
              <a:t>dolor si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4485272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62ED23-5AAC-41C1-B2E9-259C96435D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62ED23-5AAC-41C1-B2E9-259C96435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platzhalter 4" descr="Ein Bild, das draußen, Himmel, Boden, Berg enthält.&#10;&#10;Automatisch generierte Beschreibung">
            <a:extLst>
              <a:ext uri="{FF2B5EF4-FFF2-40B4-BE49-F238E27FC236}">
                <a16:creationId xmlns:a16="http://schemas.microsoft.com/office/drawing/2014/main" id="{55EF70DA-4FED-49E2-A9FA-23E5060758C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/>
        </p:blipFill>
        <p:spPr bwMode="gray">
          <a:xfrm>
            <a:off x="0" y="0"/>
            <a:ext cx="12191999" cy="6858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606B9B4-B8AB-495B-BB73-3197F5BAA2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1383" y="476672"/>
            <a:ext cx="5904979" cy="684076"/>
          </a:xfrm>
        </p:spPr>
        <p:txBody>
          <a:bodyPr vert="horz"/>
          <a:lstStyle/>
          <a:p>
            <a:r>
              <a:rPr lang="en-US" dirty="0"/>
              <a:t>Presentation title, 1-line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6A9C0F1B-89D7-4184-A57F-06179BBD547C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AC9C1F7-7B4C-4DDC-9DD4-8EA92BFB99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38047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62ED23-5AAC-41C1-B2E9-259C96435D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62ED23-5AAC-41C1-B2E9-259C96435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8" descr="Ein Bild, das draußen, Gebäude, Wasser, Boot enthält.&#10;&#10;Automatisch generierte Beschreibung">
            <a:extLst>
              <a:ext uri="{FF2B5EF4-FFF2-40B4-BE49-F238E27FC236}">
                <a16:creationId xmlns:a16="http://schemas.microsoft.com/office/drawing/2014/main" id="{0AD1CD2E-D361-42E9-BFFD-6A78922C2D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1999" cy="6858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606B9B4-B8AB-495B-BB73-3197F5BAA2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1383" y="476672"/>
            <a:ext cx="5904000" cy="1260140"/>
          </a:xfrm>
        </p:spPr>
        <p:txBody>
          <a:bodyPr vert="horz"/>
          <a:lstStyle/>
          <a:p>
            <a:r>
              <a:rPr lang="en-US" dirty="0"/>
              <a:t>Presentation title in Liebherr Head Black</a:t>
            </a:r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D553C048-22DC-4F86-A96B-341D14898E1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12FB414-3EE0-479A-9E11-1F0781695D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70350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62ED23-5AAC-41C1-B2E9-259C96435D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62ED23-5AAC-41C1-B2E9-259C96435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8" descr="Ein Bild, das draußen, Gebäude, Wasser, Boot enthält.&#10;&#10;Automatisch generierte Beschreibung">
            <a:extLst>
              <a:ext uri="{FF2B5EF4-FFF2-40B4-BE49-F238E27FC236}">
                <a16:creationId xmlns:a16="http://schemas.microsoft.com/office/drawing/2014/main" id="{0AD1CD2E-D361-42E9-BFFD-6A78922C2D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1999" cy="6858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606B9B4-B8AB-495B-BB73-3197F5BAA2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1384" y="476672"/>
            <a:ext cx="5904979" cy="684076"/>
          </a:xfrm>
        </p:spPr>
        <p:txBody>
          <a:bodyPr vert="horz"/>
          <a:lstStyle/>
          <a:p>
            <a:r>
              <a:rPr lang="en-US" dirty="0"/>
              <a:t>Presentation title, 1-line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E22098DE-EAF8-4AD9-B4FB-185744169E8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02F7508-0917-4523-8419-C1B23F2BFF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2571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D54EEE2-5014-4961-A855-60E8FCFA6AD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D54EEE2-5014-4961-A855-60E8FCFA6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64D58625-2C1A-4D14-9D5A-D27A6DFE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long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E0FDB3B3-1975-4BCA-90E2-5F83A4D5D8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74395"/>
              </p:ext>
            </p:extLst>
          </p:nvPr>
        </p:nvGraphicFramePr>
        <p:xfrm>
          <a:off x="550862" y="1700215"/>
          <a:ext cx="11161713" cy="460389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66119">
                  <a:extLst>
                    <a:ext uri="{9D8B030D-6E8A-4147-A177-3AD203B41FA5}">
                      <a16:colId xmlns:a16="http://schemas.microsoft.com/office/drawing/2014/main" val="3120136826"/>
                    </a:ext>
                  </a:extLst>
                </a:gridCol>
                <a:gridCol w="10795594">
                  <a:extLst>
                    <a:ext uri="{9D8B030D-6E8A-4147-A177-3AD203B41FA5}">
                      <a16:colId xmlns:a16="http://schemas.microsoft.com/office/drawing/2014/main" val="1325069351"/>
                    </a:ext>
                  </a:extLst>
                </a:gridCol>
              </a:tblGrid>
              <a:tr h="1026224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1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One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One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Two lorem ipsum dolor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3799875068"/>
                  </a:ext>
                </a:extLst>
              </a:tr>
              <a:tr h="1026224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2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marR="0" lvl="0" indent="-36576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Two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One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Two lorem ipsum dolor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247175150"/>
                  </a:ext>
                </a:extLst>
              </a:tr>
              <a:tr h="437979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3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Three lorem ipsum dolor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2648307165"/>
                  </a:ext>
                </a:extLst>
              </a:tr>
              <a:tr h="437979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4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Four lorem ipsum dolor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1900418758"/>
                  </a:ext>
                </a:extLst>
              </a:tr>
              <a:tr h="1026224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5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Five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One lorem ipsum dolor</a:t>
                      </a:r>
                    </a:p>
                    <a:p>
                      <a:pPr marL="216000" marR="0" lvl="1" indent="-21600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Three lorem ipsum dolor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1000873813"/>
                  </a:ext>
                </a:extLst>
              </a:tr>
              <a:tr h="437979"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06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144000"/>
                </a:tc>
                <a:tc>
                  <a:txBody>
                    <a:bodyPr/>
                    <a:lstStyle/>
                    <a:p>
                      <a:pPr marL="0" lvl="0" indent="-3657600">
                        <a:lnSpc>
                          <a:spcPct val="120000"/>
                        </a:lnSpc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1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Six lorem ipsum dolor</a:t>
                      </a:r>
                      <a:endParaRPr lang="en-US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88000" marR="0" marT="0" marB="144000"/>
                </a:tc>
                <a:extLst>
                  <a:ext uri="{0D108BD9-81ED-4DB2-BD59-A6C34878D82A}">
                    <a16:rowId xmlns:a16="http://schemas.microsoft.com/office/drawing/2014/main" val="795637219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142286793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DE3C93C-FAE8-4866-9F15-27211FB9387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Folie" r:id="rId46" imgW="359" imgH="358" progId="TCLayout.ActiveDocument.1">
                  <p:embed/>
                </p:oleObj>
              </mc:Choice>
              <mc:Fallback>
                <p:oleObj name="think-cell Folie" r:id="rId4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DE3C93C-FAE8-4866-9F15-27211FB9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64D58625-2C1A-4D14-9D5A-D27A6DFE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long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5" name="Date Placeholder 3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6" name="Footer Placeholder 3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1FB107-87BC-4B89-9ABB-C423A2A0729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50863" y="1700213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7A9EE7B7-82B9-4BFB-A4D5-C3BF98B8783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39416" y="1700213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 of Chapter One lorem ipsum dolor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6EF4958-2AF2-4ED6-9DC2-5F911D38D02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39416" y="2096257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.1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1C846A06-E55D-43C4-9C18-8CF6D9BACDF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71985" y="2096257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Name of Chapter One lorem ipsum dolor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F1B1DC-FAE7-49CA-A3CF-8E2059DC930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168008" y="1700213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F41E431-94DD-4E2B-B7DB-35A46BDC12C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004212" y="1700213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7A78D5B8-4512-4D48-BF88-465FE1F4E5B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100555" y="1700213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104A46D1-43FC-47E1-B37E-37A789AF55B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168008" y="2096257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1F2FE3D-E09F-4527-93CC-195FEC4BCF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8004212" y="2096257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9A846F5-AB7A-42BA-82FC-6AA67C4F842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1100555" y="2096257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E1F5E0A4-5A4B-4F5A-B572-A8BF9009792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50863" y="2672916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8F4D0F2-2F28-494C-BFAA-C3AA31613FF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39416" y="2672916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 of Chapter One lorem ipsum dolor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F1B289C-B879-4561-BDBF-07212FD6FAF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39416" y="3068960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.1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FFF3E9E8-08A7-43EE-9D35-8729EA3E4EC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271985" y="3068960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Name of Chapter One lorem ipsum dolor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92346AAD-EE71-459E-9591-987B29C475A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168008" y="2672916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F17ABAE-0B9D-438B-BFD1-C460E9D7CB4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8004212" y="2672916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1120DFCD-F1A0-4553-82B7-86348D1CCFE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100555" y="2672916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BD148B6-6D74-4093-BDBA-473A64CE0A2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6168008" y="3068960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B57822B-7285-431F-AB56-F4D7E04054D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8004212" y="3068960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3780F70-6429-4B23-990B-2F6DDB2EFB4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100555" y="3068960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D1242A75-D135-410B-B595-43848EE8A76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550863" y="3681028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BAE2B3D2-0184-4E24-B972-E1D9F9CECFC1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839416" y="3681028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 of Chapter One lorem ipsum dolor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FE14BA13-EFB8-406D-931F-D8CE3C8A789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839416" y="4077072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3.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18BFB159-DF31-477F-9053-E2AEC6C4279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271985" y="4077072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Name of Chapter One lorem ipsum dolor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2297E1F4-7C6B-48EE-A543-6BFA9034AC7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6168008" y="3681028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3992C76-337E-4425-A808-6B9CDFDA070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8004212" y="3681028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BA34F7A-7F8F-4149-9540-1284F11080F2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1100555" y="3681028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AEC23B7-13BF-4A9D-8735-7F390D994D7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168008" y="4077072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287C67B-4850-4960-A9DC-2214F7D88E5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004212" y="4077072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299B188-5A0B-4075-A9B8-B48DA383BB2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11100555" y="4077072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856009CB-7212-4DA0-BDF6-327BB817CD2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50863" y="4689140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4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F0B0CAD8-2682-45D4-9358-D66BF031AD6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39416" y="4689140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 of Chapter One lorem ipsum dolor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51CDD04C-314D-4716-AFC4-B86AC8131FE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39416" y="5085184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4.1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F97CDED-00A8-46EA-9D0C-EEB921B52D1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271985" y="5085184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Name of Chapter One lorem ipsum dolor</a:t>
            </a: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2D3D5BFF-41A0-44CA-B02B-2E92B031985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168008" y="4689140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6221B4C4-89F9-40D1-9174-CC257380110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8004212" y="4689140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4F875A3-859B-4994-A9AB-69B57EF001D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11100555" y="4689140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7B208D99-445E-4D97-8947-0BC4C5F9A69D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6168008" y="5085184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Time</a:t>
            </a:r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536BF7F4-6B27-4B42-A13A-9409C9A7331D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004212" y="5085184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Name</a:t>
            </a: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CAF2E668-A0DC-4562-B4F9-76A5CF47101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1100555" y="5085184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/>
              <a:t>Pag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4047443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BC6B808-2E84-4703-AF2B-F389D159C1D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Folie" r:id="rId46" imgW="359" imgH="358" progId="TCLayout.ActiveDocument.1">
                  <p:embed/>
                </p:oleObj>
              </mc:Choice>
              <mc:Fallback>
                <p:oleObj name="think-cell Folie" r:id="rId4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BC6B808-2E84-4703-AF2B-F389D159C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64D58625-2C1A-4D14-9D5A-D27A6DFE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long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5" name="Date Placeholder 3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6" name="Footer Placeholder 3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1FB107-87BC-4B89-9ABB-C423A2A0729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50863" y="1700213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7A9EE7B7-82B9-4BFB-A4D5-C3BF98B8783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39416" y="1700213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of Chapter One lorem ipsum dolor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6EF4958-2AF2-4ED6-9DC2-5F911D38D02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39416" y="2096257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1.1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1C846A06-E55D-43C4-9C18-8CF6D9BACDF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271985" y="2096257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F1B1DC-FAE7-49CA-A3CF-8E2059DC930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168008" y="1700213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im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F41E431-94DD-4E2B-B7DB-35A46BDC12C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004212" y="1700213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7A78D5B8-4512-4D48-BF88-465FE1F4E5B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1100555" y="1700213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Page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104A46D1-43FC-47E1-B37E-37A789AF55B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168008" y="2096257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1F2FE3D-E09F-4527-93CC-195FEC4BCF6A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8004212" y="2096257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9A846F5-AB7A-42BA-82FC-6AA67C4F842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1100555" y="2096257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E1F5E0A4-5A4B-4F5A-B572-A8BF9009792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50863" y="2672916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8F4D0F2-2F28-494C-BFAA-C3AA31613FF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39416" y="2672916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F1B289C-B879-4561-BDBF-07212FD6FAF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39416" y="3068960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2.1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FFF3E9E8-08A7-43EE-9D35-8729EA3E4EC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271985" y="3068960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92346AAD-EE71-459E-9591-987B29C475A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168008" y="2672916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F17ABAE-0B9D-438B-BFD1-C460E9D7CB4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8004212" y="2672916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1120DFCD-F1A0-4553-82B7-86348D1CCFE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100555" y="2672916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BD148B6-6D74-4093-BDBA-473A64CE0A2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6168008" y="3068960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B57822B-7285-431F-AB56-F4D7E04054D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8004212" y="3068960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3780F70-6429-4B23-990B-2F6DDB2EFB49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100555" y="3068960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D1242A75-D135-410B-B595-43848EE8A76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550863" y="3681028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BAE2B3D2-0184-4E24-B972-E1D9F9CECFC1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839416" y="3681028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FE14BA13-EFB8-406D-931F-D8CE3C8A7892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839416" y="4077072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3.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18BFB159-DF31-477F-9053-E2AEC6C4279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271985" y="4077072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2297E1F4-7C6B-48EE-A543-6BFA9034AC7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6168008" y="3681028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3992C76-337E-4425-A808-6B9CDFDA0709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8004212" y="3681028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BA34F7A-7F8F-4149-9540-1284F11080F2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1100555" y="3681028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AEC23B7-13BF-4A9D-8735-7F390D994D7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168008" y="4077072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287C67B-4850-4960-A9DC-2214F7D88E56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8004212" y="4077072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299B188-5A0B-4075-A9B8-B48DA383BB2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11100555" y="4077072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856009CB-7212-4DA0-BDF6-327BB817CD2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50863" y="4689140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F0B0CAD8-2682-45D4-9358-D66BF031AD6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839416" y="4689140"/>
            <a:ext cx="5256584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51CDD04C-314D-4716-AFC4-B86AC8131FE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39416" y="5085184"/>
            <a:ext cx="432569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4.1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F97CDED-00A8-46EA-9D0C-EEB921B52D1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271985" y="5085184"/>
            <a:ext cx="482401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accent3"/>
                </a:solidFill>
              </a:rPr>
              <a:t>Name of Chapter One lorem ipsum dolor</a:t>
            </a: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2D3D5BFF-41A0-44CA-B02B-2E92B0319854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168008" y="4689140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6221B4C4-89F9-40D1-9174-CC257380110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8004212" y="4689140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4F875A3-859B-4994-A9AB-69B57EF001D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11100555" y="4689140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7B208D99-445E-4D97-8947-0BC4C5F9A69D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6168008" y="5085184"/>
            <a:ext cx="176419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Time</a:t>
            </a:r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536BF7F4-6B27-4B42-A13A-9409C9A7331D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004212" y="5085184"/>
            <a:ext cx="3024336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accent3"/>
                </a:solidFill>
              </a:rPr>
              <a:t>Name</a:t>
            </a: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CAF2E668-A0DC-4562-B4F9-76A5CF47101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1100555" y="5085184"/>
            <a:ext cx="612175" cy="360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 dirty="0">
                <a:solidFill>
                  <a:schemeClr val="accent3"/>
                </a:solidFill>
              </a:rPr>
              <a:t>Pag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3372816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B1D85E2-FA5E-4751-95C0-B78599AD987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B1D85E2-FA5E-4751-95C0-B78599AD9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is the title of the presentation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29994420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835C584-98A2-4DBF-9F9B-8BB6BF49AF0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Folie" r:id="rId7" imgW="359" imgH="358" progId="TCLayout.ActiveDocument.1">
                  <p:embed/>
                </p:oleObj>
              </mc:Choice>
              <mc:Fallback>
                <p:oleObj name="think-cell Folie" r:id="rId7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835C584-98A2-4DBF-9F9B-8BB6BF49A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64D58625-2C1A-4D14-9D5A-D27A6DFE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shor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0</a:t>
            </a:fld>
            <a:endParaRPr lang="en-US" dirty="0"/>
          </a:p>
        </p:txBody>
      </p:sp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E0FDB3B3-1975-4BCA-90E2-5F83A4D5D8A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24791995"/>
              </p:ext>
            </p:extLst>
          </p:nvPr>
        </p:nvGraphicFramePr>
        <p:xfrm>
          <a:off x="550863" y="1700211"/>
          <a:ext cx="11161710" cy="421497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60285">
                  <a:extLst>
                    <a:ext uri="{9D8B030D-6E8A-4147-A177-3AD203B41FA5}">
                      <a16:colId xmlns:a16="http://schemas.microsoft.com/office/drawing/2014/main" val="3120136826"/>
                    </a:ext>
                  </a:extLst>
                </a:gridCol>
                <a:gridCol w="1860285">
                  <a:extLst>
                    <a:ext uri="{9D8B030D-6E8A-4147-A177-3AD203B41FA5}">
                      <a16:colId xmlns:a16="http://schemas.microsoft.com/office/drawing/2014/main" val="1325069351"/>
                    </a:ext>
                  </a:extLst>
                </a:gridCol>
                <a:gridCol w="1860285">
                  <a:extLst>
                    <a:ext uri="{9D8B030D-6E8A-4147-A177-3AD203B41FA5}">
                      <a16:colId xmlns:a16="http://schemas.microsoft.com/office/drawing/2014/main" val="742176563"/>
                    </a:ext>
                  </a:extLst>
                </a:gridCol>
                <a:gridCol w="1860285">
                  <a:extLst>
                    <a:ext uri="{9D8B030D-6E8A-4147-A177-3AD203B41FA5}">
                      <a16:colId xmlns:a16="http://schemas.microsoft.com/office/drawing/2014/main" val="2044192875"/>
                    </a:ext>
                  </a:extLst>
                </a:gridCol>
                <a:gridCol w="1860285">
                  <a:extLst>
                    <a:ext uri="{9D8B030D-6E8A-4147-A177-3AD203B41FA5}">
                      <a16:colId xmlns:a16="http://schemas.microsoft.com/office/drawing/2014/main" val="4245131926"/>
                    </a:ext>
                  </a:extLst>
                </a:gridCol>
                <a:gridCol w="1860285">
                  <a:extLst>
                    <a:ext uri="{9D8B030D-6E8A-4147-A177-3AD203B41FA5}">
                      <a16:colId xmlns:a16="http://schemas.microsoft.com/office/drawing/2014/main" val="2749588206"/>
                    </a:ext>
                  </a:extLst>
                </a:gridCol>
              </a:tblGrid>
              <a:tr h="2137052">
                <a:tc>
                  <a:txBody>
                    <a:bodyPr/>
                    <a:lstStyle/>
                    <a:p>
                      <a:pPr marL="0" lvl="0" indent="0"/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4" indent="0">
                        <a:buFontTx/>
                        <a:buNone/>
                      </a:pPr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4" indent="0">
                        <a:buFontTx/>
                        <a:buNone/>
                      </a:pPr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4" indent="0">
                        <a:buFontTx/>
                        <a:buNone/>
                      </a:pPr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4" indent="0">
                        <a:buFontTx/>
                        <a:buNone/>
                      </a:pPr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4" indent="0">
                        <a:buFontTx/>
                        <a:buNone/>
                      </a:pPr>
                      <a:endParaRPr lang="en-US" sz="8000" b="1" dirty="0">
                        <a:solidFill>
                          <a:schemeClr val="tx1"/>
                        </a:solidFill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875068"/>
                  </a:ext>
                </a:extLst>
              </a:tr>
              <a:tr h="1012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Chapter One lorem ipsum dolor sit 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met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16000" marR="216000" marT="0" marB="432000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lorem ipsum dolor sit 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met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Name of Chapter Two lorem ipsum dolor sit amet</a:t>
                      </a: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lorem ipsum dolor sit 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met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Name of Chapter Three lorem ipsum dolor</a:t>
                      </a: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ame of Subchapter lorem ipsum dolor sit 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met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16000" marR="216000" marT="0" marB="432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07165"/>
                  </a:ext>
                </a:extLst>
              </a:tr>
            </a:tbl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C90357CE-2ABA-4A58-B5CF-018555B2481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359696" y="1916832"/>
            <a:ext cx="642995" cy="720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428AAF6-5DF2-48ED-98AF-6C5BB3042F36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40516" y="1916912"/>
            <a:ext cx="779532" cy="720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1174CA12-0995-483C-9960-6F9E84C2582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32104" y="1916912"/>
            <a:ext cx="682198" cy="720000"/>
          </a:xfrm>
          <a:prstGeom prst="rect">
            <a:avLst/>
          </a:prstGeom>
        </p:spPr>
      </p:pic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CAA92D4E-664E-4D3F-AB86-8C59A386D78F}"/>
              </a:ext>
            </a:extLst>
          </p:cNvPr>
          <p:cNvSpPr txBox="1">
            <a:spLocks/>
          </p:cNvSpPr>
          <p:nvPr/>
        </p:nvSpPr>
        <p:spPr bwMode="gray">
          <a:xfrm>
            <a:off x="767528" y="2744924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1</a:t>
            </a:r>
          </a:p>
        </p:txBody>
      </p: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C3E172B5-2ABE-4A7E-ABBB-0DCB3B246E7B}"/>
              </a:ext>
            </a:extLst>
          </p:cNvPr>
          <p:cNvSpPr txBox="1">
            <a:spLocks/>
          </p:cNvSpPr>
          <p:nvPr/>
        </p:nvSpPr>
        <p:spPr bwMode="gray">
          <a:xfrm>
            <a:off x="4475940" y="2744924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2</a:t>
            </a:r>
          </a:p>
        </p:txBody>
      </p:sp>
      <p:sp>
        <p:nvSpPr>
          <p:cNvPr id="29" name="Inhaltsplatzhalter 6">
            <a:extLst>
              <a:ext uri="{FF2B5EF4-FFF2-40B4-BE49-F238E27FC236}">
                <a16:creationId xmlns:a16="http://schemas.microsoft.com/office/drawing/2014/main" id="{3C718BEB-F8BA-49E6-8845-A8B07B6D47AF}"/>
              </a:ext>
            </a:extLst>
          </p:cNvPr>
          <p:cNvSpPr txBox="1">
            <a:spLocks/>
          </p:cNvSpPr>
          <p:nvPr/>
        </p:nvSpPr>
        <p:spPr bwMode="gray">
          <a:xfrm>
            <a:off x="8220356" y="2744924"/>
            <a:ext cx="1080000" cy="1008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28632947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AE5F419-340D-47A8-ABFD-D6BE79AC363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AE5F419-340D-47A8-ABFD-D6BE79AC3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53A1B79-306C-4417-842F-5C71BFA4C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</a:t>
            </a:r>
            <a:br>
              <a:rPr lang="en-US" dirty="0" smtClean="0"/>
            </a:br>
            <a:r>
              <a:rPr lang="en-US" dirty="0" smtClean="0"/>
              <a:t>Maximum two lines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9422963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3F4C820-98FF-4049-82D3-50ABE2C5138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3F4C820-98FF-4049-82D3-50ABE2C51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53A1B79-306C-4417-842F-5C71BFA4C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, one lin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65077669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62ED23-5AAC-41C1-B2E9-259C96435D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62ED23-5AAC-41C1-B2E9-259C96435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platzhalter 8" descr="Ein Bild, das draußen, Gebäude, Wasser, Boot enthält.&#10;&#10;Automatisch generierte Beschreibung">
            <a:extLst>
              <a:ext uri="{FF2B5EF4-FFF2-40B4-BE49-F238E27FC236}">
                <a16:creationId xmlns:a16="http://schemas.microsoft.com/office/drawing/2014/main" id="{BDC00BE1-B802-4B44-83BF-97D8F16B71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606B9B4-B8AB-495B-BB73-3197F5BAA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</a:t>
            </a:r>
            <a:br>
              <a:rPr lang="en-US" dirty="0" smtClean="0"/>
            </a:br>
            <a:r>
              <a:rPr lang="en-US" dirty="0" smtClean="0"/>
              <a:t>Maximum two lines</a:t>
            </a:r>
            <a:endParaRPr lang="en-US" dirty="0"/>
          </a:p>
        </p:txBody>
      </p:sp>
      <p:sp>
        <p:nvSpPr>
          <p:cNvPr id="12" name="Media Placeholder 11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82757397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5104C3E-D5A3-473E-B1AE-8F3CDED717F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5104C3E-D5A3-473E-B1AE-8F3CDED71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Transport, Kran, Licht, Wasser enthält.&#10;&#10;Automatisch generierte Beschreibung">
            <a:extLst>
              <a:ext uri="{FF2B5EF4-FFF2-40B4-BE49-F238E27FC236}">
                <a16:creationId xmlns:a16="http://schemas.microsoft.com/office/drawing/2014/main" id="{23984F38-A959-4F47-BD4C-2CDC7CA9EE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ED58F9C4-745C-4756-B375-7AB8FC12B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</a:t>
            </a:r>
            <a:br>
              <a:rPr lang="en-US" dirty="0" smtClean="0"/>
            </a:br>
            <a:r>
              <a:rPr lang="en-US" dirty="0" smtClean="0"/>
              <a:t>Maximum two lines</a:t>
            </a:r>
            <a:endParaRPr lang="en-US" dirty="0"/>
          </a:p>
        </p:txBody>
      </p:sp>
      <p:sp>
        <p:nvSpPr>
          <p:cNvPr id="12" name="Media Placeholder 11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546575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FD6C7952-FD7E-4786-8ED5-314CB7A1B7D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FD6C7952-FD7E-4786-8ED5-314CB7A1B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431B514-30D8-4149-B9BB-755AE8DEE2C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</a:t>
            </a:r>
          </a:p>
          <a:p>
            <a:pPr lvl="1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r>
              <a:rPr lang="en-US" dirty="0" smtClean="0"/>
              <a:t>. </a:t>
            </a:r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facilisi</a:t>
            </a:r>
            <a:r>
              <a:rPr lang="en-US" dirty="0" smtClean="0"/>
              <a:t>.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esther</a:t>
            </a:r>
            <a:r>
              <a:rPr lang="en-US" dirty="0" smtClean="0"/>
              <a:t> bene vitae.</a:t>
            </a:r>
          </a:p>
          <a:p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1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r>
              <a:rPr lang="en-US" dirty="0" smtClean="0"/>
              <a:t>. </a:t>
            </a:r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facilisi</a:t>
            </a:r>
            <a:r>
              <a:rPr lang="en-US" dirty="0" smtClean="0"/>
              <a:t>.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esther</a:t>
            </a:r>
            <a:r>
              <a:rPr lang="en-US" dirty="0" smtClean="0"/>
              <a:t> bene vitae. </a:t>
            </a:r>
          </a:p>
          <a:p>
            <a:pPr lvl="2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 smtClean="0"/>
          </a:p>
          <a:p>
            <a:pPr lvl="2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tinc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oreet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</a:p>
          <a:p>
            <a:pPr lvl="3"/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</a:p>
          <a:p>
            <a:pPr lvl="3"/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</a:t>
            </a:r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2709BA3-F151-44A9-82B1-9E7CC2A638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en-US" dirty="0" smtClean="0"/>
              <a:t>Optional action line / navigation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889860-E9C5-4C36-AF3A-726A14DFAB2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9F98585-12BE-4616-9A55-E082A9AB9D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8287F0-1F5F-4B0C-96F5-7C928178C64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5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6718552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079A22C6-F623-4E24-A80A-A3730388F5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079A22C6-F623-4E24-A80A-A3730388F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431B514-30D8-4149-B9BB-755AE8DEE2C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3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facilisi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523E3D5D-5A1B-41DC-8149-20E0B8B42936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3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facilisi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9E476EC-AAD5-4148-92F2-0CA91A51AEA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8C8291-8695-4705-9F5B-0C9EB19C9C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7EA1626-81EE-4793-87DC-27969FF71C8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6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91994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894E6076-5F59-4F90-8F81-570BFC72896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894E6076-5F59-4F90-8F81-570BFC728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431B514-30D8-4149-B9BB-755AE8DEE2C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523E3D5D-5A1B-41DC-8149-20E0B8B42936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</a:t>
            </a:r>
            <a:endParaRPr lang="en-US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C81D15F-6D7A-4300-9D4F-A7233438C374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7FE1F48-D08E-406A-9605-24A57243583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5A7CB73-B954-476B-BAD3-6F9393E4D9A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A117AB9-6549-499E-9707-A649F0F0F0A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7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86976860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AAF668-BD2C-4F99-8438-D62C7128F0D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AAF668-BD2C-4F99-8438-D62C7128F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01D6D1D5-0C8D-4FAC-9908-9E2979BC801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" b="51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024F346-19E9-49E3-991B-9B763F09C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81391DE4-AC25-4A3F-A7D2-5858F3F0CCD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piscing</a:t>
            </a:r>
            <a:r>
              <a:rPr lang="en-US" dirty="0" smtClean="0"/>
              <a:t> 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</a:p>
          <a:p>
            <a:pPr lvl="3"/>
            <a:r>
              <a:rPr lang="en-US" dirty="0" smtClean="0"/>
              <a:t>Lorem ipsum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04800436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2024F6-618E-487C-8744-300567CE12C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2024F6-618E-487C-8744-300567CE1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Bildplatzhalter 16">
            <a:extLst>
              <a:ext uri="{FF2B5EF4-FFF2-40B4-BE49-F238E27FC236}">
                <a16:creationId xmlns:a16="http://schemas.microsoft.com/office/drawing/2014/main" id="{6955F8A9-1D2B-45ED-B01B-149932CBF85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" b="51"/>
          <a:stretch/>
        </p:blipFill>
        <p:spPr/>
      </p:pic>
      <p:pic>
        <p:nvPicPr>
          <p:cNvPr id="15" name="Bildplatzhalter 14" descr="Ein Bild, das draußen, Auto, Gras, viele enthält.&#10;&#10;Automatisch generierte Beschreibung">
            <a:extLst>
              <a:ext uri="{FF2B5EF4-FFF2-40B4-BE49-F238E27FC236}">
                <a16:creationId xmlns:a16="http://schemas.microsoft.com/office/drawing/2014/main" id="{D20D513B-4E1C-4E9D-820B-768B57AA8FD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5" r="1495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1ECDB6C5-8E8E-4E8F-AE16-839AD8547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9C064322-C6BD-490C-96D4-8CB979C1CBF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piscing</a:t>
            </a:r>
            <a:r>
              <a:rPr lang="en-US" dirty="0" smtClean="0"/>
              <a:t> 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</a:p>
          <a:p>
            <a:pPr lvl="3"/>
            <a:r>
              <a:rPr lang="en-US" dirty="0" smtClean="0"/>
              <a:t>Lorem ipsum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730344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F66B1E7-C9BE-4B82-9FB9-A8CAA3648C9E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F66B1E7-C9BE-4B82-9FB9-A8CAA364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98960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8B448C-F3DC-4787-B97A-A1A44DF5861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98B448C-F3DC-4787-B97A-A1A44DF58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platzhalter 4" descr="Ein Bild, das Himmel, draußen, Boden, Transport enthält.&#10;&#10;Automatisch generierte Beschreibung">
            <a:extLst>
              <a:ext uri="{FF2B5EF4-FFF2-40B4-BE49-F238E27FC236}">
                <a16:creationId xmlns:a16="http://schemas.microsoft.com/office/drawing/2014/main" id="{1C933C5B-4F80-4E51-A9F9-1BFB5F7CA4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" b="24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1E47F116-8627-441E-924B-6DD5A08DE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ebherr Head Black 28pt </a:t>
            </a:r>
            <a:endParaRPr lang="en-US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A15FE98-FD03-49CC-B283-C288C4CDC87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endParaRPr lang="en-US" dirty="0" smtClean="0"/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</a:p>
          <a:p>
            <a:pPr lvl="2"/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87284238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BC0321-FC80-4C06-9108-7FF4E9E8CFD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BC0321-FC80-4C06-9108-7FF4E9E8C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platzhalter 6" descr="Ein Bild, das Himmel, draußen, Boden, Transport enthält.&#10;&#10;Automatisch generierte Beschreibung">
            <a:extLst>
              <a:ext uri="{FF2B5EF4-FFF2-40B4-BE49-F238E27FC236}">
                <a16:creationId xmlns:a16="http://schemas.microsoft.com/office/drawing/2014/main" id="{D52E4AC0-33CB-45F0-9371-1F841C318BE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" b="29"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B5DA5C6-AFB7-4BEB-9162-28085FDB9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ebherr Head Black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37C3BB-E4F1-45C9-BC95-A2ADA259DEA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 smtClean="0"/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liquip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906986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F0686F1-F6EE-4E46-ACA5-1C557814609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F0686F1-F6EE-4E46-ACA5-1C55781460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01D6D1D5-0C8D-4FAC-9908-9E2979BC801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" r="503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024F346-19E9-49E3-991B-9B763F09C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81391DE4-AC25-4A3F-A7D2-5858F3F0CCD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Media Placeholder 16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4263EC-43AD-4D77-A11F-54BD2B80B94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A6C87A-D89B-4158-96C8-25D359C528E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A17BF9-BA00-46DE-BB32-DB7297C88A8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32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47037518"/>
      </p:ext>
    </p:extLst>
  </p:cSld>
  <p:clrMapOvr>
    <a:masterClrMapping/>
  </p:clrMapOvr>
  <p:transition spd="slow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B6EA6A8-C867-408C-B0A5-75918DFA56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B6EA6A8-C867-408C-B0A5-75918DFA5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Bildplatzhalter 16">
            <a:extLst>
              <a:ext uri="{FF2B5EF4-FFF2-40B4-BE49-F238E27FC236}">
                <a16:creationId xmlns:a16="http://schemas.microsoft.com/office/drawing/2014/main" id="{6955F8A9-1D2B-45ED-B01B-149932CBF85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" r="720"/>
          <a:stretch/>
        </p:blipFill>
        <p:spPr/>
      </p:pic>
      <p:pic>
        <p:nvPicPr>
          <p:cNvPr id="15" name="Bildplatzhalter 14" descr="Ein Bild, das draußen, Auto, Gras, viele enthält.&#10;&#10;Automatisch generierte Beschreibung">
            <a:extLst>
              <a:ext uri="{FF2B5EF4-FFF2-40B4-BE49-F238E27FC236}">
                <a16:creationId xmlns:a16="http://schemas.microsoft.com/office/drawing/2014/main" id="{D20D513B-4E1C-4E9D-820B-768B57AA8FD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" r="1501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1ECDB6C5-8E8E-4E8F-AE16-839AD8547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9C064322-C6BD-490C-96D4-8CB979C1CBF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endParaRPr lang="en-US" dirty="0" smtClean="0"/>
          </a:p>
          <a:p>
            <a:pPr lvl="3"/>
            <a:r>
              <a:rPr lang="en-US" dirty="0" err="1" smtClean="0"/>
              <a:t>Blandit</a:t>
            </a:r>
            <a:r>
              <a:rPr lang="en-US" dirty="0" smtClean="0"/>
              <a:t> </a:t>
            </a:r>
            <a:r>
              <a:rPr lang="en-US" dirty="0" err="1" smtClean="0"/>
              <a:t>praesent</a:t>
            </a:r>
            <a:r>
              <a:rPr lang="en-US" dirty="0" smtClean="0"/>
              <a:t> </a:t>
            </a:r>
            <a:r>
              <a:rPr lang="en-US" dirty="0" err="1" smtClean="0"/>
              <a:t>luptatum</a:t>
            </a:r>
            <a:r>
              <a:rPr lang="en-US" dirty="0" smtClean="0"/>
              <a:t> </a:t>
            </a:r>
            <a:r>
              <a:rPr lang="en-US" dirty="0" err="1" smtClean="0"/>
              <a:t>zzril</a:t>
            </a:r>
            <a:r>
              <a:rPr lang="en-US" dirty="0" smtClean="0"/>
              <a:t> </a:t>
            </a:r>
            <a:r>
              <a:rPr lang="en-US" dirty="0" err="1" smtClean="0"/>
              <a:t>delenit</a:t>
            </a:r>
            <a:r>
              <a:rPr lang="en-US" dirty="0" smtClean="0"/>
              <a:t> </a:t>
            </a:r>
            <a:r>
              <a:rPr lang="en-US" dirty="0" err="1" smtClean="0"/>
              <a:t>augue</a:t>
            </a:r>
            <a:r>
              <a:rPr lang="en-US" dirty="0" smtClean="0"/>
              <a:t> </a:t>
            </a:r>
            <a:r>
              <a:rPr lang="en-US" dirty="0" err="1" smtClean="0"/>
              <a:t>dui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Media Placeholder 19"/>
          <p:cNvSpPr>
            <a:spLocks noGrp="1"/>
          </p:cNvSpPr>
          <p:nvPr>
            <p:ph type="media" sz="quarter" idx="20"/>
          </p:nvPr>
        </p:nvSpPr>
        <p:spPr/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8F78B9-E40D-45D1-8C1E-11BE7D2E8C0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DA31AB1-F3C6-4498-BEFF-2A8D8A5596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F77466-3F2D-4616-B049-B675BFF9BA8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33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9685909"/>
      </p:ext>
    </p:extLst>
  </p:cSld>
  <p:clrMapOvr>
    <a:masterClrMapping/>
  </p:clrMapOvr>
  <p:transition spd="slow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202FCB-81C2-4EBD-8A17-CB33264639D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202FCB-81C2-4EBD-8A17-CB3326463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D32CD64B-5F85-4446-B9FE-F50B84ED2E4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" r="610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1E47F116-8627-441E-924B-6DD5A08DE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ebherr Head Black 28pt </a:t>
            </a:r>
            <a:endParaRPr lang="en-US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A15FE98-FD03-49CC-B283-C288C4CDC87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 </a:t>
            </a:r>
            <a:r>
              <a:rPr lang="en-US" dirty="0" err="1" smtClean="0"/>
              <a:t>ullamcorper</a:t>
            </a:r>
            <a:endParaRPr lang="en-US" dirty="0" smtClean="0"/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Media Placeholder 17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2E6E34-1699-48B1-B31A-3310CF28879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72716-1E2F-4B1A-98AE-61A1C6FF707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4A8CEF5-5A0D-4224-AA7F-3853A9F2D35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34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203654"/>
      </p:ext>
    </p:extLst>
  </p:cSld>
  <p:clrMapOvr>
    <a:masterClrMapping/>
  </p:clrMapOvr>
  <p:transition spd="slow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9C6E896-1070-4B9F-9718-084BA80C1DC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9C6E896-1070-4B9F-9718-084BA80C1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E47478C8-57FC-449A-810D-50CCC64E3DC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" r="447"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B5DA5C6-AFB7-4BEB-9162-28085FDB9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ebherr Head Black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37C3BB-E4F1-45C9-BC95-A2ADA259DEA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 smtClean="0"/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liquip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Media Placeholder 17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C90F0-4070-4179-986B-EB4DBCC25E0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D6C942B-8CDF-4951-89A1-DBD04A61082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76C8DEC-8486-4DA6-9DE6-68E74652CC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35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287369"/>
      </p:ext>
    </p:extLst>
  </p:cSld>
  <p:clrMapOvr>
    <a:masterClrMapping/>
  </p:clrMapOvr>
  <p:transition spd="slow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14FE28FC-C0DF-4C6E-9172-1CC3D327E64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B830D3B0-4E95-4631-8E9D-F10FCA70D0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9463" y="1700212"/>
            <a:ext cx="3313112" cy="3537031"/>
          </a:xfrm>
        </p:spPr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om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1"/>
    </p:custDataLst>
    <p:extLst>
      <p:ext uri="{BB962C8B-B14F-4D97-AF65-F5344CB8AC3E}">
        <p14:creationId xmlns:p14="http://schemas.microsoft.com/office/powerpoint/2010/main" val="2632843748"/>
      </p:ext>
    </p:extLst>
  </p:cSld>
  <p:clrMapOvr>
    <a:masterClrMapping/>
  </p:clrMapOvr>
  <p:transition spd="slow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13" descr="Ein Bild, das draußen, Gebäude, Zug, Spur enthält.&#10;&#10;Automatisch generierte Beschreibung">
            <a:extLst>
              <a:ext uri="{FF2B5EF4-FFF2-40B4-BE49-F238E27FC236}">
                <a16:creationId xmlns:a16="http://schemas.microsoft.com/office/drawing/2014/main" id="{14FE28FC-C0DF-4C6E-9172-1CC3D327E64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B830D3B0-4E95-4631-8E9D-F10FCA70D0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9463" y="1700213"/>
            <a:ext cx="3313112" cy="3537031"/>
          </a:xfrm>
        </p:spPr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endParaRPr lang="en-US" dirty="0" smtClean="0"/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oum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tation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1"/>
    </p:custDataLst>
    <p:extLst>
      <p:ext uri="{BB962C8B-B14F-4D97-AF65-F5344CB8AC3E}">
        <p14:creationId xmlns:p14="http://schemas.microsoft.com/office/powerpoint/2010/main" val="1901965192"/>
      </p:ext>
    </p:extLst>
  </p:cSld>
  <p:clrMapOvr>
    <a:masterClrMapping/>
  </p:clrMapOvr>
  <p:transition spd="slow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20"/>
          </p:nvPr>
        </p:nvSpPr>
        <p:spPr/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1"/>
    </p:custDataLst>
    <p:extLst>
      <p:ext uri="{BB962C8B-B14F-4D97-AF65-F5344CB8AC3E}">
        <p14:creationId xmlns:p14="http://schemas.microsoft.com/office/powerpoint/2010/main" val="811842638"/>
      </p:ext>
    </p:extLst>
  </p:cSld>
  <p:clrMapOvr>
    <a:masterClrMapping/>
  </p:clrMapOvr>
  <p:transition spd="slow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20"/>
          </p:nvPr>
        </p:nvSpPr>
        <p:spPr/>
      </p:sp>
      <p:sp>
        <p:nvSpPr>
          <p:cNvPr id="6" name="Media Placeholder 5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1"/>
    </p:custDataLst>
    <p:extLst>
      <p:ext uri="{BB962C8B-B14F-4D97-AF65-F5344CB8AC3E}">
        <p14:creationId xmlns:p14="http://schemas.microsoft.com/office/powerpoint/2010/main" val="1639833659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AAEB73-2022-43CD-823A-DDA89C71CE1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AAEB73-2022-43CD-823A-DDA89C71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-line titl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0835730"/>
      </p:ext>
    </p:extLst>
  </p:cSld>
  <p:clrMapOvr>
    <a:masterClrMapping/>
  </p:clrMapOvr>
  <p:transition spd="slow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C8F7FEB-5640-43E4-B163-276AB6BEA6E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C8F7FEB-5640-43E4-B163-276AB6BEA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53A1B79-306C-4417-842F-5C71BFA4C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 (on </a:t>
            </a:r>
            <a:r>
              <a:rPr lang="en-US" dirty="0" err="1" smtClean="0"/>
              <a:t>colour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in two lines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61633701"/>
      </p:ext>
    </p:extLst>
  </p:cSld>
  <p:clrMapOvr>
    <a:masterClrMapping/>
  </p:clrMapOvr>
  <p:transition spd="slow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6530172-90BE-4135-8BD5-6FCB1C2C05D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6530172-90BE-4135-8BD5-6FCB1C2C0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53A1B79-306C-4417-842F-5C71BFA4C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00</a:t>
            </a:r>
            <a:br>
              <a:rPr lang="en-US" dirty="0" smtClean="0"/>
            </a:br>
            <a:r>
              <a:rPr lang="en-US" dirty="0" smtClean="0"/>
              <a:t>Name of chapter, one lin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67627073"/>
      </p:ext>
    </p:extLst>
  </p:cSld>
  <p:clrMapOvr>
    <a:masterClrMapping/>
  </p:clrMapOvr>
  <p:transition spd="slow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E52FF15-E53A-4A52-A973-0805A5F6850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E52FF15-E53A-4A52-A973-0805A5F68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BC3BFF-0E4B-4167-BF45-7862D3394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, on </a:t>
            </a:r>
            <a:r>
              <a:rPr lang="en-US" dirty="0" err="1" smtClean="0"/>
              <a:t>colour</a:t>
            </a:r>
            <a:r>
              <a:rPr lang="en-US" dirty="0" smtClean="0"/>
              <a:t> with H2 bar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988699-5F8A-4290-B778-50D9A1720E8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1673085-3F02-4FB6-A7DA-FA96A473A5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4F0CE7-B512-4EA6-8C48-57BC5B8AD9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2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0832154"/>
      </p:ext>
    </p:extLst>
  </p:cSld>
  <p:clrMapOvr>
    <a:masterClrMapping/>
  </p:clrMapOvr>
  <p:transition spd="slow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963EE7B-4237-42B9-9319-C7C76E4BD2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963EE7B-4237-42B9-9319-C7C76E4BD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BC3BFF-0E4B-4167-BF45-7862D3394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, on </a:t>
            </a:r>
            <a:r>
              <a:rPr lang="en-US" dirty="0" err="1" smtClean="0"/>
              <a:t>colour</a:t>
            </a:r>
            <a:r>
              <a:rPr lang="en-US" dirty="0" smtClean="0"/>
              <a:t> without H2 bar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8DD644-A546-4E25-AE61-9BAF8429D01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8F6F836-FEA5-4CE3-93D1-1CC691649D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DFACB2B-07BC-46A7-85ED-6F823B6EF2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3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07144410"/>
      </p:ext>
    </p:extLst>
  </p:cSld>
  <p:clrMapOvr>
    <a:masterClrMapping/>
  </p:clrMapOvr>
  <p:transition spd="slow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F14211-90B2-4A89-A196-161C846AE44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F1875B-6864-4A9D-8EB1-40CCA80664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F617D9-1AAE-4660-87DB-8227A0843D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4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5043767"/>
      </p:ext>
    </p:extLst>
  </p:cSld>
  <p:clrMapOvr>
    <a:masterClrMapping/>
  </p:clrMapOvr>
  <p:transition spd="slow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50B9CEB-362C-4C9F-BE5B-F00AE6EB290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50B9CEB-362C-4C9F-BE5B-F00AE6EB2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56538484"/>
      </p:ext>
    </p:extLst>
  </p:cSld>
  <p:clrMapOvr>
    <a:masterClrMapping/>
  </p:clrMapOvr>
  <p:transition spd="slow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F6A3853-D683-4A07-A05E-80FCE388408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F6A3853-D683-4A07-A05E-80FCE3884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3 lines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639829"/>
      </p:ext>
    </p:extLst>
  </p:cSld>
  <p:clrMapOvr>
    <a:masterClrMapping/>
  </p:clrMapOvr>
  <p:transition spd="slow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7010B6-8BCA-4A49-B103-E26B2DF1A00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7010B6-8BCA-4A49-B103-E26B2DF1A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in 4 lines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7954671"/>
      </p:ext>
    </p:extLst>
  </p:cSld>
  <p:clrMapOvr>
    <a:masterClrMapping/>
  </p:clrMapOvr>
  <p:transition spd="slow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FFF5795-8818-475B-A2E4-73231729958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FFF5795-8818-475B-A2E4-732317299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Bildplatzhalter 14">
            <a:extLst>
              <a:ext uri="{FF2B5EF4-FFF2-40B4-BE49-F238E27FC236}">
                <a16:creationId xmlns:a16="http://schemas.microsoft.com/office/drawing/2014/main" id="{A84E18E2-6646-4786-9532-58FBF087D1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46608208"/>
      </p:ext>
    </p:extLst>
  </p:cSld>
  <p:clrMapOvr>
    <a:masterClrMapping/>
  </p:clrMapOvr>
  <p:transition spd="slow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4933CEF-4E33-445A-ABCC-BBA235132B8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4933CEF-4E33-445A-ABCC-BBA235132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Bildplatzhalter 14">
            <a:extLst>
              <a:ext uri="{FF2B5EF4-FFF2-40B4-BE49-F238E27FC236}">
                <a16:creationId xmlns:a16="http://schemas.microsoft.com/office/drawing/2014/main" id="{14F4CC26-C791-4BAA-9F2F-D07B10F098A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3 lines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992460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8C3403E-E1CF-4DB2-AA1C-6C4150DF679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8C3403E-E1CF-4DB2-AA1C-6C4150DF67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 in Liebherr Head Black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40140240"/>
      </p:ext>
    </p:extLst>
  </p:cSld>
  <p:clrMapOvr>
    <a:masterClrMapping/>
  </p:clrMapOvr>
  <p:transition spd="slow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2731C8-12A3-454D-8561-3B59989B9F0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2731C8-12A3-454D-8561-3B59989B9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Bildplatzhalter 14">
            <a:extLst>
              <a:ext uri="{FF2B5EF4-FFF2-40B4-BE49-F238E27FC236}">
                <a16:creationId xmlns:a16="http://schemas.microsoft.com/office/drawing/2014/main" id="{0EAE40D3-5E48-4BC7-BBC7-78FC06E974E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in 4 lines.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43040210"/>
      </p:ext>
    </p:extLst>
  </p:cSld>
  <p:clrMapOvr>
    <a:masterClrMapping/>
  </p:clrMapOvr>
  <p:transition spd="slow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CA59271-552B-4E2B-BE86-F545AC0C7AF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CA59271-552B-4E2B-BE86-F545AC0C7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4">
            <a:extLst>
              <a:ext uri="{FF2B5EF4-FFF2-40B4-BE49-F238E27FC236}">
                <a16:creationId xmlns:a16="http://schemas.microsoft.com/office/drawing/2014/main" id="{E8228B2D-36DD-4855-AA43-77FC799225B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.</a:t>
            </a:r>
            <a:endParaRPr lang="en-US" dirty="0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2"/>
    </p:custDataLst>
    <p:extLst>
      <p:ext uri="{BB962C8B-B14F-4D97-AF65-F5344CB8AC3E}">
        <p14:creationId xmlns:p14="http://schemas.microsoft.com/office/powerpoint/2010/main" val="3467125979"/>
      </p:ext>
    </p:extLst>
  </p:cSld>
  <p:clrMapOvr>
    <a:masterClrMapping/>
  </p:clrMapOvr>
  <p:transition spd="slow"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585B960-489A-4C91-9731-06195903B2F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585B960-489A-4C91-9731-06195903B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14">
            <a:extLst>
              <a:ext uri="{FF2B5EF4-FFF2-40B4-BE49-F238E27FC236}">
                <a16:creationId xmlns:a16="http://schemas.microsoft.com/office/drawing/2014/main" id="{A9860AA1-6C61-4C45-B1A0-CCA2CFE27D8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3 lines.</a:t>
            </a:r>
            <a:endParaRPr lang="en-US" dirty="0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2"/>
    </p:custDataLst>
    <p:extLst>
      <p:ext uri="{BB962C8B-B14F-4D97-AF65-F5344CB8AC3E}">
        <p14:creationId xmlns:p14="http://schemas.microsoft.com/office/powerpoint/2010/main" val="2167665526"/>
      </p:ext>
    </p:extLst>
  </p:cSld>
  <p:clrMapOvr>
    <a:masterClrMapping/>
  </p:clrMapOvr>
  <p:transition spd="slow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90C741-AEC8-42F9-9F56-803704AF6C2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C90C741-AEC8-42F9-9F56-803704AF6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14">
            <a:extLst>
              <a:ext uri="{FF2B5EF4-FFF2-40B4-BE49-F238E27FC236}">
                <a16:creationId xmlns:a16="http://schemas.microsoft.com/office/drawing/2014/main" id="{C81028CA-BAF1-4858-ADB1-E5FA25CD966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BD8B14D-EB15-4614-A5D0-15AD4FE9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</a:t>
            </a:r>
            <a:br>
              <a:rPr lang="en-US" dirty="0" smtClean="0"/>
            </a:br>
            <a:r>
              <a:rPr lang="en-US" dirty="0" smtClean="0"/>
              <a:t>you in 4 lines.</a:t>
            </a:r>
            <a:endParaRPr lang="en-US" dirty="0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9"/>
          </p:nvPr>
        </p:nvSpPr>
        <p:spPr/>
      </p:sp>
    </p:spTree>
    <p:custDataLst>
      <p:tags r:id="rId2"/>
    </p:custDataLst>
    <p:extLst>
      <p:ext uri="{BB962C8B-B14F-4D97-AF65-F5344CB8AC3E}">
        <p14:creationId xmlns:p14="http://schemas.microsoft.com/office/powerpoint/2010/main" val="667505317"/>
      </p:ext>
    </p:extLst>
  </p:cSld>
  <p:clrMapOvr>
    <a:masterClrMapping/>
  </p:clrMapOvr>
  <p:transition spd="slow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3EA2059-4366-49F4-9704-17A147E5BEB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3EA2059-4366-49F4-9704-17A147E5B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9996AA2B-9213-4E06-9030-9DC16F480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us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26B8FA-41CE-4EAB-8314-AF76F3F4C81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5261E38-C202-43CF-A104-8C82A5A17F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F389300-0B8F-471C-AEFC-26D497AC23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BD5F076-9193-4087-A38B-C67F191485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Surname, name</a:t>
            </a:r>
          </a:p>
          <a:p>
            <a:pPr lvl="1"/>
            <a:r>
              <a:rPr lang="en-US" dirty="0" smtClean="0"/>
              <a:t>Function</a:t>
            </a:r>
          </a:p>
          <a:p>
            <a:pPr lvl="1"/>
            <a:r>
              <a:rPr lang="en-US" dirty="0" smtClean="0"/>
              <a:t>Bran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+49 228 123456789</a:t>
            </a:r>
          </a:p>
          <a:p>
            <a:pPr lvl="1"/>
            <a:r>
              <a:rPr lang="en-US" dirty="0" smtClean="0"/>
              <a:t>name@liebherr.com</a:t>
            </a:r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B8A874-8A2B-484F-9F8E-67216EB850B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 smtClean="0"/>
              <a:t>Surname, name</a:t>
            </a:r>
          </a:p>
          <a:p>
            <a:pPr lvl="1"/>
            <a:r>
              <a:rPr lang="en-US" dirty="0" smtClean="0"/>
              <a:t>Function</a:t>
            </a:r>
          </a:p>
          <a:p>
            <a:pPr lvl="1"/>
            <a:r>
              <a:rPr lang="en-US" dirty="0" smtClean="0"/>
              <a:t>Bran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+49 228 123456789</a:t>
            </a:r>
          </a:p>
          <a:p>
            <a:pPr lvl="1"/>
            <a:r>
              <a:rPr lang="en-US" dirty="0" smtClean="0"/>
              <a:t>name@liebherr.com</a:t>
            </a:r>
            <a:endParaRPr lang="en-US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52D35D7-E2B4-4BD9-990A-D12D0385795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 smtClean="0"/>
              <a:t>Surname, name</a:t>
            </a:r>
          </a:p>
          <a:p>
            <a:pPr lvl="1"/>
            <a:r>
              <a:rPr lang="en-US" dirty="0" smtClean="0"/>
              <a:t>Function</a:t>
            </a:r>
          </a:p>
          <a:p>
            <a:pPr lvl="1"/>
            <a:r>
              <a:rPr lang="en-US" dirty="0" smtClean="0"/>
              <a:t>Bran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+49 228 123456789</a:t>
            </a:r>
          </a:p>
          <a:p>
            <a:pPr lvl="1"/>
            <a:r>
              <a:rPr lang="en-US" dirty="0" smtClean="0"/>
              <a:t>name@liebherr.com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9D2FA245-8EBD-4FA3-90BE-66B2732268B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 smtClean="0"/>
              <a:t>Surname, name</a:t>
            </a:r>
          </a:p>
          <a:p>
            <a:pPr lvl="1"/>
            <a:r>
              <a:rPr lang="en-US" dirty="0" smtClean="0"/>
              <a:t>Function</a:t>
            </a:r>
          </a:p>
          <a:p>
            <a:pPr lvl="1"/>
            <a:r>
              <a:rPr lang="en-US" dirty="0" smtClean="0"/>
              <a:t>Bran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+49 228 123456789</a:t>
            </a:r>
          </a:p>
          <a:p>
            <a:pPr lvl="1"/>
            <a:r>
              <a:rPr lang="en-US" dirty="0" smtClean="0"/>
              <a:t>name@liebherr.com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33161393"/>
      </p:ext>
    </p:extLst>
  </p:cSld>
  <p:clrMapOvr>
    <a:masterClrMapping/>
  </p:clrMapOvr>
  <p:transition spd="slow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0AFEFEEA-52B9-4277-B00C-551C52E5B1E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0AFEFEEA-52B9-4277-B00C-551C52E5B1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5570EA8-CDD5-4676-A9D9-4FE0593B347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9AA7AA3-3D25-4A03-B84D-8F7263D8F8F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Bar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29C85413-939E-494A-9640-5BA95E4EB1FF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3B5FB991-06B1-4E58-819F-BD5069197E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5D90B6D6-E961-4B04-8744-513FB03FFE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E28FADF9-1E3B-44DC-A8EB-C79D6450B8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5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22315618"/>
      </p:ext>
    </p:extLst>
  </p:cSld>
  <p:clrMapOvr>
    <a:masterClrMapping/>
  </p:clrMapOvr>
  <p:transition spd="slow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0AFEFEEA-52B9-4277-B00C-551C52E5B1E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0AFEFEEA-52B9-4277-B00C-551C52E5B1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5570EA8-CDD5-4676-A9D9-4FE0593B347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9AA7AA3-3D25-4A03-B84D-8F7263D8F8F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Bar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29C85413-939E-494A-9640-5BA95E4EB1FF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37BB921-D758-46D1-9614-C9F5704ECF9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B17B01-A84C-4CC1-9247-120183D6439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31EC1A6-02CD-4743-9A9A-C6D497CF111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6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0017625"/>
      </p:ext>
    </p:extLst>
  </p:cSld>
  <p:clrMapOvr>
    <a:masterClrMapping/>
  </p:clrMapOvr>
  <p:transition spd="slow"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0AFEFEEA-52B9-4277-B00C-551C52E5B1E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0AFEFEEA-52B9-4277-B00C-551C52E5B1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25570EA8-CDD5-4676-A9D9-4FE0593B347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9AA7AA3-3D25-4A03-B84D-8F7263D8F8F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Bar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0C1352A3-0AF5-43C9-AB5D-2D5B947CCBB4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F1FC3D-54E7-4333-A63A-5547967C132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FA191D-78B1-479A-9783-AD96D8DF6C4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07DB24-C744-4E73-976F-28AB6E09C6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7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98277523"/>
      </p:ext>
    </p:extLst>
  </p:cSld>
  <p:clrMapOvr>
    <a:masterClrMapping/>
  </p:clrMapOvr>
  <p:transition spd="slow"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9285547-977C-405F-8ACF-4BF91AF5993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9285547-977C-405F-8ACF-4BF91AF59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6A72BD1C-0C32-4035-8D94-4D788F003DC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39A7CD4-5D46-4261-BCCE-B91801F35F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Column-line chart</a:t>
            </a:r>
            <a:endParaRPr lang="en-US" dirty="0"/>
          </a:p>
        </p:txBody>
      </p:sp>
      <p:graphicFrame>
        <p:nvGraphicFramePr>
          <p:cNvPr id="18" name="Diagramm 13">
            <a:extLst>
              <a:ext uri="{FF2B5EF4-FFF2-40B4-BE49-F238E27FC236}">
                <a16:creationId xmlns:a16="http://schemas.microsoft.com/office/drawing/2014/main" id="{26BF46B9-AD93-4BC9-82D9-D6A9F46534FC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69E7F-396D-4537-913B-567B532DA00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69C572-CAAD-4885-9725-41D68B48C4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6BB3E49-7B27-4445-98E6-DD410C12959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8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19608310"/>
      </p:ext>
    </p:extLst>
  </p:cSld>
  <p:clrMapOvr>
    <a:masterClrMapping/>
  </p:clrMapOvr>
  <p:transition spd="slow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E9285547-977C-405F-8ACF-4BF91AF5993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Folie" r:id="rId9" imgW="359" imgH="360" progId="TCLayout.ActiveDocument.1">
                  <p:embed/>
                </p:oleObj>
              </mc:Choice>
              <mc:Fallback>
                <p:oleObj name="think-cell Folie" r:id="rId9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E9285547-977C-405F-8ACF-4BF91AF59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6A72BD1C-0C32-4035-8D94-4D788F003DC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39A7CD4-5D46-4261-BCCE-B91801F35F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Column-line chart</a:t>
            </a:r>
            <a:endParaRPr lang="en-US" dirty="0"/>
          </a:p>
        </p:txBody>
      </p:sp>
      <p:graphicFrame>
        <p:nvGraphicFramePr>
          <p:cNvPr id="18" name="Diagramm 13">
            <a:extLst>
              <a:ext uri="{FF2B5EF4-FFF2-40B4-BE49-F238E27FC236}">
                <a16:creationId xmlns:a16="http://schemas.microsoft.com/office/drawing/2014/main" id="{26BF46B9-AD93-4BC9-82D9-D6A9F46534FC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C25260-E60D-4033-9A27-A1E696E90A1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8A78D4-E36C-4653-A83C-DD9E9A97631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4C5A61-6EE9-4187-9EE2-E6F9B3B671C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9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89341854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FCA2B-407C-4A7E-91A9-BC74475101E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FCA2B-407C-4A7E-91A9-BC7447510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is the title of the presentation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19616581"/>
      </p:ext>
    </p:extLst>
  </p:cSld>
  <p:clrMapOvr>
    <a:masterClrMapping/>
  </p:clrMapOvr>
  <p:transition spd="slow"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D9F63C32-4A1C-41F0-8B54-A616EDCAE2B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D9F63C32-4A1C-41F0-8B54-A616EDCAE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rostokąt 12" hidden="1">
            <a:extLst>
              <a:ext uri="{FF2B5EF4-FFF2-40B4-BE49-F238E27FC236}">
                <a16:creationId xmlns:a16="http://schemas.microsoft.com/office/drawing/2014/main" id="{B9F1515A-54D9-4ED8-BCE2-871382A9998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ytuł 9">
            <a:extLst>
              <a:ext uri="{FF2B5EF4-FFF2-40B4-BE49-F238E27FC236}">
                <a16:creationId xmlns:a16="http://schemas.microsoft.com/office/drawing/2014/main" id="{061F883A-3B7C-438F-A15E-520721062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r chart</a:t>
            </a:r>
            <a:endParaRPr lang="en-US" dirty="0"/>
          </a:p>
        </p:txBody>
      </p:sp>
      <p:graphicFrame>
        <p:nvGraphicFramePr>
          <p:cNvPr id="18" name="Diagramm 2">
            <a:extLst>
              <a:ext uri="{FF2B5EF4-FFF2-40B4-BE49-F238E27FC236}">
                <a16:creationId xmlns:a16="http://schemas.microsoft.com/office/drawing/2014/main" id="{7358D54F-7EAE-48FF-89EB-E71047217407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5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8A7866-DD23-490B-865C-9AAF9622299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ED4F89-6260-4D2C-AB04-ACD4E5BBA2D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4C1F6B-753F-45BE-9F48-76E28D5CAF8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0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50435514"/>
      </p:ext>
    </p:extLst>
  </p:cSld>
  <p:clrMapOvr>
    <a:masterClrMapping/>
  </p:clrMapOvr>
  <p:transition spd="slow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BCD39FAE-AEA4-4E79-80E2-8C7D92719AA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BCD39FAE-AEA4-4E79-80E2-8C7D92719A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1857A6-7EAD-4A48-8B4A-475BCCE48E0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8BCD3D9-3040-405D-9F4B-20F895A4345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Line chart</a:t>
            </a:r>
            <a:endParaRPr lang="en-US" dirty="0"/>
          </a:p>
        </p:txBody>
      </p:sp>
      <p:graphicFrame>
        <p:nvGraphicFramePr>
          <p:cNvPr id="18" name="Diagramm 13">
            <a:extLst>
              <a:ext uri="{FF2B5EF4-FFF2-40B4-BE49-F238E27FC236}">
                <a16:creationId xmlns:a16="http://schemas.microsoft.com/office/drawing/2014/main" id="{D0501BC1-4818-41C9-B82D-87309EB95749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5CB58F-39C9-4D89-8CA3-3D9E734D0D5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495837-CEF6-4BD9-8E3B-9B4FB2E03B1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C9A1C3-D959-45FA-9329-32D0013FCFE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1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80643770"/>
      </p:ext>
    </p:extLst>
  </p:cSld>
  <p:clrMapOvr>
    <a:masterClrMapping/>
  </p:clrMapOvr>
  <p:transition spd="slow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BCD39FAE-AEA4-4E79-80E2-8C7D92719AA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BCD39FAE-AEA4-4E79-80E2-8C7D92719A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1857A6-7EAD-4A48-8B4A-475BCCE48E0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8BCD3D9-3040-405D-9F4B-20F895A4345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Line chart</a:t>
            </a:r>
            <a:endParaRPr lang="en-US" dirty="0"/>
          </a:p>
        </p:txBody>
      </p:sp>
      <p:graphicFrame>
        <p:nvGraphicFramePr>
          <p:cNvPr id="18" name="Diagramm 13">
            <a:extLst>
              <a:ext uri="{FF2B5EF4-FFF2-40B4-BE49-F238E27FC236}">
                <a16:creationId xmlns:a16="http://schemas.microsoft.com/office/drawing/2014/main" id="{D0501BC1-4818-41C9-B82D-87309EB95749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EBCD654-C48B-4426-AFF2-55A34104BD5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A99B0F-3DCA-4573-84B4-F7ED2F561DC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050A82-8986-4494-90EC-502E2FED94B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2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39979745"/>
      </p:ext>
    </p:extLst>
  </p:cSld>
  <p:clrMapOvr>
    <a:masterClrMapping/>
  </p:clrMapOvr>
  <p:transition spd="slow"/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F1DF59-0665-450A-A143-95FEEFBA6C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BF1DF59-0665-450A-A143-95FEEFBA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7B3F126E-DC64-484D-8965-8E4D96DFB85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Pie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92B5586B-3AD1-4DF4-AE79-A3CAEAF9D816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B72B83-6143-4E3C-97D9-4CD8A8D7BDF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C05407-68EB-4EA2-855B-DD59A377E7C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7248C9-43A0-45A7-9F55-81FE71D4BE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3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86717422"/>
      </p:ext>
    </p:extLst>
  </p:cSld>
  <p:clrMapOvr>
    <a:masterClrMapping/>
  </p:clrMapOvr>
  <p:transition spd="slow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F1DF59-0665-450A-A143-95FEEFBA6C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BF1DF59-0665-450A-A143-95FEEFBA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4DE67A4-F069-4E94-BFFB-4BEAB0E21E63}"/>
              </a:ext>
            </a:extLst>
          </p:cNvPr>
          <p:cNvCxnSpPr>
            <a:cxnSpLocks/>
          </p:cNvCxnSpPr>
          <p:nvPr/>
        </p:nvCxnSpPr>
        <p:spPr bwMode="gray">
          <a:xfrm>
            <a:off x="551384" y="4941763"/>
            <a:ext cx="42484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F303E8-BD52-4082-8548-9B46F10A0C4D}"/>
              </a:ext>
            </a:extLst>
          </p:cNvPr>
          <p:cNvCxnSpPr>
            <a:cxnSpLocks/>
          </p:cNvCxnSpPr>
          <p:nvPr/>
        </p:nvCxnSpPr>
        <p:spPr bwMode="gray">
          <a:xfrm>
            <a:off x="7464152" y="4545124"/>
            <a:ext cx="42484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599695F-93D7-4BAE-991B-F401DFB648C8}"/>
              </a:ext>
            </a:extLst>
          </p:cNvPr>
          <p:cNvCxnSpPr>
            <a:cxnSpLocks/>
          </p:cNvCxnSpPr>
          <p:nvPr/>
        </p:nvCxnSpPr>
        <p:spPr bwMode="gray">
          <a:xfrm>
            <a:off x="7464152" y="3284984"/>
            <a:ext cx="42484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0ED430C-F4A1-420C-AC90-E0775F24B3EC}"/>
              </a:ext>
            </a:extLst>
          </p:cNvPr>
          <p:cNvCxnSpPr>
            <a:cxnSpLocks/>
          </p:cNvCxnSpPr>
          <p:nvPr/>
        </p:nvCxnSpPr>
        <p:spPr bwMode="gray">
          <a:xfrm>
            <a:off x="551384" y="3681028"/>
            <a:ext cx="42484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98F4FBEF-D76E-4182-915E-6FE00339E742}"/>
              </a:ext>
            </a:extLst>
          </p:cNvPr>
          <p:cNvSpPr/>
          <p:nvPr/>
        </p:nvSpPr>
        <p:spPr bwMode="gray">
          <a:xfrm>
            <a:off x="551384" y="2420888"/>
            <a:ext cx="4176000" cy="288000"/>
          </a:xfrm>
          <a:custGeom>
            <a:avLst/>
            <a:gdLst>
              <a:gd name="connsiteX0" fmla="*/ 0 w 4124325"/>
              <a:gd name="connsiteY0" fmla="*/ 0 h 342900"/>
              <a:gd name="connsiteX1" fmla="*/ 3781425 w 4124325"/>
              <a:gd name="connsiteY1" fmla="*/ 0 h 342900"/>
              <a:gd name="connsiteX2" fmla="*/ 4124325 w 4124325"/>
              <a:gd name="connsiteY2" fmla="*/ 342900 h 342900"/>
              <a:gd name="connsiteX0" fmla="*/ 0 w 4124325"/>
              <a:gd name="connsiteY0" fmla="*/ 0 h 317500"/>
              <a:gd name="connsiteX1" fmla="*/ 3781425 w 4124325"/>
              <a:gd name="connsiteY1" fmla="*/ 0 h 317500"/>
              <a:gd name="connsiteX2" fmla="*/ 4124325 w 4124325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24325" h="317500">
                <a:moveTo>
                  <a:pt x="0" y="0"/>
                </a:moveTo>
                <a:lnTo>
                  <a:pt x="3781425" y="0"/>
                </a:lnTo>
                <a:cubicBezTo>
                  <a:pt x="3895725" y="114300"/>
                  <a:pt x="4010025" y="203200"/>
                  <a:pt x="4124325" y="317500"/>
                </a:cubicBezTo>
              </a:path>
            </a:pathLst>
          </a:cu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7B3F126E-DC64-484D-8965-8E4D96DFB85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Pie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92B5586B-3AD1-4DF4-AE79-A3CAEAF9D816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B72B83-6143-4E3C-97D9-4CD8A8D7BDF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C05407-68EB-4EA2-855B-DD59A377E7C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7248C9-43A0-45A7-9F55-81FE71D4BE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22" name="Inhaltsplatzhalter 7">
            <a:extLst>
              <a:ext uri="{FF2B5EF4-FFF2-40B4-BE49-F238E27FC236}">
                <a16:creationId xmlns:a16="http://schemas.microsoft.com/office/drawing/2014/main" id="{4DEEA299-78B3-4834-B488-305412533B07}"/>
              </a:ext>
            </a:extLst>
          </p:cNvPr>
          <p:cNvSpPr txBox="1">
            <a:spLocks/>
          </p:cNvSpPr>
          <p:nvPr/>
        </p:nvSpPr>
        <p:spPr bwMode="gray">
          <a:xfrm>
            <a:off x="8401049" y="2564904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25,0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5DA05B8D-0060-485E-BF2F-DC5825E81F69}"/>
              </a:ext>
            </a:extLst>
          </p:cNvPr>
          <p:cNvSpPr txBox="1">
            <a:spLocks/>
          </p:cNvSpPr>
          <p:nvPr/>
        </p:nvSpPr>
        <p:spPr bwMode="gray">
          <a:xfrm>
            <a:off x="551382" y="1700212"/>
            <a:ext cx="3312593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3,0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29" name="Inhaltsplatzhalter 7">
            <a:extLst>
              <a:ext uri="{FF2B5EF4-FFF2-40B4-BE49-F238E27FC236}">
                <a16:creationId xmlns:a16="http://schemas.microsoft.com/office/drawing/2014/main" id="{FB18A828-2CD6-4FA8-8DB3-512E5CF219E8}"/>
              </a:ext>
            </a:extLst>
          </p:cNvPr>
          <p:cNvSpPr txBox="1">
            <a:spLocks/>
          </p:cNvSpPr>
          <p:nvPr/>
        </p:nvSpPr>
        <p:spPr bwMode="gray">
          <a:xfrm>
            <a:off x="551384" y="2960948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8,5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32" name="Inhaltsplatzhalter 7">
            <a:extLst>
              <a:ext uri="{FF2B5EF4-FFF2-40B4-BE49-F238E27FC236}">
                <a16:creationId xmlns:a16="http://schemas.microsoft.com/office/drawing/2014/main" id="{B2E6EA30-2273-4EC6-B144-93E1C1B64CC4}"/>
              </a:ext>
            </a:extLst>
          </p:cNvPr>
          <p:cNvSpPr txBox="1">
            <a:spLocks/>
          </p:cNvSpPr>
          <p:nvPr/>
        </p:nvSpPr>
        <p:spPr bwMode="gray">
          <a:xfrm>
            <a:off x="8401049" y="3825044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18,3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8DFDB0AF-F487-437E-83A6-B2F38006A1CF}"/>
              </a:ext>
            </a:extLst>
          </p:cNvPr>
          <p:cNvSpPr txBox="1">
            <a:spLocks/>
          </p:cNvSpPr>
          <p:nvPr/>
        </p:nvSpPr>
        <p:spPr bwMode="gray">
          <a:xfrm>
            <a:off x="551384" y="4221683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13,9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95166589"/>
      </p:ext>
    </p:extLst>
  </p:cSld>
  <p:clrMapOvr>
    <a:masterClrMapping/>
  </p:clrMapOvr>
  <p:transition spd="slow"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F1DF59-0665-450A-A143-95FEEFBA6C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BF1DF59-0665-450A-A143-95FEEFBA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7B3F126E-DC64-484D-8965-8E4D96DFB85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Doughnut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92B5586B-3AD1-4DF4-AE79-A3CAEAF9D816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A4582C9-65DC-4895-A4A1-20C35DD4FB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9675169-7CF5-4931-B814-A9A57A8AD81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59CFB88-4598-446A-A8F8-81E9A0ED816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5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15336996"/>
      </p:ext>
    </p:extLst>
  </p:cSld>
  <p:clrMapOvr>
    <a:masterClrMapping/>
  </p:clrMapOvr>
  <p:transition spd="slow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F1DF59-0665-450A-A143-95FEEFBA6C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BF1DF59-0665-450A-A143-95FEEFBA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4DE67A4-F069-4E94-BFFB-4BEAB0E21E63}"/>
              </a:ext>
            </a:extLst>
          </p:cNvPr>
          <p:cNvCxnSpPr>
            <a:cxnSpLocks/>
          </p:cNvCxnSpPr>
          <p:nvPr/>
        </p:nvCxnSpPr>
        <p:spPr bwMode="gray">
          <a:xfrm>
            <a:off x="551384" y="4941763"/>
            <a:ext cx="42484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F303E8-BD52-4082-8548-9B46F10A0C4D}"/>
              </a:ext>
            </a:extLst>
          </p:cNvPr>
          <p:cNvCxnSpPr>
            <a:cxnSpLocks/>
          </p:cNvCxnSpPr>
          <p:nvPr/>
        </p:nvCxnSpPr>
        <p:spPr bwMode="gray">
          <a:xfrm>
            <a:off x="7753144" y="4545124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599695F-93D7-4BAE-991B-F401DFB648C8}"/>
              </a:ext>
            </a:extLst>
          </p:cNvPr>
          <p:cNvCxnSpPr>
            <a:cxnSpLocks/>
          </p:cNvCxnSpPr>
          <p:nvPr/>
        </p:nvCxnSpPr>
        <p:spPr bwMode="gray">
          <a:xfrm>
            <a:off x="7753144" y="3284984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0ED430C-F4A1-420C-AC90-E0775F24B3EC}"/>
              </a:ext>
            </a:extLst>
          </p:cNvPr>
          <p:cNvCxnSpPr>
            <a:cxnSpLocks/>
          </p:cNvCxnSpPr>
          <p:nvPr/>
        </p:nvCxnSpPr>
        <p:spPr bwMode="gray">
          <a:xfrm>
            <a:off x="551384" y="3681028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98F4FBEF-D76E-4182-915E-6FE00339E742}"/>
              </a:ext>
            </a:extLst>
          </p:cNvPr>
          <p:cNvSpPr/>
          <p:nvPr/>
        </p:nvSpPr>
        <p:spPr bwMode="gray">
          <a:xfrm>
            <a:off x="551384" y="2420888"/>
            <a:ext cx="4176000" cy="288000"/>
          </a:xfrm>
          <a:custGeom>
            <a:avLst/>
            <a:gdLst>
              <a:gd name="connsiteX0" fmla="*/ 0 w 4124325"/>
              <a:gd name="connsiteY0" fmla="*/ 0 h 342900"/>
              <a:gd name="connsiteX1" fmla="*/ 3781425 w 4124325"/>
              <a:gd name="connsiteY1" fmla="*/ 0 h 342900"/>
              <a:gd name="connsiteX2" fmla="*/ 4124325 w 4124325"/>
              <a:gd name="connsiteY2" fmla="*/ 342900 h 342900"/>
              <a:gd name="connsiteX0" fmla="*/ 0 w 4124325"/>
              <a:gd name="connsiteY0" fmla="*/ 0 h 317500"/>
              <a:gd name="connsiteX1" fmla="*/ 3781425 w 4124325"/>
              <a:gd name="connsiteY1" fmla="*/ 0 h 317500"/>
              <a:gd name="connsiteX2" fmla="*/ 4124325 w 4124325"/>
              <a:gd name="connsiteY2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24325" h="317500">
                <a:moveTo>
                  <a:pt x="0" y="0"/>
                </a:moveTo>
                <a:lnTo>
                  <a:pt x="3781425" y="0"/>
                </a:lnTo>
                <a:cubicBezTo>
                  <a:pt x="3895725" y="114300"/>
                  <a:pt x="4010025" y="203200"/>
                  <a:pt x="4124325" y="317500"/>
                </a:cubicBezTo>
              </a:path>
            </a:pathLst>
          </a:cu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7B3F126E-DC64-484D-8965-8E4D96DFB85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Doughnut chart</a:t>
            </a:r>
            <a:endParaRPr lang="en-US" dirty="0"/>
          </a:p>
        </p:txBody>
      </p:sp>
      <p:graphicFrame>
        <p:nvGraphicFramePr>
          <p:cNvPr id="18" name="Inhaltsplatzhalter 17">
            <a:extLst>
              <a:ext uri="{FF2B5EF4-FFF2-40B4-BE49-F238E27FC236}">
                <a16:creationId xmlns:a16="http://schemas.microsoft.com/office/drawing/2014/main" id="{92B5586B-3AD1-4DF4-AE79-A3CAEAF9D816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6"/>
            </p:custDataLst>
            <p:extLst/>
          </p:nvPr>
        </p:nvGraphicFramePr>
        <p:xfrm>
          <a:off x="550863" y="1700213"/>
          <a:ext cx="1116171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B72B83-6143-4E3C-97D9-4CD8A8D7BDF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C05407-68EB-4EA2-855B-DD59A377E7C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7248C9-43A0-45A7-9F55-81FE71D4BE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22" name="Inhaltsplatzhalter 7">
            <a:extLst>
              <a:ext uri="{FF2B5EF4-FFF2-40B4-BE49-F238E27FC236}">
                <a16:creationId xmlns:a16="http://schemas.microsoft.com/office/drawing/2014/main" id="{4DEEA299-78B3-4834-B488-305412533B07}"/>
              </a:ext>
            </a:extLst>
          </p:cNvPr>
          <p:cNvSpPr txBox="1">
            <a:spLocks/>
          </p:cNvSpPr>
          <p:nvPr/>
        </p:nvSpPr>
        <p:spPr bwMode="gray">
          <a:xfrm>
            <a:off x="8401049" y="2564904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25,0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5DA05B8D-0060-485E-BF2F-DC5825E81F69}"/>
              </a:ext>
            </a:extLst>
          </p:cNvPr>
          <p:cNvSpPr txBox="1">
            <a:spLocks/>
          </p:cNvSpPr>
          <p:nvPr/>
        </p:nvSpPr>
        <p:spPr bwMode="gray">
          <a:xfrm>
            <a:off x="551382" y="1700212"/>
            <a:ext cx="3312593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3,0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29" name="Inhaltsplatzhalter 7">
            <a:extLst>
              <a:ext uri="{FF2B5EF4-FFF2-40B4-BE49-F238E27FC236}">
                <a16:creationId xmlns:a16="http://schemas.microsoft.com/office/drawing/2014/main" id="{FB18A828-2CD6-4FA8-8DB3-512E5CF219E8}"/>
              </a:ext>
            </a:extLst>
          </p:cNvPr>
          <p:cNvSpPr txBox="1">
            <a:spLocks/>
          </p:cNvSpPr>
          <p:nvPr/>
        </p:nvSpPr>
        <p:spPr bwMode="gray">
          <a:xfrm>
            <a:off x="551384" y="2960948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8,5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32" name="Inhaltsplatzhalter 7">
            <a:extLst>
              <a:ext uri="{FF2B5EF4-FFF2-40B4-BE49-F238E27FC236}">
                <a16:creationId xmlns:a16="http://schemas.microsoft.com/office/drawing/2014/main" id="{B2E6EA30-2273-4EC6-B144-93E1C1B64CC4}"/>
              </a:ext>
            </a:extLst>
          </p:cNvPr>
          <p:cNvSpPr txBox="1">
            <a:spLocks/>
          </p:cNvSpPr>
          <p:nvPr/>
        </p:nvSpPr>
        <p:spPr bwMode="gray">
          <a:xfrm>
            <a:off x="8401049" y="3825044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18,3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8DFDB0AF-F487-437E-83A6-B2F38006A1CF}"/>
              </a:ext>
            </a:extLst>
          </p:cNvPr>
          <p:cNvSpPr txBox="1">
            <a:spLocks/>
          </p:cNvSpPr>
          <p:nvPr/>
        </p:nvSpPr>
        <p:spPr bwMode="gray">
          <a:xfrm>
            <a:off x="551384" y="4221683"/>
            <a:ext cx="3312095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13,9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0441762"/>
      </p:ext>
    </p:extLst>
  </p:cSld>
  <p:clrMapOvr>
    <a:masterClrMapping/>
  </p:clrMapOvr>
  <p:transition spd="slow"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36742A3-5032-4C4D-8BF7-AAAD7F862BD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36742A3-5032-4C4D-8BF7-AAAD7F862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dline in Liebherr Head Black 28pt </a:t>
            </a:r>
            <a:endParaRPr lang="en-US" dirty="0"/>
          </a:p>
        </p:txBody>
      </p:sp>
      <p:graphicFrame>
        <p:nvGraphicFramePr>
          <p:cNvPr id="11" name="Inhaltsplatzhalter 10">
            <a:extLst>
              <a:ext uri="{FF2B5EF4-FFF2-40B4-BE49-F238E27FC236}">
                <a16:creationId xmlns:a16="http://schemas.microsoft.com/office/drawing/2014/main" id="{D96E6547-0EF7-481D-8114-419E19103A47}"/>
              </a:ext>
            </a:extLst>
          </p:cNvPr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550863" y="1700213"/>
          <a:ext cx="8208962" cy="4392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4" name="Inhaltsplatzhalter 33">
            <a:extLst>
              <a:ext uri="{FF2B5EF4-FFF2-40B4-BE49-F238E27FC236}">
                <a16:creationId xmlns:a16="http://schemas.microsoft.com/office/drawing/2014/main" id="{61FE9050-E4D9-4130-BB61-D81D0901A567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e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</a:t>
            </a:r>
          </a:p>
          <a:p>
            <a:pPr lvl="2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</a:t>
            </a:r>
            <a:r>
              <a:rPr lang="en-US" dirty="0" err="1" smtClean="0"/>
              <a:t>exerci</a:t>
            </a:r>
            <a:r>
              <a:rPr lang="en-US" dirty="0" smtClean="0"/>
              <a:t> </a:t>
            </a:r>
            <a:r>
              <a:rPr lang="en-US" dirty="0" err="1" smtClean="0"/>
              <a:t>lobortis</a:t>
            </a:r>
            <a:r>
              <a:rPr lang="en-US" dirty="0" smtClean="0"/>
              <a:t> </a:t>
            </a:r>
            <a:r>
              <a:rPr lang="en-US" dirty="0" err="1" smtClean="0"/>
              <a:t>nisl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pPr lvl="2"/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riure</a:t>
            </a:r>
            <a:r>
              <a:rPr lang="en-US" dirty="0" smtClean="0"/>
              <a:t> dolor in </a:t>
            </a:r>
            <a:r>
              <a:rPr lang="en-US" dirty="0" err="1" smtClean="0"/>
              <a:t>hendrerit</a:t>
            </a:r>
            <a:r>
              <a:rPr lang="en-US" dirty="0" smtClean="0"/>
              <a:t> in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FDD7E36-1FD7-4D58-B42D-A72EC4141BD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6BC1F2F-0207-4FDC-BDC3-E832E5DA8CB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726AFE1-9579-4C06-A8BB-76C80774C5D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7</a:t>
            </a:fld>
            <a:endParaRPr lang="en-US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98EA44E-3C34-4A84-A0A7-C96D51412217}"/>
              </a:ext>
            </a:extLst>
          </p:cNvPr>
          <p:cNvCxnSpPr>
            <a:cxnSpLocks/>
          </p:cNvCxnSpPr>
          <p:nvPr/>
        </p:nvCxnSpPr>
        <p:spPr bwMode="gray">
          <a:xfrm>
            <a:off x="5985173" y="3783404"/>
            <a:ext cx="2775600" cy="0"/>
          </a:xfrm>
          <a:prstGeom prst="line">
            <a:avLst/>
          </a:prstGeom>
          <a:ln w="9525">
            <a:solidFill>
              <a:srgbClr val="1A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3464651B-52AE-4CB9-B3CE-EE79C61D957A}"/>
              </a:ext>
            </a:extLst>
          </p:cNvPr>
          <p:cNvSpPr/>
          <p:nvPr/>
        </p:nvSpPr>
        <p:spPr bwMode="gray">
          <a:xfrm>
            <a:off x="7032533" y="3068960"/>
            <a:ext cx="172765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b="1" dirty="0">
                <a:solidFill>
                  <a:srgbClr val="1A1919"/>
                </a:solidFill>
                <a:latin typeface="+mj-lt"/>
                <a:cs typeface="Arial" panose="020B0604020202020204" pitchFamily="34" charset="0"/>
              </a:rPr>
              <a:t>3.486 Mio. €</a:t>
            </a:r>
          </a:p>
          <a:p>
            <a:pPr algn="r"/>
            <a:r>
              <a:rPr lang="en-US" dirty="0">
                <a:solidFill>
                  <a:srgbClr val="1A1919"/>
                </a:solidFill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6D0BC7C9-7EBA-4C73-9E7A-ACFDE65F37B9}"/>
              </a:ext>
            </a:extLst>
          </p:cNvPr>
          <p:cNvSpPr/>
          <p:nvPr/>
        </p:nvSpPr>
        <p:spPr bwMode="gray">
          <a:xfrm>
            <a:off x="4711700" y="5149851"/>
            <a:ext cx="4048597" cy="942976"/>
          </a:xfrm>
          <a:custGeom>
            <a:avLst/>
            <a:gdLst>
              <a:gd name="connsiteX0" fmla="*/ 0 w 1883229"/>
              <a:gd name="connsiteY0" fmla="*/ 0 h 500743"/>
              <a:gd name="connsiteX1" fmla="*/ 0 w 1883229"/>
              <a:gd name="connsiteY1" fmla="*/ 500743 h 500743"/>
              <a:gd name="connsiteX2" fmla="*/ 1883229 w 1883229"/>
              <a:gd name="connsiteY2" fmla="*/ 500743 h 50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83229" h="500743">
                <a:moveTo>
                  <a:pt x="0" y="0"/>
                </a:moveTo>
                <a:lnTo>
                  <a:pt x="0" y="500743"/>
                </a:lnTo>
                <a:lnTo>
                  <a:pt x="1883229" y="500743"/>
                </a:lnTo>
              </a:path>
            </a:pathLst>
          </a:custGeom>
          <a:noFill/>
          <a:ln w="9525">
            <a:solidFill>
              <a:srgbClr val="1A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2FE7A87-6D4F-40C7-B3AA-7F9BC14171AE}"/>
              </a:ext>
            </a:extLst>
          </p:cNvPr>
          <p:cNvSpPr/>
          <p:nvPr/>
        </p:nvSpPr>
        <p:spPr bwMode="gray">
          <a:xfrm>
            <a:off x="7032421" y="5373000"/>
            <a:ext cx="1727875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b="1" dirty="0">
                <a:solidFill>
                  <a:srgbClr val="1A1919"/>
                </a:solidFill>
                <a:latin typeface="+mj-lt"/>
                <a:cs typeface="Arial" panose="020B0604020202020204" pitchFamily="34" charset="0"/>
              </a:rPr>
              <a:t>4.297 Mio. €</a:t>
            </a:r>
          </a:p>
          <a:p>
            <a:pPr algn="r"/>
            <a:r>
              <a:rPr lang="en-US" dirty="0">
                <a:solidFill>
                  <a:srgbClr val="1A1919"/>
                </a:solidFill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ED2457E3-393E-4241-B387-3B23B1AFCEA1}"/>
              </a:ext>
            </a:extLst>
          </p:cNvPr>
          <p:cNvSpPr/>
          <p:nvPr/>
        </p:nvSpPr>
        <p:spPr bwMode="gray">
          <a:xfrm flipH="1">
            <a:off x="551869" y="5149850"/>
            <a:ext cx="4064580" cy="942975"/>
          </a:xfrm>
          <a:custGeom>
            <a:avLst/>
            <a:gdLst>
              <a:gd name="connsiteX0" fmla="*/ 0 w 1883229"/>
              <a:gd name="connsiteY0" fmla="*/ 0 h 500743"/>
              <a:gd name="connsiteX1" fmla="*/ 0 w 1883229"/>
              <a:gd name="connsiteY1" fmla="*/ 500743 h 500743"/>
              <a:gd name="connsiteX2" fmla="*/ 1883229 w 1883229"/>
              <a:gd name="connsiteY2" fmla="*/ 500743 h 50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83229" h="500743">
                <a:moveTo>
                  <a:pt x="0" y="0"/>
                </a:moveTo>
                <a:lnTo>
                  <a:pt x="0" y="500743"/>
                </a:lnTo>
                <a:lnTo>
                  <a:pt x="1883229" y="500743"/>
                </a:lnTo>
              </a:path>
            </a:pathLst>
          </a:custGeom>
          <a:noFill/>
          <a:ln w="9525">
            <a:solidFill>
              <a:srgbClr val="1A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89EEBF2-AB46-4A21-9829-B827C4976AA4}"/>
              </a:ext>
            </a:extLst>
          </p:cNvPr>
          <p:cNvSpPr/>
          <p:nvPr/>
        </p:nvSpPr>
        <p:spPr bwMode="gray">
          <a:xfrm>
            <a:off x="551888" y="5373000"/>
            <a:ext cx="1800224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b="1" dirty="0">
                <a:solidFill>
                  <a:srgbClr val="1A1919"/>
                </a:solidFill>
                <a:latin typeface="+mj-lt"/>
                <a:cs typeface="Arial" panose="020B0604020202020204" pitchFamily="34" charset="0"/>
              </a:rPr>
              <a:t>3.652 Mio. €</a:t>
            </a:r>
          </a:p>
          <a:p>
            <a:r>
              <a:rPr lang="en-US" dirty="0">
                <a:solidFill>
                  <a:srgbClr val="1A1919"/>
                </a:solidFill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12F1C33-0681-44E0-8240-7C2A24125D27}"/>
              </a:ext>
            </a:extLst>
          </p:cNvPr>
          <p:cNvSpPr/>
          <p:nvPr/>
        </p:nvSpPr>
        <p:spPr bwMode="gray">
          <a:xfrm>
            <a:off x="551888" y="1948582"/>
            <a:ext cx="1800224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b="1" dirty="0">
                <a:solidFill>
                  <a:srgbClr val="1A1919"/>
                </a:solidFill>
                <a:latin typeface="+mj-lt"/>
                <a:cs typeface="Arial" panose="020B0604020202020204" pitchFamily="34" charset="0"/>
              </a:rPr>
              <a:t>4.689 Mio. €</a:t>
            </a:r>
          </a:p>
          <a:p>
            <a:r>
              <a:rPr lang="en-US" dirty="0">
                <a:solidFill>
                  <a:srgbClr val="1A1919"/>
                </a:solidFill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64FE3E3-65B4-4537-AE46-F895E30EBAE3}"/>
              </a:ext>
            </a:extLst>
          </p:cNvPr>
          <p:cNvSpPr/>
          <p:nvPr/>
        </p:nvSpPr>
        <p:spPr bwMode="gray">
          <a:xfrm>
            <a:off x="551664" y="4076999"/>
            <a:ext cx="1800224" cy="809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b="1" dirty="0">
                <a:solidFill>
                  <a:srgbClr val="1A1919"/>
                </a:solidFill>
                <a:latin typeface="+mj-lt"/>
                <a:cs typeface="Arial" panose="020B0604020202020204" pitchFamily="34" charset="0"/>
              </a:rPr>
              <a:t>1.985 Mio. €</a:t>
            </a:r>
          </a:p>
          <a:p>
            <a:r>
              <a:rPr lang="en-US" dirty="0">
                <a:solidFill>
                  <a:srgbClr val="1A1919"/>
                </a:solidFill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1A631E2-495E-40AB-BA8F-37638DA05793}"/>
              </a:ext>
            </a:extLst>
          </p:cNvPr>
          <p:cNvSpPr/>
          <p:nvPr/>
        </p:nvSpPr>
        <p:spPr bwMode="gray">
          <a:xfrm>
            <a:off x="552450" y="4288632"/>
            <a:ext cx="2864644" cy="597693"/>
          </a:xfrm>
          <a:custGeom>
            <a:avLst/>
            <a:gdLst>
              <a:gd name="connsiteX0" fmla="*/ 2871788 w 2871788"/>
              <a:gd name="connsiteY0" fmla="*/ 0 h 604837"/>
              <a:gd name="connsiteX1" fmla="*/ 1447800 w 2871788"/>
              <a:gd name="connsiteY1" fmla="*/ 604837 h 604837"/>
              <a:gd name="connsiteX2" fmla="*/ 0 w 2871788"/>
              <a:gd name="connsiteY2" fmla="*/ 604837 h 604837"/>
              <a:gd name="connsiteX0" fmla="*/ 2864644 w 2864644"/>
              <a:gd name="connsiteY0" fmla="*/ 0 h 597693"/>
              <a:gd name="connsiteX1" fmla="*/ 1447800 w 2864644"/>
              <a:gd name="connsiteY1" fmla="*/ 597693 h 597693"/>
              <a:gd name="connsiteX2" fmla="*/ 0 w 2864644"/>
              <a:gd name="connsiteY2" fmla="*/ 597693 h 59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64644" h="597693">
                <a:moveTo>
                  <a:pt x="2864644" y="0"/>
                </a:moveTo>
                <a:lnTo>
                  <a:pt x="1447800" y="597693"/>
                </a:lnTo>
                <a:lnTo>
                  <a:pt x="0" y="597693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513FF786-B1EC-418E-B72B-DD6356AE6862}"/>
              </a:ext>
            </a:extLst>
          </p:cNvPr>
          <p:cNvSpPr/>
          <p:nvPr/>
        </p:nvSpPr>
        <p:spPr bwMode="gray">
          <a:xfrm flipV="1">
            <a:off x="562616" y="2671318"/>
            <a:ext cx="2895600" cy="602455"/>
          </a:xfrm>
          <a:custGeom>
            <a:avLst/>
            <a:gdLst>
              <a:gd name="connsiteX0" fmla="*/ 2871788 w 2871788"/>
              <a:gd name="connsiteY0" fmla="*/ 0 h 604837"/>
              <a:gd name="connsiteX1" fmla="*/ 1447800 w 2871788"/>
              <a:gd name="connsiteY1" fmla="*/ 604837 h 604837"/>
              <a:gd name="connsiteX2" fmla="*/ 0 w 2871788"/>
              <a:gd name="connsiteY2" fmla="*/ 604837 h 604837"/>
              <a:gd name="connsiteX0" fmla="*/ 2864644 w 2864644"/>
              <a:gd name="connsiteY0" fmla="*/ 0 h 597693"/>
              <a:gd name="connsiteX1" fmla="*/ 1447800 w 2864644"/>
              <a:gd name="connsiteY1" fmla="*/ 597693 h 597693"/>
              <a:gd name="connsiteX2" fmla="*/ 0 w 2864644"/>
              <a:gd name="connsiteY2" fmla="*/ 597693 h 597693"/>
              <a:gd name="connsiteX0" fmla="*/ 2895600 w 2895600"/>
              <a:gd name="connsiteY0" fmla="*/ 0 h 602455"/>
              <a:gd name="connsiteX1" fmla="*/ 1447800 w 2895600"/>
              <a:gd name="connsiteY1" fmla="*/ 602455 h 602455"/>
              <a:gd name="connsiteX2" fmla="*/ 0 w 2895600"/>
              <a:gd name="connsiteY2" fmla="*/ 602455 h 602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95600" h="602455">
                <a:moveTo>
                  <a:pt x="2895600" y="0"/>
                </a:moveTo>
                <a:lnTo>
                  <a:pt x="1447800" y="602455"/>
                </a:lnTo>
                <a:lnTo>
                  <a:pt x="0" y="602455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33AED63A-5468-4C68-B214-825F94884E0B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07272" y="3210346"/>
            <a:ext cx="1296144" cy="119715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0197830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4793AA8-F7F4-4710-B65A-02BFE046D9B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4793AA8-F7F4-4710-B65A-02BFE046D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" name="Grafik 53">
            <a:extLst>
              <a:ext uri="{FF2B5EF4-FFF2-40B4-BE49-F238E27FC236}">
                <a16:creationId xmlns:a16="http://schemas.microsoft.com/office/drawing/2014/main" id="{ED26BF90-3373-4FF7-9EA3-0A31F943003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551384" y="1700808"/>
            <a:ext cx="1476164" cy="1800000"/>
          </a:xfrm>
          <a:prstGeom prst="rect">
            <a:avLst/>
          </a:prstGeom>
        </p:spPr>
      </p:pic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F4E0FDE6-5E1C-4E07-B2EE-57B7FDA312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E22BAB8-57F6-469E-9753-1E0E9FCE8A0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wo personal profil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50" name="Inhaltsplatzhalter 7">
            <a:extLst>
              <a:ext uri="{FF2B5EF4-FFF2-40B4-BE49-F238E27FC236}">
                <a16:creationId xmlns:a16="http://schemas.microsoft.com/office/drawing/2014/main" id="{F2C6959E-4463-4C93-9DC7-DEB493280F86}"/>
              </a:ext>
            </a:extLst>
          </p:cNvPr>
          <p:cNvSpPr txBox="1">
            <a:spLocks/>
          </p:cNvSpPr>
          <p:nvPr/>
        </p:nvSpPr>
        <p:spPr bwMode="gray">
          <a:xfrm>
            <a:off x="2243572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56" name="Inhaltsplatzhalter 7">
            <a:extLst>
              <a:ext uri="{FF2B5EF4-FFF2-40B4-BE49-F238E27FC236}">
                <a16:creationId xmlns:a16="http://schemas.microsoft.com/office/drawing/2014/main" id="{33C68250-1705-4DA0-A00C-67FEF0812794}"/>
              </a:ext>
            </a:extLst>
          </p:cNvPr>
          <p:cNvSpPr txBox="1">
            <a:spLocks/>
          </p:cNvSpPr>
          <p:nvPr/>
        </p:nvSpPr>
        <p:spPr bwMode="gray">
          <a:xfrm>
            <a:off x="550863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FE75F016-E815-4C51-A6A3-1962D9F79930}"/>
              </a:ext>
            </a:extLst>
          </p:cNvPr>
          <p:cNvSpPr txBox="1">
            <a:spLocks/>
          </p:cNvSpPr>
          <p:nvPr/>
        </p:nvSpPr>
        <p:spPr bwMode="gray">
          <a:xfrm>
            <a:off x="8147533" y="1700211"/>
            <a:ext cx="3564000" cy="1800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ame Surname</a:t>
            </a:r>
          </a:p>
          <a:p>
            <a:pPr lvl="1"/>
            <a:r>
              <a:rPr lang="en-US" dirty="0"/>
              <a:t>Position</a:t>
            </a:r>
          </a:p>
          <a:p>
            <a:pPr lvl="1">
              <a:tabLst>
                <a:tab pos="628650" algn="l"/>
              </a:tabLst>
            </a:pPr>
            <a:r>
              <a:rPr lang="en-US" sz="1400" dirty="0"/>
              <a:t>name.surname@emailaddress.com</a:t>
            </a:r>
            <a:br>
              <a:rPr lang="en-US" sz="1400" dirty="0"/>
            </a:br>
            <a:r>
              <a:rPr lang="en-US" sz="1400" dirty="0"/>
              <a:t>Phone:	+XX XXX XXX XX</a:t>
            </a:r>
            <a:br>
              <a:rPr lang="en-US" sz="1400" dirty="0"/>
            </a:br>
            <a:r>
              <a:rPr lang="en-US" sz="1400" dirty="0"/>
              <a:t>Mobile:	+XX XXX XXX XX</a:t>
            </a:r>
          </a:p>
        </p:txBody>
      </p: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19EF39F9-B6B7-487D-BB5D-238471042759}"/>
              </a:ext>
            </a:extLst>
          </p:cNvPr>
          <p:cNvSpPr txBox="1">
            <a:spLocks/>
          </p:cNvSpPr>
          <p:nvPr/>
        </p:nvSpPr>
        <p:spPr bwMode="gray">
          <a:xfrm>
            <a:off x="6454824" y="3681296"/>
            <a:ext cx="5257105" cy="2412000"/>
          </a:xfrm>
          <a:prstGeom prst="rect">
            <a:avLst/>
          </a:prstGeom>
        </p:spPr>
        <p:txBody>
          <a:bodyPr lIns="0" tIns="0" rIns="0" bIns="10800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d diam nonummy nibh euismod dolore magna aliquam erat volutpat. Ut wisi enim ad minim</a:t>
            </a:r>
          </a:p>
          <a:p>
            <a:pPr lvl="2"/>
            <a:r>
              <a:rPr lang="en-US" dirty="0"/>
              <a:t>Anis ut aliquip ex ea commodo consequat</a:t>
            </a:r>
          </a:p>
          <a:p>
            <a:pPr lvl="2"/>
            <a:r>
              <a:rPr lang="en-US" dirty="0"/>
              <a:t>Duis autem vel eum iriure dolor in hendrerit </a:t>
            </a:r>
            <a:br>
              <a:rPr lang="en-US" dirty="0"/>
            </a:br>
            <a:r>
              <a:rPr lang="en-US" dirty="0"/>
              <a:t>in velit esse molestie consequat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970C0A81-9499-491B-AEFD-EB8128AC493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0" r="17380"/>
          <a:stretch/>
        </p:blipFill>
        <p:spPr bwMode="gray">
          <a:xfrm>
            <a:off x="6454824" y="1700808"/>
            <a:ext cx="1476164" cy="1800000"/>
          </a:xfrm>
          <a:prstGeom prst="rect">
            <a:avLst/>
          </a:prstGeom>
        </p:spPr>
      </p:pic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E272BC0-ED75-455F-AC8E-6D17AEF458B3}"/>
              </a:ext>
            </a:extLst>
          </p:cNvPr>
          <p:cNvCxnSpPr>
            <a:cxnSpLocks/>
          </p:cNvCxnSpPr>
          <p:nvPr/>
        </p:nvCxnSpPr>
        <p:spPr bwMode="gray">
          <a:xfrm>
            <a:off x="550863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4D969DEE-D424-4EEF-A647-19BD85CF366E}"/>
              </a:ext>
            </a:extLst>
          </p:cNvPr>
          <p:cNvCxnSpPr>
            <a:cxnSpLocks/>
          </p:cNvCxnSpPr>
          <p:nvPr/>
        </p:nvCxnSpPr>
        <p:spPr bwMode="gray">
          <a:xfrm>
            <a:off x="6454824" y="3501008"/>
            <a:ext cx="525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955268580"/>
      </p:ext>
    </p:extLst>
  </p:cSld>
  <p:clrMapOvr>
    <a:masterClrMapping/>
  </p:clrMapOvr>
  <p:transition spd="slow"/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39DB56A7-9B57-49AF-8012-A5AE4280FFAF}"/>
              </a:ext>
            </a:extLst>
          </p:cNvPr>
          <p:cNvCxnSpPr>
            <a:cxnSpLocks/>
          </p:cNvCxnSpPr>
          <p:nvPr/>
        </p:nvCxnSpPr>
        <p:spPr bwMode="gray">
          <a:xfrm>
            <a:off x="6960096" y="242088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Inhaltsplatzhalter 7">
            <a:extLst>
              <a:ext uri="{FF2B5EF4-FFF2-40B4-BE49-F238E27FC236}">
                <a16:creationId xmlns:a16="http://schemas.microsoft.com/office/drawing/2014/main" id="{A5756334-2B18-4604-A143-8F0960A5013C}"/>
              </a:ext>
            </a:extLst>
          </p:cNvPr>
          <p:cNvSpPr txBox="1">
            <a:spLocks/>
          </p:cNvSpPr>
          <p:nvPr/>
        </p:nvSpPr>
        <p:spPr bwMode="gray">
          <a:xfrm>
            <a:off x="8185145" y="17002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AEE96264-9056-4445-9B16-8EF1DA80F92B}"/>
              </a:ext>
            </a:extLst>
          </p:cNvPr>
          <p:cNvCxnSpPr>
            <a:cxnSpLocks/>
          </p:cNvCxnSpPr>
          <p:nvPr/>
        </p:nvCxnSpPr>
        <p:spPr bwMode="gray">
          <a:xfrm>
            <a:off x="550862" y="242088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C41937F-C48B-4C64-9F04-1F417351F7F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3C1E8EC-E648-458D-8A1F-55CD27F1648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Segments with affili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70" name="Inhaltsplatzhalter 7">
            <a:extLst>
              <a:ext uri="{FF2B5EF4-FFF2-40B4-BE49-F238E27FC236}">
                <a16:creationId xmlns:a16="http://schemas.microsoft.com/office/drawing/2014/main" id="{057467BE-11D4-4F75-BE1B-A205EEEAE48A}"/>
              </a:ext>
            </a:extLst>
          </p:cNvPr>
          <p:cNvSpPr txBox="1">
            <a:spLocks/>
          </p:cNvSpPr>
          <p:nvPr/>
        </p:nvSpPr>
        <p:spPr bwMode="gray">
          <a:xfrm>
            <a:off x="551382" y="17002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47EE4740-BF74-448D-B690-FF1F263B84F5}"/>
              </a:ext>
            </a:extLst>
          </p:cNvPr>
          <p:cNvCxnSpPr>
            <a:cxnSpLocks/>
          </p:cNvCxnSpPr>
          <p:nvPr/>
        </p:nvCxnSpPr>
        <p:spPr bwMode="gray">
          <a:xfrm>
            <a:off x="7753145" y="3428736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Inhaltsplatzhalter 7">
            <a:extLst>
              <a:ext uri="{FF2B5EF4-FFF2-40B4-BE49-F238E27FC236}">
                <a16:creationId xmlns:a16="http://schemas.microsoft.com/office/drawing/2014/main" id="{A054D4DE-B171-4241-8F68-4A47DFE474E6}"/>
              </a:ext>
            </a:extLst>
          </p:cNvPr>
          <p:cNvSpPr txBox="1">
            <a:spLocks/>
          </p:cNvSpPr>
          <p:nvPr/>
        </p:nvSpPr>
        <p:spPr bwMode="gray">
          <a:xfrm>
            <a:off x="8185145" y="2709000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5BC1E11-93DB-462A-A99E-DDF4324BB4DB}"/>
              </a:ext>
            </a:extLst>
          </p:cNvPr>
          <p:cNvCxnSpPr>
            <a:cxnSpLocks/>
          </p:cNvCxnSpPr>
          <p:nvPr/>
        </p:nvCxnSpPr>
        <p:spPr bwMode="gray">
          <a:xfrm>
            <a:off x="550863" y="3428736"/>
            <a:ext cx="39608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Inhaltsplatzhalter 7">
            <a:extLst>
              <a:ext uri="{FF2B5EF4-FFF2-40B4-BE49-F238E27FC236}">
                <a16:creationId xmlns:a16="http://schemas.microsoft.com/office/drawing/2014/main" id="{7D3AD2E2-1940-4D8C-807D-2A96A62F8FF7}"/>
              </a:ext>
            </a:extLst>
          </p:cNvPr>
          <p:cNvSpPr txBox="1">
            <a:spLocks/>
          </p:cNvSpPr>
          <p:nvPr/>
        </p:nvSpPr>
        <p:spPr bwMode="gray">
          <a:xfrm>
            <a:off x="551382" y="2709000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16A9745A-4193-43C0-9604-89EBED2496FE}"/>
              </a:ext>
            </a:extLst>
          </p:cNvPr>
          <p:cNvCxnSpPr>
            <a:cxnSpLocks/>
          </p:cNvCxnSpPr>
          <p:nvPr/>
        </p:nvCxnSpPr>
        <p:spPr bwMode="gray">
          <a:xfrm>
            <a:off x="7753145" y="4437112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Inhaltsplatzhalter 7">
            <a:extLst>
              <a:ext uri="{FF2B5EF4-FFF2-40B4-BE49-F238E27FC236}">
                <a16:creationId xmlns:a16="http://schemas.microsoft.com/office/drawing/2014/main" id="{908DBA5B-194C-461D-9667-AF6D2F2ACF8F}"/>
              </a:ext>
            </a:extLst>
          </p:cNvPr>
          <p:cNvSpPr txBox="1">
            <a:spLocks/>
          </p:cNvSpPr>
          <p:nvPr/>
        </p:nvSpPr>
        <p:spPr bwMode="gray">
          <a:xfrm>
            <a:off x="8185145" y="37171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984EAED7-CCBE-4471-A091-6B5A92A55EA4}"/>
              </a:ext>
            </a:extLst>
          </p:cNvPr>
          <p:cNvCxnSpPr>
            <a:cxnSpLocks/>
          </p:cNvCxnSpPr>
          <p:nvPr/>
        </p:nvCxnSpPr>
        <p:spPr bwMode="gray">
          <a:xfrm>
            <a:off x="550863" y="4437112"/>
            <a:ext cx="396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Inhaltsplatzhalter 7">
            <a:extLst>
              <a:ext uri="{FF2B5EF4-FFF2-40B4-BE49-F238E27FC236}">
                <a16:creationId xmlns:a16="http://schemas.microsoft.com/office/drawing/2014/main" id="{B675ECAD-C54A-4BC5-A337-28B337BCB790}"/>
              </a:ext>
            </a:extLst>
          </p:cNvPr>
          <p:cNvSpPr txBox="1">
            <a:spLocks/>
          </p:cNvSpPr>
          <p:nvPr/>
        </p:nvSpPr>
        <p:spPr bwMode="gray">
          <a:xfrm>
            <a:off x="551382" y="3717112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D289F092-81F4-4409-AC95-0662D1FD2382}"/>
              </a:ext>
            </a:extLst>
          </p:cNvPr>
          <p:cNvCxnSpPr>
            <a:cxnSpLocks/>
          </p:cNvCxnSpPr>
          <p:nvPr/>
        </p:nvCxnSpPr>
        <p:spPr bwMode="gray">
          <a:xfrm>
            <a:off x="6960096" y="544454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Inhaltsplatzhalter 7">
            <a:extLst>
              <a:ext uri="{FF2B5EF4-FFF2-40B4-BE49-F238E27FC236}">
                <a16:creationId xmlns:a16="http://schemas.microsoft.com/office/drawing/2014/main" id="{0A622CDD-74EF-4BD3-BCCF-64DFC46DE8CC}"/>
              </a:ext>
            </a:extLst>
          </p:cNvPr>
          <p:cNvSpPr txBox="1">
            <a:spLocks/>
          </p:cNvSpPr>
          <p:nvPr/>
        </p:nvSpPr>
        <p:spPr bwMode="gray">
          <a:xfrm>
            <a:off x="8185145" y="4724548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 algn="r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CC32662B-8134-4CCC-B1DA-FCBE3C127948}"/>
              </a:ext>
            </a:extLst>
          </p:cNvPr>
          <p:cNvCxnSpPr>
            <a:cxnSpLocks/>
          </p:cNvCxnSpPr>
          <p:nvPr/>
        </p:nvCxnSpPr>
        <p:spPr bwMode="gray">
          <a:xfrm>
            <a:off x="550862" y="5444548"/>
            <a:ext cx="47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Inhaltsplatzhalter 7">
            <a:extLst>
              <a:ext uri="{FF2B5EF4-FFF2-40B4-BE49-F238E27FC236}">
                <a16:creationId xmlns:a16="http://schemas.microsoft.com/office/drawing/2014/main" id="{9FDA6E97-ACC1-4445-ABC9-E3C0290F11C6}"/>
              </a:ext>
            </a:extLst>
          </p:cNvPr>
          <p:cNvSpPr txBox="1">
            <a:spLocks/>
          </p:cNvSpPr>
          <p:nvPr/>
        </p:nvSpPr>
        <p:spPr bwMode="gray">
          <a:xfrm>
            <a:off x="551382" y="4724548"/>
            <a:ext cx="3528000" cy="720000"/>
          </a:xfrm>
          <a:prstGeom prst="rect">
            <a:avLst/>
          </a:prstGeom>
          <a:noFill/>
        </p:spPr>
        <p:txBody>
          <a:bodyPr lIns="0" tIns="10800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XX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Pellentesque habitant morbi tristique</a:t>
            </a:r>
          </a:p>
        </p:txBody>
      </p:sp>
      <p:graphicFrame>
        <p:nvGraphicFramePr>
          <p:cNvPr id="56" name="Diagramm 55">
            <a:extLst>
              <a:ext uri="{FF2B5EF4-FFF2-40B4-BE49-F238E27FC236}">
                <a16:creationId xmlns:a16="http://schemas.microsoft.com/office/drawing/2014/main" id="{539420C1-5B4E-4EEE-A13E-EEBE2915D960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4224000" y="1988519"/>
          <a:ext cx="3816000" cy="381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57" name="Grupa 153">
            <a:extLst>
              <a:ext uri="{FF2B5EF4-FFF2-40B4-BE49-F238E27FC236}">
                <a16:creationId xmlns:a16="http://schemas.microsoft.com/office/drawing/2014/main" id="{3EE27D98-8DA2-447A-8BC9-95F8F8A061C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5737611" y="3825044"/>
            <a:ext cx="807828" cy="864000"/>
            <a:chOff x="11225213" y="2628901"/>
            <a:chExt cx="479425" cy="512762"/>
          </a:xfrm>
        </p:grpSpPr>
        <p:sp>
          <p:nvSpPr>
            <p:cNvPr id="59" name="Line 20">
              <a:extLst>
                <a:ext uri="{FF2B5EF4-FFF2-40B4-BE49-F238E27FC236}">
                  <a16:creationId xmlns:a16="http://schemas.microsoft.com/office/drawing/2014/main" id="{87154A7D-CBB4-4D90-A353-545E03D1543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97E4A390-745E-4C2E-8BB6-CF183AE1D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Line 22">
              <a:extLst>
                <a:ext uri="{FF2B5EF4-FFF2-40B4-BE49-F238E27FC236}">
                  <a16:creationId xmlns:a16="http://schemas.microsoft.com/office/drawing/2014/main" id="{9A772F08-028A-4489-AF61-A22C51ED8AB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Line 23">
              <a:extLst>
                <a:ext uri="{FF2B5EF4-FFF2-40B4-BE49-F238E27FC236}">
                  <a16:creationId xmlns:a16="http://schemas.microsoft.com/office/drawing/2014/main" id="{0CB9CEBE-E33B-418A-8290-6B7225CBBC7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24">
              <a:extLst>
                <a:ext uri="{FF2B5EF4-FFF2-40B4-BE49-F238E27FC236}">
                  <a16:creationId xmlns:a16="http://schemas.microsoft.com/office/drawing/2014/main" id="{EEEA6C3D-B9B0-4B52-8BD2-17C119ACEB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Line 25">
              <a:extLst>
                <a:ext uri="{FF2B5EF4-FFF2-40B4-BE49-F238E27FC236}">
                  <a16:creationId xmlns:a16="http://schemas.microsoft.com/office/drawing/2014/main" id="{A0D975B6-6DC7-41CB-8C2C-899E9703363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2166A786-E006-452A-93E5-885CE74C67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0" name="Inhaltsplatzhalter 7">
            <a:extLst>
              <a:ext uri="{FF2B5EF4-FFF2-40B4-BE49-F238E27FC236}">
                <a16:creationId xmlns:a16="http://schemas.microsoft.com/office/drawing/2014/main" id="{E0DBEFB6-9E54-4FE6-981C-109B03C60B70}"/>
              </a:ext>
            </a:extLst>
          </p:cNvPr>
          <p:cNvSpPr txBox="1">
            <a:spLocks/>
          </p:cNvSpPr>
          <p:nvPr/>
        </p:nvSpPr>
        <p:spPr bwMode="gray">
          <a:xfrm>
            <a:off x="4799286" y="3140968"/>
            <a:ext cx="2664866" cy="432495"/>
          </a:xfrm>
          <a:prstGeom prst="rect">
            <a:avLst/>
          </a:prstGeom>
          <a:noFill/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Lorem ips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1827362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BEB6B5-88F0-4F87-BC32-E094D76852F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BEB6B5-88F0-4F87-BC32-E094D7685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5967258"/>
      </p:ext>
    </p:extLst>
  </p:cSld>
  <p:clrMapOvr>
    <a:masterClrMapping/>
  </p:clrMapOvr>
  <p:transition spd="slow"/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iekt 50" hidden="1">
            <a:extLst>
              <a:ext uri="{FF2B5EF4-FFF2-40B4-BE49-F238E27FC236}">
                <a16:creationId xmlns:a16="http://schemas.microsoft.com/office/drawing/2014/main" id="{E45287E6-8AB3-4A2D-BB6E-B317ACB7A7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51" name="Obiekt 50" hidden="1">
                        <a:extLst>
                          <a:ext uri="{FF2B5EF4-FFF2-40B4-BE49-F238E27FC236}">
                            <a16:creationId xmlns:a16="http://schemas.microsoft.com/office/drawing/2014/main" id="{E45287E6-8AB3-4A2D-BB6E-B317ACB7A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rostokąt 17" hidden="1">
            <a:extLst>
              <a:ext uri="{FF2B5EF4-FFF2-40B4-BE49-F238E27FC236}">
                <a16:creationId xmlns:a16="http://schemas.microsoft.com/office/drawing/2014/main" id="{E51DDB73-DF54-472A-9232-610CB56F71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927CFC57-AE51-409A-8D0C-8818C487D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yramid with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0</a:t>
            </a:fld>
            <a:endParaRPr lang="en-US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0BE5F09-81DA-4CCD-8813-617A02173CBE}"/>
              </a:ext>
            </a:extLst>
          </p:cNvPr>
          <p:cNvCxnSpPr>
            <a:cxnSpLocks/>
          </p:cNvCxnSpPr>
          <p:nvPr/>
        </p:nvCxnSpPr>
        <p:spPr bwMode="gray">
          <a:xfrm>
            <a:off x="4511675" y="2636912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A97C3114-F3AC-4EBE-A55A-EB3FD736CC0F}"/>
              </a:ext>
            </a:extLst>
          </p:cNvPr>
          <p:cNvSpPr txBox="1">
            <a:spLocks/>
          </p:cNvSpPr>
          <p:nvPr/>
        </p:nvSpPr>
        <p:spPr bwMode="gray">
          <a:xfrm>
            <a:off x="4511824" y="1700808"/>
            <a:ext cx="7200000" cy="936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DB9E1D8-9FDB-4D2C-887F-13EB2B7627EC}"/>
              </a:ext>
            </a:extLst>
          </p:cNvPr>
          <p:cNvCxnSpPr>
            <a:cxnSpLocks/>
          </p:cNvCxnSpPr>
          <p:nvPr/>
        </p:nvCxnSpPr>
        <p:spPr bwMode="gray">
          <a:xfrm>
            <a:off x="4511675" y="3501008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9D36B90-955A-4B7B-9562-697F8F603F38}"/>
              </a:ext>
            </a:extLst>
          </p:cNvPr>
          <p:cNvSpPr txBox="1">
            <a:spLocks/>
          </p:cNvSpPr>
          <p:nvPr/>
        </p:nvSpPr>
        <p:spPr bwMode="gray">
          <a:xfrm>
            <a:off x="4511824" y="2636912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92E4D5A-766C-4D53-A438-FDBA5B555109}"/>
              </a:ext>
            </a:extLst>
          </p:cNvPr>
          <p:cNvCxnSpPr>
            <a:cxnSpLocks/>
          </p:cNvCxnSpPr>
          <p:nvPr/>
        </p:nvCxnSpPr>
        <p:spPr bwMode="gray">
          <a:xfrm>
            <a:off x="4511675" y="4365104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FB525538-3DF4-4DA1-A8A8-B3A7EB66DE1C}"/>
              </a:ext>
            </a:extLst>
          </p:cNvPr>
          <p:cNvSpPr txBox="1">
            <a:spLocks/>
          </p:cNvSpPr>
          <p:nvPr/>
        </p:nvSpPr>
        <p:spPr bwMode="gray">
          <a:xfrm>
            <a:off x="4511824" y="3501008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B2029BA-2A81-4279-9BEB-47AA50F9A1B7}"/>
              </a:ext>
            </a:extLst>
          </p:cNvPr>
          <p:cNvCxnSpPr>
            <a:cxnSpLocks/>
          </p:cNvCxnSpPr>
          <p:nvPr/>
        </p:nvCxnSpPr>
        <p:spPr bwMode="gray">
          <a:xfrm>
            <a:off x="4511675" y="5229200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Inhaltsplatzhalter 7">
            <a:extLst>
              <a:ext uri="{FF2B5EF4-FFF2-40B4-BE49-F238E27FC236}">
                <a16:creationId xmlns:a16="http://schemas.microsoft.com/office/drawing/2014/main" id="{797CC86F-BB60-4695-B525-5389F62D4C38}"/>
              </a:ext>
            </a:extLst>
          </p:cNvPr>
          <p:cNvSpPr txBox="1">
            <a:spLocks/>
          </p:cNvSpPr>
          <p:nvPr/>
        </p:nvSpPr>
        <p:spPr bwMode="gray">
          <a:xfrm>
            <a:off x="4511824" y="4365104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7BAC512B-F36C-455C-AB6D-7D2232A4A196}"/>
              </a:ext>
            </a:extLst>
          </p:cNvPr>
          <p:cNvSpPr txBox="1">
            <a:spLocks/>
          </p:cNvSpPr>
          <p:nvPr/>
        </p:nvSpPr>
        <p:spPr bwMode="gray">
          <a:xfrm>
            <a:off x="4511824" y="5229200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91" name="Freihandform: Form 90">
            <a:extLst>
              <a:ext uri="{FF2B5EF4-FFF2-40B4-BE49-F238E27FC236}">
                <a16:creationId xmlns:a16="http://schemas.microsoft.com/office/drawing/2014/main" id="{283B1BDC-1F93-4CB2-8A48-F5B918EFF253}"/>
              </a:ext>
            </a:extLst>
          </p:cNvPr>
          <p:cNvSpPr/>
          <p:nvPr/>
        </p:nvSpPr>
        <p:spPr bwMode="gray">
          <a:xfrm>
            <a:off x="550863" y="5229201"/>
            <a:ext cx="3313112" cy="864096"/>
          </a:xfrm>
          <a:custGeom>
            <a:avLst/>
            <a:gdLst>
              <a:gd name="connsiteX0" fmla="*/ 651291 w 3313112"/>
              <a:gd name="connsiteY0" fmla="*/ 0 h 863625"/>
              <a:gd name="connsiteX1" fmla="*/ 3313112 w 3313112"/>
              <a:gd name="connsiteY1" fmla="*/ 0 h 863625"/>
              <a:gd name="connsiteX2" fmla="*/ 3313112 w 3313112"/>
              <a:gd name="connsiteY2" fmla="*/ 863625 h 863625"/>
              <a:gd name="connsiteX3" fmla="*/ 0 w 3313112"/>
              <a:gd name="connsiteY3" fmla="*/ 863625 h 86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112" h="863625">
                <a:moveTo>
                  <a:pt x="651291" y="0"/>
                </a:moveTo>
                <a:lnTo>
                  <a:pt x="3313112" y="0"/>
                </a:lnTo>
                <a:lnTo>
                  <a:pt x="3313112" y="863625"/>
                </a:lnTo>
                <a:lnTo>
                  <a:pt x="0" y="86362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C76973DE-254F-4FCE-B2B8-574DB7E58DFF}"/>
              </a:ext>
            </a:extLst>
          </p:cNvPr>
          <p:cNvSpPr/>
          <p:nvPr/>
        </p:nvSpPr>
        <p:spPr bwMode="gray">
          <a:xfrm>
            <a:off x="1202061" y="4364981"/>
            <a:ext cx="2661915" cy="864219"/>
          </a:xfrm>
          <a:custGeom>
            <a:avLst/>
            <a:gdLst>
              <a:gd name="connsiteX0" fmla="*/ 651739 w 2661915"/>
              <a:gd name="connsiteY0" fmla="*/ 0 h 864219"/>
              <a:gd name="connsiteX1" fmla="*/ 2661915 w 2661915"/>
              <a:gd name="connsiteY1" fmla="*/ 0 h 864219"/>
              <a:gd name="connsiteX2" fmla="*/ 2661915 w 2661915"/>
              <a:gd name="connsiteY2" fmla="*/ 864219 h 864219"/>
              <a:gd name="connsiteX3" fmla="*/ 0 w 2661915"/>
              <a:gd name="connsiteY3" fmla="*/ 864219 h 86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1915" h="864219">
                <a:moveTo>
                  <a:pt x="651739" y="0"/>
                </a:moveTo>
                <a:lnTo>
                  <a:pt x="2661915" y="0"/>
                </a:lnTo>
                <a:lnTo>
                  <a:pt x="2661915" y="864219"/>
                </a:lnTo>
                <a:lnTo>
                  <a:pt x="0" y="864219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74E4165D-7F40-4FEA-9F57-7627E5C5BAB8}"/>
              </a:ext>
            </a:extLst>
          </p:cNvPr>
          <p:cNvSpPr/>
          <p:nvPr/>
        </p:nvSpPr>
        <p:spPr bwMode="gray">
          <a:xfrm>
            <a:off x="1853258" y="3500289"/>
            <a:ext cx="2010717" cy="864815"/>
          </a:xfrm>
          <a:custGeom>
            <a:avLst/>
            <a:gdLst>
              <a:gd name="connsiteX0" fmla="*/ 652189 w 2010717"/>
              <a:gd name="connsiteY0" fmla="*/ 0 h 864815"/>
              <a:gd name="connsiteX1" fmla="*/ 2010717 w 2010717"/>
              <a:gd name="connsiteY1" fmla="*/ 0 h 864815"/>
              <a:gd name="connsiteX2" fmla="*/ 2010717 w 2010717"/>
              <a:gd name="connsiteY2" fmla="*/ 864815 h 864815"/>
              <a:gd name="connsiteX3" fmla="*/ 0 w 2010717"/>
              <a:gd name="connsiteY3" fmla="*/ 864815 h 86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717" h="864815">
                <a:moveTo>
                  <a:pt x="652189" y="0"/>
                </a:moveTo>
                <a:lnTo>
                  <a:pt x="2010717" y="0"/>
                </a:lnTo>
                <a:lnTo>
                  <a:pt x="2010717" y="864815"/>
                </a:lnTo>
                <a:lnTo>
                  <a:pt x="0" y="864815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298BC2B1-5CF1-4C5A-AACF-EF5C705625E0}"/>
              </a:ext>
            </a:extLst>
          </p:cNvPr>
          <p:cNvSpPr/>
          <p:nvPr/>
        </p:nvSpPr>
        <p:spPr bwMode="gray">
          <a:xfrm>
            <a:off x="2505447" y="2636912"/>
            <a:ext cx="1358529" cy="864096"/>
          </a:xfrm>
          <a:custGeom>
            <a:avLst/>
            <a:gdLst>
              <a:gd name="connsiteX0" fmla="*/ 651646 w 1358529"/>
              <a:gd name="connsiteY0" fmla="*/ 0 h 864096"/>
              <a:gd name="connsiteX1" fmla="*/ 1358529 w 1358529"/>
              <a:gd name="connsiteY1" fmla="*/ 0 h 864096"/>
              <a:gd name="connsiteX2" fmla="*/ 1358529 w 1358529"/>
              <a:gd name="connsiteY2" fmla="*/ 864096 h 864096"/>
              <a:gd name="connsiteX3" fmla="*/ 0 w 1358529"/>
              <a:gd name="connsiteY3" fmla="*/ 864096 h 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8529" h="864096">
                <a:moveTo>
                  <a:pt x="651646" y="0"/>
                </a:moveTo>
                <a:lnTo>
                  <a:pt x="1358529" y="0"/>
                </a:lnTo>
                <a:lnTo>
                  <a:pt x="1358529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Freihandform: Form 94">
            <a:extLst>
              <a:ext uri="{FF2B5EF4-FFF2-40B4-BE49-F238E27FC236}">
                <a16:creationId xmlns:a16="http://schemas.microsoft.com/office/drawing/2014/main" id="{9106A35C-4C9D-4C69-9007-12C6976F412E}"/>
              </a:ext>
            </a:extLst>
          </p:cNvPr>
          <p:cNvSpPr/>
          <p:nvPr/>
        </p:nvSpPr>
        <p:spPr bwMode="gray">
          <a:xfrm>
            <a:off x="3157093" y="1700214"/>
            <a:ext cx="706882" cy="936698"/>
          </a:xfrm>
          <a:custGeom>
            <a:avLst/>
            <a:gdLst>
              <a:gd name="connsiteX0" fmla="*/ 706399 w 706882"/>
              <a:gd name="connsiteY0" fmla="*/ 0 h 936698"/>
              <a:gd name="connsiteX1" fmla="*/ 706882 w 706882"/>
              <a:gd name="connsiteY1" fmla="*/ 641 h 936698"/>
              <a:gd name="connsiteX2" fmla="*/ 706882 w 706882"/>
              <a:gd name="connsiteY2" fmla="*/ 936698 h 936698"/>
              <a:gd name="connsiteX3" fmla="*/ 0 w 706882"/>
              <a:gd name="connsiteY3" fmla="*/ 936698 h 93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882" h="936698">
                <a:moveTo>
                  <a:pt x="706399" y="0"/>
                </a:moveTo>
                <a:lnTo>
                  <a:pt x="706882" y="641"/>
                </a:lnTo>
                <a:lnTo>
                  <a:pt x="706882" y="936698"/>
                </a:lnTo>
                <a:lnTo>
                  <a:pt x="0" y="936698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4693573"/>
      </p:ext>
    </p:extLst>
  </p:cSld>
  <p:clrMapOvr>
    <a:masterClrMapping/>
  </p:clrMapOvr>
  <p:transition spd="slow"/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iekt 50" hidden="1">
            <a:extLst>
              <a:ext uri="{FF2B5EF4-FFF2-40B4-BE49-F238E27FC236}">
                <a16:creationId xmlns:a16="http://schemas.microsoft.com/office/drawing/2014/main" id="{E45287E6-8AB3-4A2D-BB6E-B317ACB7A7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51" name="Obiekt 50" hidden="1">
                        <a:extLst>
                          <a:ext uri="{FF2B5EF4-FFF2-40B4-BE49-F238E27FC236}">
                            <a16:creationId xmlns:a16="http://schemas.microsoft.com/office/drawing/2014/main" id="{E45287E6-8AB3-4A2D-BB6E-B317ACB7A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rostokąt 17" hidden="1">
            <a:extLst>
              <a:ext uri="{FF2B5EF4-FFF2-40B4-BE49-F238E27FC236}">
                <a16:creationId xmlns:a16="http://schemas.microsoft.com/office/drawing/2014/main" id="{E51DDB73-DF54-472A-9232-610CB56F71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927CFC57-AE51-409A-8D0C-8818C487D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yramid with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1</a:t>
            </a:fld>
            <a:endParaRPr lang="en-US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0BE5F09-81DA-4CCD-8813-617A02173CBE}"/>
              </a:ext>
            </a:extLst>
          </p:cNvPr>
          <p:cNvCxnSpPr>
            <a:cxnSpLocks/>
          </p:cNvCxnSpPr>
          <p:nvPr/>
        </p:nvCxnSpPr>
        <p:spPr bwMode="gray">
          <a:xfrm>
            <a:off x="4511675" y="2636912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7">
            <a:extLst>
              <a:ext uri="{FF2B5EF4-FFF2-40B4-BE49-F238E27FC236}">
                <a16:creationId xmlns:a16="http://schemas.microsoft.com/office/drawing/2014/main" id="{A97C3114-F3AC-4EBE-A55A-EB3FD736CC0F}"/>
              </a:ext>
            </a:extLst>
          </p:cNvPr>
          <p:cNvSpPr txBox="1">
            <a:spLocks/>
          </p:cNvSpPr>
          <p:nvPr/>
        </p:nvSpPr>
        <p:spPr bwMode="gray">
          <a:xfrm>
            <a:off x="4511824" y="1700808"/>
            <a:ext cx="7200000" cy="936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DB9E1D8-9FDB-4D2C-887F-13EB2B7627EC}"/>
              </a:ext>
            </a:extLst>
          </p:cNvPr>
          <p:cNvCxnSpPr>
            <a:cxnSpLocks/>
          </p:cNvCxnSpPr>
          <p:nvPr/>
        </p:nvCxnSpPr>
        <p:spPr bwMode="gray">
          <a:xfrm>
            <a:off x="4511675" y="3501008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nhaltsplatzhalter 7">
            <a:extLst>
              <a:ext uri="{FF2B5EF4-FFF2-40B4-BE49-F238E27FC236}">
                <a16:creationId xmlns:a16="http://schemas.microsoft.com/office/drawing/2014/main" id="{09D36B90-955A-4B7B-9562-697F8F603F38}"/>
              </a:ext>
            </a:extLst>
          </p:cNvPr>
          <p:cNvSpPr txBox="1">
            <a:spLocks/>
          </p:cNvSpPr>
          <p:nvPr/>
        </p:nvSpPr>
        <p:spPr bwMode="gray">
          <a:xfrm>
            <a:off x="4511824" y="2636912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92E4D5A-766C-4D53-A438-FDBA5B555109}"/>
              </a:ext>
            </a:extLst>
          </p:cNvPr>
          <p:cNvCxnSpPr>
            <a:cxnSpLocks/>
          </p:cNvCxnSpPr>
          <p:nvPr/>
        </p:nvCxnSpPr>
        <p:spPr bwMode="gray">
          <a:xfrm>
            <a:off x="4511675" y="4365104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Inhaltsplatzhalter 7">
            <a:extLst>
              <a:ext uri="{FF2B5EF4-FFF2-40B4-BE49-F238E27FC236}">
                <a16:creationId xmlns:a16="http://schemas.microsoft.com/office/drawing/2014/main" id="{FB525538-3DF4-4DA1-A8A8-B3A7EB66DE1C}"/>
              </a:ext>
            </a:extLst>
          </p:cNvPr>
          <p:cNvSpPr txBox="1">
            <a:spLocks/>
          </p:cNvSpPr>
          <p:nvPr/>
        </p:nvSpPr>
        <p:spPr bwMode="gray">
          <a:xfrm>
            <a:off x="4511824" y="3501008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B2029BA-2A81-4279-9BEB-47AA50F9A1B7}"/>
              </a:ext>
            </a:extLst>
          </p:cNvPr>
          <p:cNvCxnSpPr>
            <a:cxnSpLocks/>
          </p:cNvCxnSpPr>
          <p:nvPr/>
        </p:nvCxnSpPr>
        <p:spPr bwMode="gray">
          <a:xfrm>
            <a:off x="4511675" y="5229200"/>
            <a:ext cx="72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Inhaltsplatzhalter 7">
            <a:extLst>
              <a:ext uri="{FF2B5EF4-FFF2-40B4-BE49-F238E27FC236}">
                <a16:creationId xmlns:a16="http://schemas.microsoft.com/office/drawing/2014/main" id="{797CC86F-BB60-4695-B525-5389F62D4C38}"/>
              </a:ext>
            </a:extLst>
          </p:cNvPr>
          <p:cNvSpPr txBox="1">
            <a:spLocks/>
          </p:cNvSpPr>
          <p:nvPr/>
        </p:nvSpPr>
        <p:spPr bwMode="gray">
          <a:xfrm>
            <a:off x="4511824" y="4365104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40" name="Inhaltsplatzhalter 7">
            <a:extLst>
              <a:ext uri="{FF2B5EF4-FFF2-40B4-BE49-F238E27FC236}">
                <a16:creationId xmlns:a16="http://schemas.microsoft.com/office/drawing/2014/main" id="{7BAC512B-F36C-455C-AB6D-7D2232A4A196}"/>
              </a:ext>
            </a:extLst>
          </p:cNvPr>
          <p:cNvSpPr txBox="1">
            <a:spLocks/>
          </p:cNvSpPr>
          <p:nvPr/>
        </p:nvSpPr>
        <p:spPr bwMode="gray">
          <a:xfrm>
            <a:off x="4511824" y="5229200"/>
            <a:ext cx="7200000" cy="86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91" name="Freihandform: Form 90">
            <a:extLst>
              <a:ext uri="{FF2B5EF4-FFF2-40B4-BE49-F238E27FC236}">
                <a16:creationId xmlns:a16="http://schemas.microsoft.com/office/drawing/2014/main" id="{283B1BDC-1F93-4CB2-8A48-F5B918EFF253}"/>
              </a:ext>
            </a:extLst>
          </p:cNvPr>
          <p:cNvSpPr/>
          <p:nvPr/>
        </p:nvSpPr>
        <p:spPr bwMode="gray">
          <a:xfrm>
            <a:off x="550863" y="5229201"/>
            <a:ext cx="3313112" cy="864096"/>
          </a:xfrm>
          <a:custGeom>
            <a:avLst/>
            <a:gdLst>
              <a:gd name="connsiteX0" fmla="*/ 651291 w 3313112"/>
              <a:gd name="connsiteY0" fmla="*/ 0 h 863625"/>
              <a:gd name="connsiteX1" fmla="*/ 3313112 w 3313112"/>
              <a:gd name="connsiteY1" fmla="*/ 0 h 863625"/>
              <a:gd name="connsiteX2" fmla="*/ 3313112 w 3313112"/>
              <a:gd name="connsiteY2" fmla="*/ 863625 h 863625"/>
              <a:gd name="connsiteX3" fmla="*/ 0 w 3313112"/>
              <a:gd name="connsiteY3" fmla="*/ 863625 h 86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112" h="863625">
                <a:moveTo>
                  <a:pt x="651291" y="0"/>
                </a:moveTo>
                <a:lnTo>
                  <a:pt x="3313112" y="0"/>
                </a:lnTo>
                <a:lnTo>
                  <a:pt x="3313112" y="863625"/>
                </a:lnTo>
                <a:lnTo>
                  <a:pt x="0" y="863625"/>
                </a:lnTo>
                <a:close/>
              </a:path>
            </a:pathLst>
          </a:custGeom>
          <a:solidFill>
            <a:srgbClr val="E3485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C76973DE-254F-4FCE-B2B8-574DB7E58DFF}"/>
              </a:ext>
            </a:extLst>
          </p:cNvPr>
          <p:cNvSpPr/>
          <p:nvPr/>
        </p:nvSpPr>
        <p:spPr bwMode="gray">
          <a:xfrm>
            <a:off x="1202061" y="4364981"/>
            <a:ext cx="2661915" cy="864219"/>
          </a:xfrm>
          <a:custGeom>
            <a:avLst/>
            <a:gdLst>
              <a:gd name="connsiteX0" fmla="*/ 651739 w 2661915"/>
              <a:gd name="connsiteY0" fmla="*/ 0 h 864219"/>
              <a:gd name="connsiteX1" fmla="*/ 2661915 w 2661915"/>
              <a:gd name="connsiteY1" fmla="*/ 0 h 864219"/>
              <a:gd name="connsiteX2" fmla="*/ 2661915 w 2661915"/>
              <a:gd name="connsiteY2" fmla="*/ 864219 h 864219"/>
              <a:gd name="connsiteX3" fmla="*/ 0 w 2661915"/>
              <a:gd name="connsiteY3" fmla="*/ 864219 h 86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1915" h="864219">
                <a:moveTo>
                  <a:pt x="651739" y="0"/>
                </a:moveTo>
                <a:lnTo>
                  <a:pt x="2661915" y="0"/>
                </a:lnTo>
                <a:lnTo>
                  <a:pt x="2661915" y="864219"/>
                </a:lnTo>
                <a:lnTo>
                  <a:pt x="0" y="864219"/>
                </a:lnTo>
                <a:close/>
              </a:path>
            </a:pathLst>
          </a:custGeom>
          <a:solidFill>
            <a:srgbClr val="2EA6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74E4165D-7F40-4FEA-9F57-7627E5C5BAB8}"/>
              </a:ext>
            </a:extLst>
          </p:cNvPr>
          <p:cNvSpPr/>
          <p:nvPr/>
        </p:nvSpPr>
        <p:spPr bwMode="gray">
          <a:xfrm>
            <a:off x="1853258" y="3500289"/>
            <a:ext cx="2010717" cy="864815"/>
          </a:xfrm>
          <a:custGeom>
            <a:avLst/>
            <a:gdLst>
              <a:gd name="connsiteX0" fmla="*/ 652189 w 2010717"/>
              <a:gd name="connsiteY0" fmla="*/ 0 h 864815"/>
              <a:gd name="connsiteX1" fmla="*/ 2010717 w 2010717"/>
              <a:gd name="connsiteY1" fmla="*/ 0 h 864815"/>
              <a:gd name="connsiteX2" fmla="*/ 2010717 w 2010717"/>
              <a:gd name="connsiteY2" fmla="*/ 864815 h 864815"/>
              <a:gd name="connsiteX3" fmla="*/ 0 w 2010717"/>
              <a:gd name="connsiteY3" fmla="*/ 864815 h 86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717" h="864815">
                <a:moveTo>
                  <a:pt x="652189" y="0"/>
                </a:moveTo>
                <a:lnTo>
                  <a:pt x="2010717" y="0"/>
                </a:lnTo>
                <a:lnTo>
                  <a:pt x="2010717" y="864815"/>
                </a:lnTo>
                <a:lnTo>
                  <a:pt x="0" y="864815"/>
                </a:lnTo>
                <a:close/>
              </a:path>
            </a:pathLst>
          </a:custGeom>
          <a:solidFill>
            <a:srgbClr val="AA8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298BC2B1-5CF1-4C5A-AACF-EF5C705625E0}"/>
              </a:ext>
            </a:extLst>
          </p:cNvPr>
          <p:cNvSpPr/>
          <p:nvPr/>
        </p:nvSpPr>
        <p:spPr bwMode="gray">
          <a:xfrm>
            <a:off x="2505447" y="2636912"/>
            <a:ext cx="1358529" cy="864096"/>
          </a:xfrm>
          <a:custGeom>
            <a:avLst/>
            <a:gdLst>
              <a:gd name="connsiteX0" fmla="*/ 651646 w 1358529"/>
              <a:gd name="connsiteY0" fmla="*/ 0 h 864096"/>
              <a:gd name="connsiteX1" fmla="*/ 1358529 w 1358529"/>
              <a:gd name="connsiteY1" fmla="*/ 0 h 864096"/>
              <a:gd name="connsiteX2" fmla="*/ 1358529 w 1358529"/>
              <a:gd name="connsiteY2" fmla="*/ 864096 h 864096"/>
              <a:gd name="connsiteX3" fmla="*/ 0 w 1358529"/>
              <a:gd name="connsiteY3" fmla="*/ 864096 h 864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8529" h="864096">
                <a:moveTo>
                  <a:pt x="651646" y="0"/>
                </a:moveTo>
                <a:lnTo>
                  <a:pt x="1358529" y="0"/>
                </a:lnTo>
                <a:lnTo>
                  <a:pt x="1358529" y="864096"/>
                </a:lnTo>
                <a:lnTo>
                  <a:pt x="0" y="864096"/>
                </a:lnTo>
                <a:close/>
              </a:path>
            </a:pathLst>
          </a:custGeom>
          <a:solidFill>
            <a:srgbClr val="5789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Freihandform: Form 94">
            <a:extLst>
              <a:ext uri="{FF2B5EF4-FFF2-40B4-BE49-F238E27FC236}">
                <a16:creationId xmlns:a16="http://schemas.microsoft.com/office/drawing/2014/main" id="{9106A35C-4C9D-4C69-9007-12C6976F412E}"/>
              </a:ext>
            </a:extLst>
          </p:cNvPr>
          <p:cNvSpPr/>
          <p:nvPr/>
        </p:nvSpPr>
        <p:spPr bwMode="gray">
          <a:xfrm>
            <a:off x="3157093" y="1700214"/>
            <a:ext cx="706882" cy="936698"/>
          </a:xfrm>
          <a:custGeom>
            <a:avLst/>
            <a:gdLst>
              <a:gd name="connsiteX0" fmla="*/ 706399 w 706882"/>
              <a:gd name="connsiteY0" fmla="*/ 0 h 936698"/>
              <a:gd name="connsiteX1" fmla="*/ 706882 w 706882"/>
              <a:gd name="connsiteY1" fmla="*/ 641 h 936698"/>
              <a:gd name="connsiteX2" fmla="*/ 706882 w 706882"/>
              <a:gd name="connsiteY2" fmla="*/ 936698 h 936698"/>
              <a:gd name="connsiteX3" fmla="*/ 0 w 706882"/>
              <a:gd name="connsiteY3" fmla="*/ 936698 h 93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882" h="936698">
                <a:moveTo>
                  <a:pt x="706399" y="0"/>
                </a:moveTo>
                <a:lnTo>
                  <a:pt x="706882" y="641"/>
                </a:lnTo>
                <a:lnTo>
                  <a:pt x="706882" y="936698"/>
                </a:lnTo>
                <a:lnTo>
                  <a:pt x="0" y="936698"/>
                </a:lnTo>
                <a:close/>
              </a:path>
            </a:pathLst>
          </a:custGeom>
          <a:solidFill>
            <a:srgbClr val="EB6F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/>
          <a:p>
            <a:pPr algn="ctr">
              <a:lnSpc>
                <a:spcPct val="12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62326826"/>
      </p:ext>
    </p:extLst>
  </p:cSld>
  <p:clrMapOvr>
    <a:masterClrMapping/>
  </p:clrMapOvr>
  <p:transition spd="slow"/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9E4DB1A7-0789-46DA-A7F9-B5C0BDDEDC9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9E4DB1A7-0789-46DA-A7F9-B5C0BDDED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id="{A97ACECB-9626-4196-8E45-0E8DDCDE4BC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5" name="Bildplatzhalter 24">
            <a:extLst>
              <a:ext uri="{FF2B5EF4-FFF2-40B4-BE49-F238E27FC236}">
                <a16:creationId xmlns:a16="http://schemas.microsoft.com/office/drawing/2014/main" id="{FF7DAE9C-5DA4-4F92-8F0A-3B017CA73214}"/>
              </a:ext>
            </a:extLst>
          </p:cNvPr>
          <p:cNvPicPr>
            <a:picLocks noGrp="1"/>
          </p:cNvPicPr>
          <p:nvPr>
            <p:ph type="pic" sz="quarter" idx="15"/>
            <p:custDataLst>
              <p:tags r:id="rId5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0" r="18210"/>
          <a:stretch/>
        </p:blipFill>
        <p:spPr/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4E9DD689-F67A-4BAF-84FD-12D119B96EA2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Photo with copy aside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81F7337D-F8C8-4627-A213-BBDB10F0E34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Lorem ipsum</a:t>
            </a:r>
          </a:p>
          <a:p>
            <a:pPr lvl="1"/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diam</a:t>
            </a:r>
            <a:r>
              <a:rPr lang="en-US" dirty="0" smtClean="0"/>
              <a:t> </a:t>
            </a:r>
            <a:r>
              <a:rPr lang="en-US" dirty="0" err="1" smtClean="0"/>
              <a:t>nonummy</a:t>
            </a:r>
            <a:r>
              <a:rPr lang="en-US" dirty="0" smtClean="0"/>
              <a:t> </a:t>
            </a:r>
            <a:r>
              <a:rPr lang="en-US" dirty="0" err="1" smtClean="0"/>
              <a:t>nibh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esther</a:t>
            </a:r>
            <a:r>
              <a:rPr lang="en-US" dirty="0" smtClean="0"/>
              <a:t> </a:t>
            </a:r>
            <a:r>
              <a:rPr lang="en-US" dirty="0" err="1" smtClean="0"/>
              <a:t>euismod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magna vitae ad </a:t>
            </a:r>
            <a:r>
              <a:rPr lang="en-US" dirty="0" err="1" smtClean="0"/>
              <a:t>aliquam</a:t>
            </a:r>
            <a:r>
              <a:rPr lang="en-US" dirty="0" smtClean="0"/>
              <a:t> </a:t>
            </a:r>
            <a:r>
              <a:rPr lang="en-US" dirty="0" err="1" smtClean="0"/>
              <a:t>erat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.</a:t>
            </a:r>
          </a:p>
          <a:p>
            <a:pPr lvl="1"/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wisi</a:t>
            </a:r>
            <a:r>
              <a:rPr lang="en-US" dirty="0" smtClean="0"/>
              <a:t> </a:t>
            </a:r>
            <a:r>
              <a:rPr lang="en-US" dirty="0" err="1" smtClean="0"/>
              <a:t>enim</a:t>
            </a:r>
            <a:r>
              <a:rPr lang="en-US" dirty="0" smtClean="0"/>
              <a:t> ad minim </a:t>
            </a:r>
            <a:r>
              <a:rPr lang="en-US" dirty="0" err="1" smtClean="0"/>
              <a:t>nostrud</a:t>
            </a:r>
            <a:r>
              <a:rPr lang="en-US" dirty="0" smtClean="0"/>
              <a:t> ex </a:t>
            </a:r>
            <a:r>
              <a:rPr lang="en-US" dirty="0" err="1" smtClean="0"/>
              <a:t>ea</a:t>
            </a:r>
            <a:r>
              <a:rPr lang="en-US" dirty="0" smtClean="0"/>
              <a:t> </a:t>
            </a:r>
            <a:r>
              <a:rPr lang="en-US" dirty="0" err="1" smtClean="0"/>
              <a:t>commodo</a:t>
            </a:r>
            <a:r>
              <a:rPr lang="en-US" dirty="0" smtClean="0"/>
              <a:t> </a:t>
            </a:r>
            <a:r>
              <a:rPr lang="en-US" dirty="0" err="1" smtClean="0"/>
              <a:t>consequa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6182702"/>
      </p:ext>
    </p:extLst>
  </p:cSld>
  <p:clrMapOvr>
    <a:masterClrMapping/>
  </p:clrMapOvr>
  <p:transition spd="slow"/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9E4DB1A7-0789-46DA-A7F9-B5C0BDDEDC9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9E4DB1A7-0789-46DA-A7F9-B5C0BDDED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id="{A97ACECB-9626-4196-8E45-0E8DDCDE4BC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E9DD689-F67A-4BAF-84FD-12D119B96EA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Photo with copy asid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3</a:t>
            </a:fld>
            <a:endParaRPr lang="en-US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30501A3C-1CFE-49DA-B097-59D518E4F77F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4" r="3894"/>
          <a:stretch/>
        </p:blipFill>
        <p:spPr bwMode="gray">
          <a:xfrm>
            <a:off x="550863" y="1700214"/>
            <a:ext cx="7200901" cy="4392612"/>
          </a:xfrm>
          <a:prstGeom prst="rect">
            <a:avLst/>
          </a:prstGeom>
        </p:spPr>
      </p:pic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B6274836-2085-4021-9A2C-5359D9EDE119}"/>
              </a:ext>
            </a:extLst>
          </p:cNvPr>
          <p:cNvSpPr txBox="1">
            <a:spLocks/>
          </p:cNvSpPr>
          <p:nvPr/>
        </p:nvSpPr>
        <p:spPr bwMode="gray">
          <a:xfrm>
            <a:off x="8400256" y="1700213"/>
            <a:ext cx="3312591" cy="439308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 vitae ad aliquam erat volutpat.</a:t>
            </a:r>
          </a:p>
          <a:p>
            <a:pPr lvl="1"/>
            <a:r>
              <a:rPr lang="en-US" dirty="0"/>
              <a:t>Ut wisi enim ad minim nostrud ex ea commodo consequa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9384127"/>
      </p:ext>
    </p:extLst>
  </p:cSld>
  <p:clrMapOvr>
    <a:masterClrMapping/>
  </p:clrMapOvr>
  <p:transition spd="slow"/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9E4DB1A7-0789-46DA-A7F9-B5C0BDDEDC9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Folie" r:id="rId9" imgW="359" imgH="358" progId="TCLayout.ActiveDocument.1">
                  <p:embed/>
                </p:oleObj>
              </mc:Choice>
              <mc:Fallback>
                <p:oleObj name="think-cell Folie" r:id="rId9" imgW="359" imgH="35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9E4DB1A7-0789-46DA-A7F9-B5C0BDDED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>
            <a:extLst>
              <a:ext uri="{FF2B5EF4-FFF2-40B4-BE49-F238E27FC236}">
                <a16:creationId xmlns:a16="http://schemas.microsoft.com/office/drawing/2014/main" id="{27CFF401-0B92-481B-B020-706B51E62645}"/>
              </a:ext>
            </a:extLst>
          </p:cNvPr>
          <p:cNvSpPr/>
          <p:nvPr/>
        </p:nvSpPr>
        <p:spPr bwMode="gray">
          <a:xfrm>
            <a:off x="1" y="0"/>
            <a:ext cx="8401049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id="{A97ACECB-9626-4196-8E45-0E8DDCDE4BC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4E9DD689-F67A-4BAF-84FD-12D119B96EA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Photo with copy asid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C913661-8D55-4072-A76A-DAAD8C5D5EB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66DBAC-D9B9-425B-AF45-885F2D6BE3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F33284-861E-4614-83CE-7C4D9486A5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4</a:t>
            </a:fld>
            <a:endParaRPr lang="en-US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30501A3C-1CFE-49DA-B097-59D518E4F77F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4" r="3894"/>
          <a:stretch/>
        </p:blipFill>
        <p:spPr bwMode="gray">
          <a:xfrm>
            <a:off x="550863" y="1700214"/>
            <a:ext cx="7200901" cy="4392612"/>
          </a:xfrm>
          <a:prstGeom prst="rect">
            <a:avLst/>
          </a:prstGeom>
        </p:spPr>
      </p:pic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FCA0E5E8-8E56-4EF7-BDC6-91FD92CE01A9}"/>
              </a:ext>
            </a:extLst>
          </p:cNvPr>
          <p:cNvSpPr txBox="1">
            <a:spLocks/>
          </p:cNvSpPr>
          <p:nvPr/>
        </p:nvSpPr>
        <p:spPr bwMode="gray">
          <a:xfrm>
            <a:off x="9048328" y="1700213"/>
            <a:ext cx="2664519" cy="439273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sther euismod dolore magna vitae ad aliquam erat volutpat.</a:t>
            </a:r>
          </a:p>
          <a:p>
            <a:pPr lvl="1"/>
            <a:r>
              <a:rPr lang="en-US" dirty="0"/>
              <a:t>Ut wisi enim ad minim nostrud ex ea commodo consequa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02071924"/>
      </p:ext>
    </p:extLst>
  </p:cSld>
  <p:clrMapOvr>
    <a:masterClrMapping/>
  </p:clrMapOvr>
  <p:transition spd="slow"/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iekt 12" hidden="1">
            <a:extLst>
              <a:ext uri="{FF2B5EF4-FFF2-40B4-BE49-F238E27FC236}">
                <a16:creationId xmlns:a16="http://schemas.microsoft.com/office/drawing/2014/main" id="{BAE00F5D-63BB-4DE8-9AE8-27351240F7A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13" name="Obiekt 12" hidden="1">
                        <a:extLst>
                          <a:ext uri="{FF2B5EF4-FFF2-40B4-BE49-F238E27FC236}">
                            <a16:creationId xmlns:a16="http://schemas.microsoft.com/office/drawing/2014/main" id="{BAE00F5D-63BB-4DE8-9AE8-27351240F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rostokąt 11" hidden="1">
            <a:extLst>
              <a:ext uri="{FF2B5EF4-FFF2-40B4-BE49-F238E27FC236}">
                <a16:creationId xmlns:a16="http://schemas.microsoft.com/office/drawing/2014/main" id="{7D87407A-7BAC-484E-8DD5-C86236FEFCB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0" name="Bildplatzhalter 39">
            <a:extLst>
              <a:ext uri="{FF2B5EF4-FFF2-40B4-BE49-F238E27FC236}">
                <a16:creationId xmlns:a16="http://schemas.microsoft.com/office/drawing/2014/main" id="{0889E11B-6A8D-4588-9852-B37B25CD58E2}"/>
              </a:ext>
            </a:extLst>
          </p:cNvPr>
          <p:cNvPicPr>
            <a:picLocks noGrp="1" noChangeAspect="1"/>
          </p:cNvPicPr>
          <p:nvPr>
            <p:ph type="pic" sz="quarter" idx="15"/>
            <p:custDataLst>
              <p:tags r:id="rId5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4" r="6814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830CCBE6-454D-4E9D-9D6F-E3799BEE6827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Four numbered text boxes with photo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Media Placeholder 22"/>
          <p:cNvSpPr>
            <a:spLocks noGrp="1"/>
          </p:cNvSpPr>
          <p:nvPr>
            <p:ph type="media" sz="quarter" idx="19"/>
          </p:nvPr>
        </p:nvSpPr>
        <p:spPr/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C4F5A7-3203-4DD7-8C57-CA0652426C9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5486D8B-9D88-4F9C-B610-078E59B951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CF6FFCF-7E30-4534-9ACB-4C8A908D153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51" name="Inhaltsplatzhalter 7">
            <a:extLst>
              <a:ext uri="{FF2B5EF4-FFF2-40B4-BE49-F238E27FC236}">
                <a16:creationId xmlns:a16="http://schemas.microsoft.com/office/drawing/2014/main" id="{DC8FD430-AAA7-4BEE-933D-DFB63A549564}"/>
              </a:ext>
            </a:extLst>
          </p:cNvPr>
          <p:cNvSpPr txBox="1">
            <a:spLocks/>
          </p:cNvSpPr>
          <p:nvPr/>
        </p:nvSpPr>
        <p:spPr bwMode="gray">
          <a:xfrm>
            <a:off x="551384" y="2511044"/>
            <a:ext cx="295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52" name="Inhaltsplatzhalter 7">
            <a:extLst>
              <a:ext uri="{FF2B5EF4-FFF2-40B4-BE49-F238E27FC236}">
                <a16:creationId xmlns:a16="http://schemas.microsoft.com/office/drawing/2014/main" id="{1F0FF5D9-BA3C-45EB-996F-01193B471EC8}"/>
              </a:ext>
            </a:extLst>
          </p:cNvPr>
          <p:cNvSpPr txBox="1">
            <a:spLocks/>
          </p:cNvSpPr>
          <p:nvPr/>
        </p:nvSpPr>
        <p:spPr bwMode="gray">
          <a:xfrm>
            <a:off x="4152112" y="2511044"/>
            <a:ext cx="295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55" name="Inhaltsplatzhalter 7">
            <a:extLst>
              <a:ext uri="{FF2B5EF4-FFF2-40B4-BE49-F238E27FC236}">
                <a16:creationId xmlns:a16="http://schemas.microsoft.com/office/drawing/2014/main" id="{8004207C-9CC2-40B7-8B07-658B49733FB7}"/>
              </a:ext>
            </a:extLst>
          </p:cNvPr>
          <p:cNvSpPr txBox="1">
            <a:spLocks/>
          </p:cNvSpPr>
          <p:nvPr/>
        </p:nvSpPr>
        <p:spPr bwMode="gray">
          <a:xfrm>
            <a:off x="551384" y="4781657"/>
            <a:ext cx="295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56" name="Inhaltsplatzhalter 7">
            <a:extLst>
              <a:ext uri="{FF2B5EF4-FFF2-40B4-BE49-F238E27FC236}">
                <a16:creationId xmlns:a16="http://schemas.microsoft.com/office/drawing/2014/main" id="{67E40678-F1FE-4604-BD6D-00E58ED806BB}"/>
              </a:ext>
            </a:extLst>
          </p:cNvPr>
          <p:cNvSpPr txBox="1">
            <a:spLocks/>
          </p:cNvSpPr>
          <p:nvPr/>
        </p:nvSpPr>
        <p:spPr bwMode="gray">
          <a:xfrm>
            <a:off x="4152112" y="4781657"/>
            <a:ext cx="295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2834603C-6866-4BB9-ABD7-D20C9A561FF4}"/>
              </a:ext>
            </a:extLst>
          </p:cNvPr>
          <p:cNvSpPr txBox="1">
            <a:spLocks/>
          </p:cNvSpPr>
          <p:nvPr/>
        </p:nvSpPr>
        <p:spPr bwMode="gray">
          <a:xfrm>
            <a:off x="5513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9DD19C98-A9FE-42E3-81A2-810ED4271F82}"/>
              </a:ext>
            </a:extLst>
          </p:cNvPr>
          <p:cNvSpPr txBox="1">
            <a:spLocks/>
          </p:cNvSpPr>
          <p:nvPr/>
        </p:nvSpPr>
        <p:spPr bwMode="gray">
          <a:xfrm>
            <a:off x="4152112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25" name="Inhaltsplatzhalter 6">
            <a:extLst>
              <a:ext uri="{FF2B5EF4-FFF2-40B4-BE49-F238E27FC236}">
                <a16:creationId xmlns:a16="http://schemas.microsoft.com/office/drawing/2014/main" id="{7D02E14B-4C8E-4726-8883-0E8BE31E2EA9}"/>
              </a:ext>
            </a:extLst>
          </p:cNvPr>
          <p:cNvSpPr txBox="1">
            <a:spLocks/>
          </p:cNvSpPr>
          <p:nvPr/>
        </p:nvSpPr>
        <p:spPr bwMode="gray">
          <a:xfrm>
            <a:off x="551384" y="4619521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26" name="Inhaltsplatzhalter 6">
            <a:extLst>
              <a:ext uri="{FF2B5EF4-FFF2-40B4-BE49-F238E27FC236}">
                <a16:creationId xmlns:a16="http://schemas.microsoft.com/office/drawing/2014/main" id="{B85CE8E2-4FE4-4F35-9CD9-02539BD6318C}"/>
              </a:ext>
            </a:extLst>
          </p:cNvPr>
          <p:cNvSpPr txBox="1">
            <a:spLocks/>
          </p:cNvSpPr>
          <p:nvPr/>
        </p:nvSpPr>
        <p:spPr bwMode="gray">
          <a:xfrm>
            <a:off x="4152112" y="4619521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0610757"/>
      </p:ext>
    </p:extLst>
  </p:cSld>
  <p:clrMapOvr>
    <a:masterClrMapping/>
  </p:clrMapOvr>
  <p:transition spd="slow"/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iekt 12" hidden="1">
            <a:extLst>
              <a:ext uri="{FF2B5EF4-FFF2-40B4-BE49-F238E27FC236}">
                <a16:creationId xmlns:a16="http://schemas.microsoft.com/office/drawing/2014/main" id="{BAE00F5D-63BB-4DE8-9AE8-27351240F7A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13" name="Obiekt 12" hidden="1">
                        <a:extLst>
                          <a:ext uri="{FF2B5EF4-FFF2-40B4-BE49-F238E27FC236}">
                            <a16:creationId xmlns:a16="http://schemas.microsoft.com/office/drawing/2014/main" id="{BAE00F5D-63BB-4DE8-9AE8-27351240F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rostokąt 11" hidden="1">
            <a:extLst>
              <a:ext uri="{FF2B5EF4-FFF2-40B4-BE49-F238E27FC236}">
                <a16:creationId xmlns:a16="http://schemas.microsoft.com/office/drawing/2014/main" id="{7D87407A-7BAC-484E-8DD5-C86236FEFCB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30CCBE6-454D-4E9D-9D6F-E3799BEE6827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Four numbered text boxes with photo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6</a:t>
            </a:fld>
            <a:endParaRPr lang="en-US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5C3E2966-1772-481F-A89A-230D41073CE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" b="30"/>
          <a:stretch/>
        </p:blipFill>
        <p:spPr bwMode="gray">
          <a:xfrm>
            <a:off x="8400256" y="1701000"/>
            <a:ext cx="3313113" cy="4392000"/>
          </a:xfrm>
          <a:prstGeom prst="rect">
            <a:avLst/>
          </a:prstGeom>
          <a:ln>
            <a:noFill/>
          </a:ln>
        </p:spPr>
      </p:pic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BA2606B3-5F4F-4EED-8CFF-369EB09658C5}"/>
              </a:ext>
            </a:extLst>
          </p:cNvPr>
          <p:cNvSpPr txBox="1">
            <a:spLocks/>
          </p:cNvSpPr>
          <p:nvPr/>
        </p:nvSpPr>
        <p:spPr bwMode="gray">
          <a:xfrm>
            <a:off x="551384" y="2511044"/>
            <a:ext cx="331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77F3EC01-4064-4F5C-8597-5B4E201FBC8D}"/>
              </a:ext>
            </a:extLst>
          </p:cNvPr>
          <p:cNvSpPr txBox="1">
            <a:spLocks/>
          </p:cNvSpPr>
          <p:nvPr/>
        </p:nvSpPr>
        <p:spPr bwMode="gray">
          <a:xfrm>
            <a:off x="4512184" y="2511044"/>
            <a:ext cx="3240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C891DB4B-B13C-45FB-942A-637D7EB9CA2E}"/>
              </a:ext>
            </a:extLst>
          </p:cNvPr>
          <p:cNvSpPr txBox="1">
            <a:spLocks/>
          </p:cNvSpPr>
          <p:nvPr/>
        </p:nvSpPr>
        <p:spPr bwMode="gray">
          <a:xfrm>
            <a:off x="551384" y="4781657"/>
            <a:ext cx="3312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29" name="Inhaltsplatzhalter 7">
            <a:extLst>
              <a:ext uri="{FF2B5EF4-FFF2-40B4-BE49-F238E27FC236}">
                <a16:creationId xmlns:a16="http://schemas.microsoft.com/office/drawing/2014/main" id="{1026DAB1-4A69-4E4F-9A92-4D8C2DE9BDB8}"/>
              </a:ext>
            </a:extLst>
          </p:cNvPr>
          <p:cNvSpPr txBox="1">
            <a:spLocks/>
          </p:cNvSpPr>
          <p:nvPr/>
        </p:nvSpPr>
        <p:spPr bwMode="gray">
          <a:xfrm>
            <a:off x="4512184" y="4781657"/>
            <a:ext cx="3240000" cy="131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 dolor sit amet</a:t>
            </a:r>
          </a:p>
          <a:p>
            <a:pPr lvl="1"/>
            <a:r>
              <a:rPr lang="en-US" dirty="0"/>
              <a:t>Maecenas porttitor congue massa. Fusce posuere.</a:t>
            </a:r>
          </a:p>
        </p:txBody>
      </p:sp>
      <p:sp>
        <p:nvSpPr>
          <p:cNvPr id="30" name="Inhaltsplatzhalter 6">
            <a:extLst>
              <a:ext uri="{FF2B5EF4-FFF2-40B4-BE49-F238E27FC236}">
                <a16:creationId xmlns:a16="http://schemas.microsoft.com/office/drawing/2014/main" id="{C218A3A4-6E18-4FF9-8087-B443C5DA8220}"/>
              </a:ext>
            </a:extLst>
          </p:cNvPr>
          <p:cNvSpPr txBox="1">
            <a:spLocks/>
          </p:cNvSpPr>
          <p:nvPr/>
        </p:nvSpPr>
        <p:spPr bwMode="gray">
          <a:xfrm>
            <a:off x="5513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9122BB09-45F6-4AAF-804A-B6A8FF7FF9FA}"/>
              </a:ext>
            </a:extLst>
          </p:cNvPr>
          <p:cNvSpPr txBox="1">
            <a:spLocks/>
          </p:cNvSpPr>
          <p:nvPr/>
        </p:nvSpPr>
        <p:spPr bwMode="gray">
          <a:xfrm>
            <a:off x="4512184" y="2348888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AE5F63F2-DBA7-4DAD-BEEF-D0999DC6B54A}"/>
              </a:ext>
            </a:extLst>
          </p:cNvPr>
          <p:cNvSpPr txBox="1">
            <a:spLocks/>
          </p:cNvSpPr>
          <p:nvPr/>
        </p:nvSpPr>
        <p:spPr bwMode="gray">
          <a:xfrm>
            <a:off x="551384" y="4619521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33" name="Inhaltsplatzhalter 6">
            <a:extLst>
              <a:ext uri="{FF2B5EF4-FFF2-40B4-BE49-F238E27FC236}">
                <a16:creationId xmlns:a16="http://schemas.microsoft.com/office/drawing/2014/main" id="{ACD7315D-6763-47A1-921B-2D8F61EE3717}"/>
              </a:ext>
            </a:extLst>
          </p:cNvPr>
          <p:cNvSpPr txBox="1">
            <a:spLocks/>
          </p:cNvSpPr>
          <p:nvPr/>
        </p:nvSpPr>
        <p:spPr bwMode="gray">
          <a:xfrm>
            <a:off x="4512184" y="4619521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29535251"/>
      </p:ext>
    </p:extLst>
  </p:cSld>
  <p:clrMapOvr>
    <a:masterClrMapping/>
  </p:clrMapOvr>
  <p:transition spd="slow"/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301FCD2C-6121-4348-B658-4F8241AF6C6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301FCD2C-6121-4348-B658-4F8241AF6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 hidden="1">
            <a:extLst>
              <a:ext uri="{FF2B5EF4-FFF2-40B4-BE49-F238E27FC236}">
                <a16:creationId xmlns:a16="http://schemas.microsoft.com/office/drawing/2014/main" id="{3524624F-6FCD-4C40-8D09-A6887710455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5" name="Bildplatzhalter 39">
            <a:extLst>
              <a:ext uri="{FF2B5EF4-FFF2-40B4-BE49-F238E27FC236}">
                <a16:creationId xmlns:a16="http://schemas.microsoft.com/office/drawing/2014/main" id="{0A5C57EA-2F11-489A-A7A3-14437FCB98C4}"/>
              </a:ext>
            </a:extLst>
          </p:cNvPr>
          <p:cNvPicPr>
            <a:picLocks noGrp="1" noChangeAspect="1"/>
          </p:cNvPicPr>
          <p:nvPr>
            <p:ph type="pic" sz="quarter" idx="15"/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9" r="6369"/>
          <a:stretch/>
        </p:blipFill>
        <p:spPr/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A2733F71-3620-4FA7-A892-9A68A5591D9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Four text boxes with photo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72" name="Grupa 102">
            <a:extLst>
              <a:ext uri="{FF2B5EF4-FFF2-40B4-BE49-F238E27FC236}">
                <a16:creationId xmlns:a16="http://schemas.microsoft.com/office/drawing/2014/main" id="{F085007C-42A2-44EC-BA42-FD45E482AB2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60591" y="1701000"/>
            <a:ext cx="707685" cy="648000"/>
            <a:chOff x="11176000" y="3582988"/>
            <a:chExt cx="527050" cy="482600"/>
          </a:xfrm>
        </p:grpSpPr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88BF15F1-94DC-4A8C-B504-CD004D4867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02BB317F-17EC-4E9E-B743-4997CAC8A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C5C6EFD5-6F4A-4132-9CB9-475933675D2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3">
              <a:extLst>
                <a:ext uri="{FF2B5EF4-FFF2-40B4-BE49-F238E27FC236}">
                  <a16:creationId xmlns:a16="http://schemas.microsoft.com/office/drawing/2014/main" id="{28EB6D68-9B5F-41F3-B8BC-6928E69C78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4">
              <a:extLst>
                <a:ext uri="{FF2B5EF4-FFF2-40B4-BE49-F238E27FC236}">
                  <a16:creationId xmlns:a16="http://schemas.microsoft.com/office/drawing/2014/main" id="{13D3862F-8A61-4C9B-B242-66268A7C37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5">
              <a:extLst>
                <a:ext uri="{FF2B5EF4-FFF2-40B4-BE49-F238E27FC236}">
                  <a16:creationId xmlns:a16="http://schemas.microsoft.com/office/drawing/2014/main" id="{DE4F6726-B836-4259-B89C-2955C247E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5" name="Inhaltsplatzhalter 7">
            <a:extLst>
              <a:ext uri="{FF2B5EF4-FFF2-40B4-BE49-F238E27FC236}">
                <a16:creationId xmlns:a16="http://schemas.microsoft.com/office/drawing/2014/main" id="{F4463372-1369-489E-998B-4D89B393ABE2}"/>
              </a:ext>
            </a:extLst>
          </p:cNvPr>
          <p:cNvSpPr txBox="1">
            <a:spLocks/>
          </p:cNvSpPr>
          <p:nvPr/>
        </p:nvSpPr>
        <p:spPr bwMode="gray">
          <a:xfrm>
            <a:off x="5160224" y="2492896"/>
            <a:ext cx="295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.</a:t>
            </a:r>
          </a:p>
        </p:txBody>
      </p:sp>
      <p:sp>
        <p:nvSpPr>
          <p:cNvPr id="96" name="Inhaltsplatzhalter 7">
            <a:extLst>
              <a:ext uri="{FF2B5EF4-FFF2-40B4-BE49-F238E27FC236}">
                <a16:creationId xmlns:a16="http://schemas.microsoft.com/office/drawing/2014/main" id="{AD782EAC-9E2B-4434-9407-BB588E37C2D2}"/>
              </a:ext>
            </a:extLst>
          </p:cNvPr>
          <p:cNvSpPr txBox="1">
            <a:spLocks/>
          </p:cNvSpPr>
          <p:nvPr/>
        </p:nvSpPr>
        <p:spPr bwMode="gray">
          <a:xfrm>
            <a:off x="8760624" y="2492896"/>
            <a:ext cx="295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.</a:t>
            </a:r>
          </a:p>
        </p:txBody>
      </p:sp>
      <p:grpSp>
        <p:nvGrpSpPr>
          <p:cNvPr id="104" name="Grupa 61">
            <a:extLst>
              <a:ext uri="{FF2B5EF4-FFF2-40B4-BE49-F238E27FC236}">
                <a16:creationId xmlns:a16="http://schemas.microsoft.com/office/drawing/2014/main" id="{9C18B2A5-6A60-481F-A90B-C931AF45598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60224" y="4149400"/>
            <a:ext cx="605873" cy="648000"/>
            <a:chOff x="11225213" y="2628901"/>
            <a:chExt cx="479425" cy="512762"/>
          </a:xfrm>
        </p:grpSpPr>
        <p:sp>
          <p:nvSpPr>
            <p:cNvPr id="105" name="Line 20">
              <a:extLst>
                <a:ext uri="{FF2B5EF4-FFF2-40B4-BE49-F238E27FC236}">
                  <a16:creationId xmlns:a16="http://schemas.microsoft.com/office/drawing/2014/main" id="{0D597521-9688-4AC3-911E-2FEDF6D388BC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21">
              <a:extLst>
                <a:ext uri="{FF2B5EF4-FFF2-40B4-BE49-F238E27FC236}">
                  <a16:creationId xmlns:a16="http://schemas.microsoft.com/office/drawing/2014/main" id="{515B3CD8-B92E-4717-8034-9CD18A589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Line 22">
              <a:extLst>
                <a:ext uri="{FF2B5EF4-FFF2-40B4-BE49-F238E27FC236}">
                  <a16:creationId xmlns:a16="http://schemas.microsoft.com/office/drawing/2014/main" id="{6324AD26-5738-46AF-9B2F-790575BD29C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Line 23">
              <a:extLst>
                <a:ext uri="{FF2B5EF4-FFF2-40B4-BE49-F238E27FC236}">
                  <a16:creationId xmlns:a16="http://schemas.microsoft.com/office/drawing/2014/main" id="{002FBB60-5A43-454D-857A-288D044C5E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Line 24">
              <a:extLst>
                <a:ext uri="{FF2B5EF4-FFF2-40B4-BE49-F238E27FC236}">
                  <a16:creationId xmlns:a16="http://schemas.microsoft.com/office/drawing/2014/main" id="{27D54AA5-3AE5-4745-8934-61F66894C21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Line 25">
              <a:extLst>
                <a:ext uri="{FF2B5EF4-FFF2-40B4-BE49-F238E27FC236}">
                  <a16:creationId xmlns:a16="http://schemas.microsoft.com/office/drawing/2014/main" id="{0B0A4463-59EA-4C60-800D-C544474205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578FD432-C829-43EB-9847-2D377DB8EF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2" name="Inhaltsplatzhalter 7">
            <a:extLst>
              <a:ext uri="{FF2B5EF4-FFF2-40B4-BE49-F238E27FC236}">
                <a16:creationId xmlns:a16="http://schemas.microsoft.com/office/drawing/2014/main" id="{9B6023A8-5D97-4368-A6AC-E7AE22546624}"/>
              </a:ext>
            </a:extLst>
          </p:cNvPr>
          <p:cNvSpPr txBox="1">
            <a:spLocks/>
          </p:cNvSpPr>
          <p:nvPr/>
        </p:nvSpPr>
        <p:spPr bwMode="gray">
          <a:xfrm>
            <a:off x="5160224" y="4941296"/>
            <a:ext cx="295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.</a:t>
            </a:r>
          </a:p>
        </p:txBody>
      </p:sp>
      <p:sp>
        <p:nvSpPr>
          <p:cNvPr id="113" name="Inhaltsplatzhalter 7">
            <a:extLst>
              <a:ext uri="{FF2B5EF4-FFF2-40B4-BE49-F238E27FC236}">
                <a16:creationId xmlns:a16="http://schemas.microsoft.com/office/drawing/2014/main" id="{C1AB88F4-86F6-45CF-8711-8DBD6BCC1CBA}"/>
              </a:ext>
            </a:extLst>
          </p:cNvPr>
          <p:cNvSpPr txBox="1">
            <a:spLocks/>
          </p:cNvSpPr>
          <p:nvPr/>
        </p:nvSpPr>
        <p:spPr bwMode="gray">
          <a:xfrm>
            <a:off x="8760624" y="4941296"/>
            <a:ext cx="295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.</a:t>
            </a:r>
          </a:p>
        </p:txBody>
      </p:sp>
      <p:grpSp>
        <p:nvGrpSpPr>
          <p:cNvPr id="116" name="Grupa 49">
            <a:extLst>
              <a:ext uri="{FF2B5EF4-FFF2-40B4-BE49-F238E27FC236}">
                <a16:creationId xmlns:a16="http://schemas.microsoft.com/office/drawing/2014/main" id="{EA175F2E-735F-4B99-A5A6-B2C2A3617582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5160224" y="1701000"/>
            <a:ext cx="589846" cy="648000"/>
            <a:chOff x="11261725" y="1700213"/>
            <a:chExt cx="450851" cy="495300"/>
          </a:xfrm>
        </p:grpSpPr>
        <p:sp>
          <p:nvSpPr>
            <p:cNvPr id="117" name="Freeform 6">
              <a:extLst>
                <a:ext uri="{FF2B5EF4-FFF2-40B4-BE49-F238E27FC236}">
                  <a16:creationId xmlns:a16="http://schemas.microsoft.com/office/drawing/2014/main" id="{3EA9A8E2-ECC9-4AE1-B765-768AD8BEE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Line 7">
              <a:extLst>
                <a:ext uri="{FF2B5EF4-FFF2-40B4-BE49-F238E27FC236}">
                  <a16:creationId xmlns:a16="http://schemas.microsoft.com/office/drawing/2014/main" id="{A3B4077B-6DFC-458A-93F1-9CE5596D0C29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Line 8">
              <a:extLst>
                <a:ext uri="{FF2B5EF4-FFF2-40B4-BE49-F238E27FC236}">
                  <a16:creationId xmlns:a16="http://schemas.microsoft.com/office/drawing/2014/main" id="{D1573458-EF7D-44BF-B90F-DC0CE0E6C13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Line 9">
              <a:extLst>
                <a:ext uri="{FF2B5EF4-FFF2-40B4-BE49-F238E27FC236}">
                  <a16:creationId xmlns:a16="http://schemas.microsoft.com/office/drawing/2014/main" id="{3057B128-A138-408D-9846-DA3DA6E36E7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Line 10">
              <a:extLst>
                <a:ext uri="{FF2B5EF4-FFF2-40B4-BE49-F238E27FC236}">
                  <a16:creationId xmlns:a16="http://schemas.microsoft.com/office/drawing/2014/main" id="{146BA59F-F4DB-4B65-9EC0-661722D790B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Line 11">
              <a:extLst>
                <a:ext uri="{FF2B5EF4-FFF2-40B4-BE49-F238E27FC236}">
                  <a16:creationId xmlns:a16="http://schemas.microsoft.com/office/drawing/2014/main" id="{13E57A2E-C5EE-43B3-BA0B-04CBCB117F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Line 12">
              <a:extLst>
                <a:ext uri="{FF2B5EF4-FFF2-40B4-BE49-F238E27FC236}">
                  <a16:creationId xmlns:a16="http://schemas.microsoft.com/office/drawing/2014/main" id="{EB9E0466-DDBE-46B7-BA64-2A1AA0BA3E1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Line 13">
              <a:extLst>
                <a:ext uri="{FF2B5EF4-FFF2-40B4-BE49-F238E27FC236}">
                  <a16:creationId xmlns:a16="http://schemas.microsoft.com/office/drawing/2014/main" id="{379D5699-64E9-4B9D-8EE2-E9613C2E4DD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Line 14">
              <a:extLst>
                <a:ext uri="{FF2B5EF4-FFF2-40B4-BE49-F238E27FC236}">
                  <a16:creationId xmlns:a16="http://schemas.microsoft.com/office/drawing/2014/main" id="{EEC0C5AF-CA38-421F-8DA6-8FCBAC098F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Line 15">
              <a:extLst>
                <a:ext uri="{FF2B5EF4-FFF2-40B4-BE49-F238E27FC236}">
                  <a16:creationId xmlns:a16="http://schemas.microsoft.com/office/drawing/2014/main" id="{C74219A7-BE7D-4DAA-984E-77789521628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Line 16">
              <a:extLst>
                <a:ext uri="{FF2B5EF4-FFF2-40B4-BE49-F238E27FC236}">
                  <a16:creationId xmlns:a16="http://schemas.microsoft.com/office/drawing/2014/main" id="{5AB6AA2F-C14D-4F15-A1F1-DCBC1FF7A24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8" name="Grupa 49">
            <a:extLst>
              <a:ext uri="{FF2B5EF4-FFF2-40B4-BE49-F238E27FC236}">
                <a16:creationId xmlns:a16="http://schemas.microsoft.com/office/drawing/2014/main" id="{FDCD81A6-8112-4137-86CF-911EC3B0495C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gray">
          <a:xfrm>
            <a:off x="8760591" y="4149400"/>
            <a:ext cx="589846" cy="648000"/>
            <a:chOff x="11261725" y="1700213"/>
            <a:chExt cx="450851" cy="495300"/>
          </a:xfrm>
        </p:grpSpPr>
        <p:sp>
          <p:nvSpPr>
            <p:cNvPr id="129" name="Freeform 6">
              <a:extLst>
                <a:ext uri="{FF2B5EF4-FFF2-40B4-BE49-F238E27FC236}">
                  <a16:creationId xmlns:a16="http://schemas.microsoft.com/office/drawing/2014/main" id="{018D5242-C1AD-401F-87E0-0BA6395A7A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Line 7">
              <a:extLst>
                <a:ext uri="{FF2B5EF4-FFF2-40B4-BE49-F238E27FC236}">
                  <a16:creationId xmlns:a16="http://schemas.microsoft.com/office/drawing/2014/main" id="{C0C7E1CF-47F6-4DEC-B181-8A9B85CED74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Line 8">
              <a:extLst>
                <a:ext uri="{FF2B5EF4-FFF2-40B4-BE49-F238E27FC236}">
                  <a16:creationId xmlns:a16="http://schemas.microsoft.com/office/drawing/2014/main" id="{68E91A4F-D25B-46FE-999D-2745D5414BA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Line 9">
              <a:extLst>
                <a:ext uri="{FF2B5EF4-FFF2-40B4-BE49-F238E27FC236}">
                  <a16:creationId xmlns:a16="http://schemas.microsoft.com/office/drawing/2014/main" id="{3C354571-6F88-4CA2-9FC7-F03CE31A931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Line 10">
              <a:extLst>
                <a:ext uri="{FF2B5EF4-FFF2-40B4-BE49-F238E27FC236}">
                  <a16:creationId xmlns:a16="http://schemas.microsoft.com/office/drawing/2014/main" id="{A79573CB-69DB-4E67-BD8B-EEC66924460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Line 11">
              <a:extLst>
                <a:ext uri="{FF2B5EF4-FFF2-40B4-BE49-F238E27FC236}">
                  <a16:creationId xmlns:a16="http://schemas.microsoft.com/office/drawing/2014/main" id="{C5AD16A7-48F9-40F6-B4A3-B0BB8ED2B778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Line 12">
              <a:extLst>
                <a:ext uri="{FF2B5EF4-FFF2-40B4-BE49-F238E27FC236}">
                  <a16:creationId xmlns:a16="http://schemas.microsoft.com/office/drawing/2014/main" id="{83162BED-A049-49E5-94AF-83B9D1B17DC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Line 13">
              <a:extLst>
                <a:ext uri="{FF2B5EF4-FFF2-40B4-BE49-F238E27FC236}">
                  <a16:creationId xmlns:a16="http://schemas.microsoft.com/office/drawing/2014/main" id="{D6FA895D-1EF4-4D11-825D-91D5C16FD58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Line 14">
              <a:extLst>
                <a:ext uri="{FF2B5EF4-FFF2-40B4-BE49-F238E27FC236}">
                  <a16:creationId xmlns:a16="http://schemas.microsoft.com/office/drawing/2014/main" id="{291FA56F-A6B6-4E14-8FAE-D5ECAE25D2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Line 15">
              <a:extLst>
                <a:ext uri="{FF2B5EF4-FFF2-40B4-BE49-F238E27FC236}">
                  <a16:creationId xmlns:a16="http://schemas.microsoft.com/office/drawing/2014/main" id="{63E9FD7F-646F-4FEE-AF27-8B2D60D0078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Line 16">
              <a:extLst>
                <a:ext uri="{FF2B5EF4-FFF2-40B4-BE49-F238E27FC236}">
                  <a16:creationId xmlns:a16="http://schemas.microsoft.com/office/drawing/2014/main" id="{F7A8572D-EE2E-409B-97AE-D413D9F855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45007903"/>
      </p:ext>
    </p:extLst>
  </p:cSld>
  <p:clrMapOvr>
    <a:masterClrMapping/>
  </p:clrMapOvr>
  <p:transition spd="slow"/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301FCD2C-6121-4348-B658-4F8241AF6C6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301FCD2C-6121-4348-B658-4F8241AF6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 hidden="1">
            <a:extLst>
              <a:ext uri="{FF2B5EF4-FFF2-40B4-BE49-F238E27FC236}">
                <a16:creationId xmlns:a16="http://schemas.microsoft.com/office/drawing/2014/main" id="{3524624F-6FCD-4C40-8D09-A6887710455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2733F71-3620-4FA7-A892-9A68A5591D9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Four text boxes with photo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8</a:t>
            </a:fld>
            <a:endParaRPr lang="en-US" dirty="0"/>
          </a:p>
        </p:txBody>
      </p:sp>
      <p:grpSp>
        <p:nvGrpSpPr>
          <p:cNvPr id="72" name="Grupa 102">
            <a:extLst>
              <a:ext uri="{FF2B5EF4-FFF2-40B4-BE49-F238E27FC236}">
                <a16:creationId xmlns:a16="http://schemas.microsoft.com/office/drawing/2014/main" id="{F085007C-42A2-44EC-BA42-FD45E482AB2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00256" y="1701000"/>
            <a:ext cx="707685" cy="648000"/>
            <a:chOff x="11176000" y="3582988"/>
            <a:chExt cx="527050" cy="482600"/>
          </a:xfrm>
        </p:grpSpPr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88BF15F1-94DC-4A8C-B504-CD004D4867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02BB317F-17EC-4E9E-B743-4997CAC8A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C5C6EFD5-6F4A-4132-9CB9-475933675D2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3">
              <a:extLst>
                <a:ext uri="{FF2B5EF4-FFF2-40B4-BE49-F238E27FC236}">
                  <a16:creationId xmlns:a16="http://schemas.microsoft.com/office/drawing/2014/main" id="{28EB6D68-9B5F-41F3-B8BC-6928E69C78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4">
              <a:extLst>
                <a:ext uri="{FF2B5EF4-FFF2-40B4-BE49-F238E27FC236}">
                  <a16:creationId xmlns:a16="http://schemas.microsoft.com/office/drawing/2014/main" id="{13D3862F-8A61-4C9B-B242-66268A7C37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5">
              <a:extLst>
                <a:ext uri="{FF2B5EF4-FFF2-40B4-BE49-F238E27FC236}">
                  <a16:creationId xmlns:a16="http://schemas.microsoft.com/office/drawing/2014/main" id="{DE4F6726-B836-4259-B89C-2955C247E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5" name="Inhaltsplatzhalter 7">
            <a:extLst>
              <a:ext uri="{FF2B5EF4-FFF2-40B4-BE49-F238E27FC236}">
                <a16:creationId xmlns:a16="http://schemas.microsoft.com/office/drawing/2014/main" id="{F4463372-1369-489E-998B-4D89B393ABE2}"/>
              </a:ext>
            </a:extLst>
          </p:cNvPr>
          <p:cNvSpPr txBox="1">
            <a:spLocks/>
          </p:cNvSpPr>
          <p:nvPr/>
        </p:nvSpPr>
        <p:spPr bwMode="gray">
          <a:xfrm>
            <a:off x="4511824" y="2492896"/>
            <a:ext cx="3240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 aliquam.</a:t>
            </a:r>
          </a:p>
        </p:txBody>
      </p:sp>
      <p:sp>
        <p:nvSpPr>
          <p:cNvPr id="96" name="Inhaltsplatzhalter 7">
            <a:extLst>
              <a:ext uri="{FF2B5EF4-FFF2-40B4-BE49-F238E27FC236}">
                <a16:creationId xmlns:a16="http://schemas.microsoft.com/office/drawing/2014/main" id="{AD782EAC-9E2B-4434-9407-BB588E37C2D2}"/>
              </a:ext>
            </a:extLst>
          </p:cNvPr>
          <p:cNvSpPr txBox="1">
            <a:spLocks/>
          </p:cNvSpPr>
          <p:nvPr/>
        </p:nvSpPr>
        <p:spPr bwMode="gray">
          <a:xfrm>
            <a:off x="8400289" y="2492896"/>
            <a:ext cx="331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 aliquam.</a:t>
            </a:r>
          </a:p>
        </p:txBody>
      </p:sp>
      <p:grpSp>
        <p:nvGrpSpPr>
          <p:cNvPr id="104" name="Grupa 61">
            <a:extLst>
              <a:ext uri="{FF2B5EF4-FFF2-40B4-BE49-F238E27FC236}">
                <a16:creationId xmlns:a16="http://schemas.microsoft.com/office/drawing/2014/main" id="{9C18B2A5-6A60-481F-A90B-C931AF45598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511824" y="4149400"/>
            <a:ext cx="605873" cy="648000"/>
            <a:chOff x="11225213" y="2628901"/>
            <a:chExt cx="479425" cy="512762"/>
          </a:xfrm>
        </p:grpSpPr>
        <p:sp>
          <p:nvSpPr>
            <p:cNvPr id="105" name="Line 20">
              <a:extLst>
                <a:ext uri="{FF2B5EF4-FFF2-40B4-BE49-F238E27FC236}">
                  <a16:creationId xmlns:a16="http://schemas.microsoft.com/office/drawing/2014/main" id="{0D597521-9688-4AC3-911E-2FEDF6D388BC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21">
              <a:extLst>
                <a:ext uri="{FF2B5EF4-FFF2-40B4-BE49-F238E27FC236}">
                  <a16:creationId xmlns:a16="http://schemas.microsoft.com/office/drawing/2014/main" id="{515B3CD8-B92E-4717-8034-9CD18A589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Line 22">
              <a:extLst>
                <a:ext uri="{FF2B5EF4-FFF2-40B4-BE49-F238E27FC236}">
                  <a16:creationId xmlns:a16="http://schemas.microsoft.com/office/drawing/2014/main" id="{6324AD26-5738-46AF-9B2F-790575BD29C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Line 23">
              <a:extLst>
                <a:ext uri="{FF2B5EF4-FFF2-40B4-BE49-F238E27FC236}">
                  <a16:creationId xmlns:a16="http://schemas.microsoft.com/office/drawing/2014/main" id="{002FBB60-5A43-454D-857A-288D044C5E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Line 24">
              <a:extLst>
                <a:ext uri="{FF2B5EF4-FFF2-40B4-BE49-F238E27FC236}">
                  <a16:creationId xmlns:a16="http://schemas.microsoft.com/office/drawing/2014/main" id="{27D54AA5-3AE5-4745-8934-61F66894C21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Line 25">
              <a:extLst>
                <a:ext uri="{FF2B5EF4-FFF2-40B4-BE49-F238E27FC236}">
                  <a16:creationId xmlns:a16="http://schemas.microsoft.com/office/drawing/2014/main" id="{0B0A4463-59EA-4C60-800D-C544474205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578FD432-C829-43EB-9847-2D377DB8EF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2" name="Inhaltsplatzhalter 7">
            <a:extLst>
              <a:ext uri="{FF2B5EF4-FFF2-40B4-BE49-F238E27FC236}">
                <a16:creationId xmlns:a16="http://schemas.microsoft.com/office/drawing/2014/main" id="{9B6023A8-5D97-4368-A6AC-E7AE22546624}"/>
              </a:ext>
            </a:extLst>
          </p:cNvPr>
          <p:cNvSpPr txBox="1">
            <a:spLocks/>
          </p:cNvSpPr>
          <p:nvPr/>
        </p:nvSpPr>
        <p:spPr bwMode="gray">
          <a:xfrm>
            <a:off x="4511824" y="4941296"/>
            <a:ext cx="3240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 aliquam.</a:t>
            </a:r>
          </a:p>
        </p:txBody>
      </p:sp>
      <p:sp>
        <p:nvSpPr>
          <p:cNvPr id="113" name="Inhaltsplatzhalter 7">
            <a:extLst>
              <a:ext uri="{FF2B5EF4-FFF2-40B4-BE49-F238E27FC236}">
                <a16:creationId xmlns:a16="http://schemas.microsoft.com/office/drawing/2014/main" id="{C1AB88F4-86F6-45CF-8711-8DBD6BCC1CBA}"/>
              </a:ext>
            </a:extLst>
          </p:cNvPr>
          <p:cNvSpPr txBox="1">
            <a:spLocks/>
          </p:cNvSpPr>
          <p:nvPr/>
        </p:nvSpPr>
        <p:spPr bwMode="gray">
          <a:xfrm>
            <a:off x="8400289" y="4941296"/>
            <a:ext cx="3312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 mod dolore magna aliquam.</a:t>
            </a:r>
          </a:p>
        </p:txBody>
      </p:sp>
      <p:grpSp>
        <p:nvGrpSpPr>
          <p:cNvPr id="116" name="Grupa 49">
            <a:extLst>
              <a:ext uri="{FF2B5EF4-FFF2-40B4-BE49-F238E27FC236}">
                <a16:creationId xmlns:a16="http://schemas.microsoft.com/office/drawing/2014/main" id="{EA175F2E-735F-4B99-A5A6-B2C2A361758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4511824" y="1701000"/>
            <a:ext cx="589846" cy="648000"/>
            <a:chOff x="11261725" y="1700213"/>
            <a:chExt cx="450851" cy="495300"/>
          </a:xfrm>
        </p:grpSpPr>
        <p:sp>
          <p:nvSpPr>
            <p:cNvPr id="117" name="Freeform 6">
              <a:extLst>
                <a:ext uri="{FF2B5EF4-FFF2-40B4-BE49-F238E27FC236}">
                  <a16:creationId xmlns:a16="http://schemas.microsoft.com/office/drawing/2014/main" id="{3EA9A8E2-ECC9-4AE1-B765-768AD8BEE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Line 7">
              <a:extLst>
                <a:ext uri="{FF2B5EF4-FFF2-40B4-BE49-F238E27FC236}">
                  <a16:creationId xmlns:a16="http://schemas.microsoft.com/office/drawing/2014/main" id="{A3B4077B-6DFC-458A-93F1-9CE5596D0C29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Line 8">
              <a:extLst>
                <a:ext uri="{FF2B5EF4-FFF2-40B4-BE49-F238E27FC236}">
                  <a16:creationId xmlns:a16="http://schemas.microsoft.com/office/drawing/2014/main" id="{D1573458-EF7D-44BF-B90F-DC0CE0E6C13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Line 9">
              <a:extLst>
                <a:ext uri="{FF2B5EF4-FFF2-40B4-BE49-F238E27FC236}">
                  <a16:creationId xmlns:a16="http://schemas.microsoft.com/office/drawing/2014/main" id="{3057B128-A138-408D-9846-DA3DA6E36E7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Line 10">
              <a:extLst>
                <a:ext uri="{FF2B5EF4-FFF2-40B4-BE49-F238E27FC236}">
                  <a16:creationId xmlns:a16="http://schemas.microsoft.com/office/drawing/2014/main" id="{146BA59F-F4DB-4B65-9EC0-661722D790B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Line 11">
              <a:extLst>
                <a:ext uri="{FF2B5EF4-FFF2-40B4-BE49-F238E27FC236}">
                  <a16:creationId xmlns:a16="http://schemas.microsoft.com/office/drawing/2014/main" id="{13E57A2E-C5EE-43B3-BA0B-04CBCB117F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Line 12">
              <a:extLst>
                <a:ext uri="{FF2B5EF4-FFF2-40B4-BE49-F238E27FC236}">
                  <a16:creationId xmlns:a16="http://schemas.microsoft.com/office/drawing/2014/main" id="{EB9E0466-DDBE-46B7-BA64-2A1AA0BA3E1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Line 13">
              <a:extLst>
                <a:ext uri="{FF2B5EF4-FFF2-40B4-BE49-F238E27FC236}">
                  <a16:creationId xmlns:a16="http://schemas.microsoft.com/office/drawing/2014/main" id="{379D5699-64E9-4B9D-8EE2-E9613C2E4DD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Line 14">
              <a:extLst>
                <a:ext uri="{FF2B5EF4-FFF2-40B4-BE49-F238E27FC236}">
                  <a16:creationId xmlns:a16="http://schemas.microsoft.com/office/drawing/2014/main" id="{EEC0C5AF-CA38-421F-8DA6-8FCBAC098F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Line 15">
              <a:extLst>
                <a:ext uri="{FF2B5EF4-FFF2-40B4-BE49-F238E27FC236}">
                  <a16:creationId xmlns:a16="http://schemas.microsoft.com/office/drawing/2014/main" id="{C74219A7-BE7D-4DAA-984E-77789521628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Line 16">
              <a:extLst>
                <a:ext uri="{FF2B5EF4-FFF2-40B4-BE49-F238E27FC236}">
                  <a16:creationId xmlns:a16="http://schemas.microsoft.com/office/drawing/2014/main" id="{5AB6AA2F-C14D-4F15-A1F1-DCBC1FF7A24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8" name="Grupa 49">
            <a:extLst>
              <a:ext uri="{FF2B5EF4-FFF2-40B4-BE49-F238E27FC236}">
                <a16:creationId xmlns:a16="http://schemas.microsoft.com/office/drawing/2014/main" id="{FDCD81A6-8112-4137-86CF-911EC3B0495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8400256" y="4149400"/>
            <a:ext cx="589846" cy="648000"/>
            <a:chOff x="11261725" y="1700213"/>
            <a:chExt cx="450851" cy="495300"/>
          </a:xfrm>
        </p:grpSpPr>
        <p:sp>
          <p:nvSpPr>
            <p:cNvPr id="129" name="Freeform 6">
              <a:extLst>
                <a:ext uri="{FF2B5EF4-FFF2-40B4-BE49-F238E27FC236}">
                  <a16:creationId xmlns:a16="http://schemas.microsoft.com/office/drawing/2014/main" id="{018D5242-C1AD-401F-87E0-0BA6395A7A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Line 7">
              <a:extLst>
                <a:ext uri="{FF2B5EF4-FFF2-40B4-BE49-F238E27FC236}">
                  <a16:creationId xmlns:a16="http://schemas.microsoft.com/office/drawing/2014/main" id="{C0C7E1CF-47F6-4DEC-B181-8A9B85CED74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Line 8">
              <a:extLst>
                <a:ext uri="{FF2B5EF4-FFF2-40B4-BE49-F238E27FC236}">
                  <a16:creationId xmlns:a16="http://schemas.microsoft.com/office/drawing/2014/main" id="{68E91A4F-D25B-46FE-999D-2745D5414BA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Line 9">
              <a:extLst>
                <a:ext uri="{FF2B5EF4-FFF2-40B4-BE49-F238E27FC236}">
                  <a16:creationId xmlns:a16="http://schemas.microsoft.com/office/drawing/2014/main" id="{3C354571-6F88-4CA2-9FC7-F03CE31A931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Line 10">
              <a:extLst>
                <a:ext uri="{FF2B5EF4-FFF2-40B4-BE49-F238E27FC236}">
                  <a16:creationId xmlns:a16="http://schemas.microsoft.com/office/drawing/2014/main" id="{A79573CB-69DB-4E67-BD8B-EEC66924460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Line 11">
              <a:extLst>
                <a:ext uri="{FF2B5EF4-FFF2-40B4-BE49-F238E27FC236}">
                  <a16:creationId xmlns:a16="http://schemas.microsoft.com/office/drawing/2014/main" id="{C5AD16A7-48F9-40F6-B4A3-B0BB8ED2B778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Line 12">
              <a:extLst>
                <a:ext uri="{FF2B5EF4-FFF2-40B4-BE49-F238E27FC236}">
                  <a16:creationId xmlns:a16="http://schemas.microsoft.com/office/drawing/2014/main" id="{83162BED-A049-49E5-94AF-83B9D1B17DC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Line 13">
              <a:extLst>
                <a:ext uri="{FF2B5EF4-FFF2-40B4-BE49-F238E27FC236}">
                  <a16:creationId xmlns:a16="http://schemas.microsoft.com/office/drawing/2014/main" id="{D6FA895D-1EF4-4D11-825D-91D5C16FD58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Line 14">
              <a:extLst>
                <a:ext uri="{FF2B5EF4-FFF2-40B4-BE49-F238E27FC236}">
                  <a16:creationId xmlns:a16="http://schemas.microsoft.com/office/drawing/2014/main" id="{291FA56F-A6B6-4E14-8FAE-D5ECAE25D2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Line 15">
              <a:extLst>
                <a:ext uri="{FF2B5EF4-FFF2-40B4-BE49-F238E27FC236}">
                  <a16:creationId xmlns:a16="http://schemas.microsoft.com/office/drawing/2014/main" id="{63E9FD7F-646F-4FEE-AF27-8B2D60D0078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Line 16">
              <a:extLst>
                <a:ext uri="{FF2B5EF4-FFF2-40B4-BE49-F238E27FC236}">
                  <a16:creationId xmlns:a16="http://schemas.microsoft.com/office/drawing/2014/main" id="{F7A8572D-EE2E-409B-97AE-D413D9F855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54" name="Grafik 53">
            <a:extLst>
              <a:ext uri="{FF2B5EF4-FFF2-40B4-BE49-F238E27FC236}">
                <a16:creationId xmlns:a16="http://schemas.microsoft.com/office/drawing/2014/main" id="{4ECD5386-8D27-4A5E-A778-87DD262A818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" b="30"/>
          <a:stretch/>
        </p:blipFill>
        <p:spPr bwMode="gray">
          <a:xfrm>
            <a:off x="551384" y="1701000"/>
            <a:ext cx="3313113" cy="4392000"/>
          </a:xfrm>
          <a:prstGeom prst="rect">
            <a:avLst/>
          </a:prstGeom>
          <a:ln>
            <a:noFill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52989077"/>
      </p:ext>
    </p:extLst>
  </p:cSld>
  <p:clrMapOvr>
    <a:masterClrMapping/>
  </p:clrMapOvr>
  <p:transition spd="slow"/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iekt 15" hidden="1">
            <a:extLst>
              <a:ext uri="{FF2B5EF4-FFF2-40B4-BE49-F238E27FC236}">
                <a16:creationId xmlns:a16="http://schemas.microsoft.com/office/drawing/2014/main" id="{3192571E-302B-40A7-AF48-4CB25AC973F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16" name="Obiekt 15" hidden="1">
                        <a:extLst>
                          <a:ext uri="{FF2B5EF4-FFF2-40B4-BE49-F238E27FC236}">
                            <a16:creationId xmlns:a16="http://schemas.microsoft.com/office/drawing/2014/main" id="{3192571E-302B-40A7-AF48-4CB25AC97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rostokąt 14" hidden="1">
            <a:extLst>
              <a:ext uri="{FF2B5EF4-FFF2-40B4-BE49-F238E27FC236}">
                <a16:creationId xmlns:a16="http://schemas.microsoft.com/office/drawing/2014/main" id="{972E284E-3C2A-44C9-93AA-4AEB8E97FBD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ytuł 7">
            <a:extLst>
              <a:ext uri="{FF2B5EF4-FFF2-40B4-BE49-F238E27FC236}">
                <a16:creationId xmlns:a16="http://schemas.microsoft.com/office/drawing/2014/main" id="{55DEF138-D3B7-46CA-8057-BDD5761E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ptop scre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9</a:t>
            </a:fld>
            <a:endParaRPr lang="en-US" dirty="0"/>
          </a:p>
        </p:txBody>
      </p:sp>
      <p:pic>
        <p:nvPicPr>
          <p:cNvPr id="12" name="Picture 12">
            <a:extLst>
              <a:ext uri="{FF2B5EF4-FFF2-40B4-BE49-F238E27FC236}">
                <a16:creationId xmlns:a16="http://schemas.microsoft.com/office/drawing/2014/main" id="{734271C6-2A25-4EBF-AC42-68DBCCA285B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39916" y="1700488"/>
            <a:ext cx="7704000" cy="4392000"/>
          </a:xfrm>
          <a:prstGeom prst="rect">
            <a:avLst/>
          </a:prstGeom>
        </p:spPr>
      </p:pic>
      <p:sp>
        <p:nvSpPr>
          <p:cNvPr id="21" name="Inhaltsplatzhalter 7">
            <a:extLst>
              <a:ext uri="{FF2B5EF4-FFF2-40B4-BE49-F238E27FC236}">
                <a16:creationId xmlns:a16="http://schemas.microsoft.com/office/drawing/2014/main" id="{065C1867-0800-4DC4-B44A-A08A770C22D3}"/>
              </a:ext>
            </a:extLst>
          </p:cNvPr>
          <p:cNvSpPr txBox="1">
            <a:spLocks/>
          </p:cNvSpPr>
          <p:nvPr/>
        </p:nvSpPr>
        <p:spPr bwMode="gray">
          <a:xfrm>
            <a:off x="2279936" y="2600908"/>
            <a:ext cx="3168000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Maecenas porttitor congue massa. Fusce posuere, magna sed pulvinar ultricies, purus lectus commodo magna eros quis urna lorem ipsum dolor sit amet.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520719D-7703-46F3-BBBC-4D5554CB08D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84" b="15147"/>
          <a:stretch/>
        </p:blipFill>
        <p:spPr bwMode="gray">
          <a:xfrm>
            <a:off x="6253971" y="1952836"/>
            <a:ext cx="5940000" cy="374441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12655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Slide Image (2)"/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91999" cy="6858000"/>
          </a:xfr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5DE45C9-1DF0-4B9C-BD45-82B4AACAFC1F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5DE45C9-1DF0-4B9C-BD45-82B4AACAF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-line titl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635617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iekt 15" hidden="1">
            <a:extLst>
              <a:ext uri="{FF2B5EF4-FFF2-40B4-BE49-F238E27FC236}">
                <a16:creationId xmlns:a16="http://schemas.microsoft.com/office/drawing/2014/main" id="{0F69FEEE-A61C-4E81-B2CE-7E687BD1068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16" name="Obiekt 15" hidden="1">
                        <a:extLst>
                          <a:ext uri="{FF2B5EF4-FFF2-40B4-BE49-F238E27FC236}">
                            <a16:creationId xmlns:a16="http://schemas.microsoft.com/office/drawing/2014/main" id="{0F69FEEE-A61C-4E81-B2CE-7E687BD10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rostokąt 17" hidden="1">
            <a:extLst>
              <a:ext uri="{FF2B5EF4-FFF2-40B4-BE49-F238E27FC236}">
                <a16:creationId xmlns:a16="http://schemas.microsoft.com/office/drawing/2014/main" id="{051ACBC1-ED29-4C82-BAE5-B4DA2808E2E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ytuł 13">
            <a:extLst>
              <a:ext uri="{FF2B5EF4-FFF2-40B4-BE49-F238E27FC236}">
                <a16:creationId xmlns:a16="http://schemas.microsoft.com/office/drawing/2014/main" id="{35D2F627-A699-4E7B-A254-C7A9D9CCF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uter scre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0</a:t>
            </a:fld>
            <a:endParaRPr lang="en-US" dirty="0"/>
          </a:p>
        </p:txBody>
      </p:sp>
      <p:pic>
        <p:nvPicPr>
          <p:cNvPr id="19" name="Picture 2" descr="C:\Users\bandelow\Desktop\Monitore_Computer.png">
            <a:extLst>
              <a:ext uri="{FF2B5EF4-FFF2-40B4-BE49-F238E27FC236}">
                <a16:creationId xmlns:a16="http://schemas.microsoft.com/office/drawing/2014/main" id="{9497B057-9D5C-4592-933C-BAB1329EF8F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0000" y="1701000"/>
            <a:ext cx="5472000" cy="43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Inhaltsplatzhalter 7">
            <a:extLst>
              <a:ext uri="{FF2B5EF4-FFF2-40B4-BE49-F238E27FC236}">
                <a16:creationId xmlns:a16="http://schemas.microsoft.com/office/drawing/2014/main" id="{DE42AA8E-DACE-4F2C-9617-F7384C021D69}"/>
              </a:ext>
            </a:extLst>
          </p:cNvPr>
          <p:cNvSpPr txBox="1">
            <a:spLocks/>
          </p:cNvSpPr>
          <p:nvPr/>
        </p:nvSpPr>
        <p:spPr bwMode="gray">
          <a:xfrm>
            <a:off x="8400255" y="2853216"/>
            <a:ext cx="3312319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Maecenas porttitor congue massa. Fusce posuere, magna sed pulvinar ultricies, purus lectus commodo magna eros quis urna lorem ipsum dolor sit.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F65F5A4-BCB3-4211-906D-50D451B4A84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98" b="19095"/>
          <a:stretch/>
        </p:blipFill>
        <p:spPr bwMode="gray">
          <a:xfrm>
            <a:off x="2460000" y="1897217"/>
            <a:ext cx="5112000" cy="288032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92563979"/>
      </p:ext>
    </p:extLst>
  </p:cSld>
  <p:clrMapOvr>
    <a:masterClrMapping/>
  </p:clrMapOvr>
  <p:transition spd="slow"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1F0D90D-BA77-4671-96F7-C70C02827D3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78" r="28780"/>
          <a:stretch/>
        </p:blipFill>
        <p:spPr bwMode="gray">
          <a:xfrm>
            <a:off x="3648000" y="1773000"/>
            <a:ext cx="2088233" cy="4248000"/>
          </a:xfrm>
          <a:prstGeom prst="roundRect">
            <a:avLst>
              <a:gd name="adj" fmla="val 13626"/>
            </a:avLst>
          </a:prstGeom>
        </p:spPr>
      </p:pic>
      <p:sp>
        <p:nvSpPr>
          <p:cNvPr id="28" name="Prostokąt 27" hidden="1">
            <a:extLst>
              <a:ext uri="{FF2B5EF4-FFF2-40B4-BE49-F238E27FC236}">
                <a16:creationId xmlns:a16="http://schemas.microsoft.com/office/drawing/2014/main" id="{B9C88F8A-AD92-444B-B166-25EC677CCEE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ytuł 9">
            <a:extLst>
              <a:ext uri="{FF2B5EF4-FFF2-40B4-BE49-F238E27FC236}">
                <a16:creationId xmlns:a16="http://schemas.microsoft.com/office/drawing/2014/main" id="{D3E693AC-4C3A-4E63-B2FF-9EF2CA99D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phone scre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1</a:t>
            </a:fld>
            <a:endParaRPr lang="en-US" dirty="0"/>
          </a:p>
        </p:txBody>
      </p:sp>
      <p:pic>
        <p:nvPicPr>
          <p:cNvPr id="21" name="Obraz 24">
            <a:extLst>
              <a:ext uri="{FF2B5EF4-FFF2-40B4-BE49-F238E27FC236}">
                <a16:creationId xmlns:a16="http://schemas.microsoft.com/office/drawing/2014/main" id="{C41A3266-0A54-46C9-8C8F-432B5B39B73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28" t="21271" r="32611" b="19868"/>
          <a:stretch/>
        </p:blipFill>
        <p:spPr bwMode="gray">
          <a:xfrm>
            <a:off x="3504000" y="1701000"/>
            <a:ext cx="2376001" cy="4392000"/>
          </a:xfrm>
          <a:custGeom>
            <a:avLst/>
            <a:gdLst>
              <a:gd name="connsiteX0" fmla="*/ 393968 w 2376001"/>
              <a:gd name="connsiteY0" fmla="*/ 257339 h 4392000"/>
              <a:gd name="connsiteX1" fmla="*/ 208145 w 2376001"/>
              <a:gd name="connsiteY1" fmla="*/ 443162 h 4392000"/>
              <a:gd name="connsiteX2" fmla="*/ 208145 w 2376001"/>
              <a:gd name="connsiteY2" fmla="*/ 4093617 h 4392000"/>
              <a:gd name="connsiteX3" fmla="*/ 393968 w 2376001"/>
              <a:gd name="connsiteY3" fmla="*/ 4279440 h 4392000"/>
              <a:gd name="connsiteX4" fmla="*/ 1960198 w 2376001"/>
              <a:gd name="connsiteY4" fmla="*/ 4279440 h 4392000"/>
              <a:gd name="connsiteX5" fmla="*/ 2146021 w 2376001"/>
              <a:gd name="connsiteY5" fmla="*/ 4093617 h 4392000"/>
              <a:gd name="connsiteX6" fmla="*/ 2146021 w 2376001"/>
              <a:gd name="connsiteY6" fmla="*/ 443162 h 4392000"/>
              <a:gd name="connsiteX7" fmla="*/ 1960198 w 2376001"/>
              <a:gd name="connsiteY7" fmla="*/ 257339 h 4392000"/>
              <a:gd name="connsiteX8" fmla="*/ 0 w 2376001"/>
              <a:gd name="connsiteY8" fmla="*/ 0 h 4392000"/>
              <a:gd name="connsiteX9" fmla="*/ 2376001 w 2376001"/>
              <a:gd name="connsiteY9" fmla="*/ 0 h 4392000"/>
              <a:gd name="connsiteX10" fmla="*/ 2376001 w 2376001"/>
              <a:gd name="connsiteY10" fmla="*/ 4392000 h 4392000"/>
              <a:gd name="connsiteX11" fmla="*/ 0 w 2376001"/>
              <a:gd name="connsiteY11" fmla="*/ 439200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6001" h="4392000">
                <a:moveTo>
                  <a:pt x="393968" y="257339"/>
                </a:moveTo>
                <a:cubicBezTo>
                  <a:pt x="291341" y="257339"/>
                  <a:pt x="208145" y="340535"/>
                  <a:pt x="208145" y="443162"/>
                </a:cubicBezTo>
                <a:lnTo>
                  <a:pt x="208145" y="4093617"/>
                </a:lnTo>
                <a:cubicBezTo>
                  <a:pt x="208145" y="4196244"/>
                  <a:pt x="291341" y="4279440"/>
                  <a:pt x="393968" y="4279440"/>
                </a:cubicBezTo>
                <a:lnTo>
                  <a:pt x="1960198" y="4279440"/>
                </a:lnTo>
                <a:cubicBezTo>
                  <a:pt x="2062825" y="4279440"/>
                  <a:pt x="2146021" y="4196244"/>
                  <a:pt x="2146021" y="4093617"/>
                </a:cubicBezTo>
                <a:lnTo>
                  <a:pt x="2146021" y="443162"/>
                </a:lnTo>
                <a:cubicBezTo>
                  <a:pt x="2146021" y="340535"/>
                  <a:pt x="2062825" y="257339"/>
                  <a:pt x="1960198" y="257339"/>
                </a:cubicBezTo>
                <a:close/>
                <a:moveTo>
                  <a:pt x="0" y="0"/>
                </a:moveTo>
                <a:lnTo>
                  <a:pt x="2376001" y="0"/>
                </a:lnTo>
                <a:lnTo>
                  <a:pt x="2376001" y="4392000"/>
                </a:lnTo>
                <a:lnTo>
                  <a:pt x="0" y="4392000"/>
                </a:lnTo>
                <a:close/>
              </a:path>
            </a:pathLst>
          </a:custGeom>
        </p:spPr>
      </p:pic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02FA42CF-568A-4CC4-8E9B-C1BDFE0E6D23}"/>
              </a:ext>
            </a:extLst>
          </p:cNvPr>
          <p:cNvSpPr txBox="1">
            <a:spLocks/>
          </p:cNvSpPr>
          <p:nvPr/>
        </p:nvSpPr>
        <p:spPr bwMode="gray">
          <a:xfrm>
            <a:off x="6456040" y="2853216"/>
            <a:ext cx="3312319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Maecenas porttitor congue massa. Fusce posuere, magna sed pulvinar ultricies, purus lectus commodo magna eros quis urna lorem ipsum dolor sit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1151508"/>
      </p:ext>
    </p:extLst>
  </p:cSld>
  <p:clrMapOvr>
    <a:masterClrMapping/>
  </p:clrMapOvr>
  <p:transition spd="slow"/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1F0D90D-BA77-4671-96F7-C70C02827D3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78" r="28780"/>
          <a:stretch/>
        </p:blipFill>
        <p:spPr bwMode="gray">
          <a:xfrm>
            <a:off x="3648000" y="1773000"/>
            <a:ext cx="2088233" cy="4248000"/>
          </a:xfrm>
          <a:prstGeom prst="roundRect">
            <a:avLst>
              <a:gd name="adj" fmla="val 13626"/>
            </a:avLst>
          </a:prstGeom>
        </p:spPr>
      </p:pic>
      <p:sp>
        <p:nvSpPr>
          <p:cNvPr id="28" name="Prostokąt 27" hidden="1">
            <a:extLst>
              <a:ext uri="{FF2B5EF4-FFF2-40B4-BE49-F238E27FC236}">
                <a16:creationId xmlns:a16="http://schemas.microsoft.com/office/drawing/2014/main" id="{B9C88F8A-AD92-444B-B166-25EC677CCEE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ytuł 9">
            <a:extLst>
              <a:ext uri="{FF2B5EF4-FFF2-40B4-BE49-F238E27FC236}">
                <a16:creationId xmlns:a16="http://schemas.microsoft.com/office/drawing/2014/main" id="{D3E693AC-4C3A-4E63-B2FF-9EF2CA99D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phone scre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2</a:t>
            </a:fld>
            <a:endParaRPr lang="en-US" dirty="0"/>
          </a:p>
        </p:txBody>
      </p:sp>
      <p:pic>
        <p:nvPicPr>
          <p:cNvPr id="21" name="Obraz 24">
            <a:extLst>
              <a:ext uri="{FF2B5EF4-FFF2-40B4-BE49-F238E27FC236}">
                <a16:creationId xmlns:a16="http://schemas.microsoft.com/office/drawing/2014/main" id="{C41A3266-0A54-46C9-8C8F-432B5B39B73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28" t="21271" r="32611" b="19868"/>
          <a:stretch/>
        </p:blipFill>
        <p:spPr bwMode="gray">
          <a:xfrm>
            <a:off x="3504000" y="1701000"/>
            <a:ext cx="2376001" cy="4392000"/>
          </a:xfrm>
          <a:custGeom>
            <a:avLst/>
            <a:gdLst>
              <a:gd name="connsiteX0" fmla="*/ 393968 w 2376001"/>
              <a:gd name="connsiteY0" fmla="*/ 257339 h 4392000"/>
              <a:gd name="connsiteX1" fmla="*/ 208145 w 2376001"/>
              <a:gd name="connsiteY1" fmla="*/ 443162 h 4392000"/>
              <a:gd name="connsiteX2" fmla="*/ 208145 w 2376001"/>
              <a:gd name="connsiteY2" fmla="*/ 4093617 h 4392000"/>
              <a:gd name="connsiteX3" fmla="*/ 393968 w 2376001"/>
              <a:gd name="connsiteY3" fmla="*/ 4279440 h 4392000"/>
              <a:gd name="connsiteX4" fmla="*/ 1960198 w 2376001"/>
              <a:gd name="connsiteY4" fmla="*/ 4279440 h 4392000"/>
              <a:gd name="connsiteX5" fmla="*/ 2146021 w 2376001"/>
              <a:gd name="connsiteY5" fmla="*/ 4093617 h 4392000"/>
              <a:gd name="connsiteX6" fmla="*/ 2146021 w 2376001"/>
              <a:gd name="connsiteY6" fmla="*/ 443162 h 4392000"/>
              <a:gd name="connsiteX7" fmla="*/ 1960198 w 2376001"/>
              <a:gd name="connsiteY7" fmla="*/ 257339 h 4392000"/>
              <a:gd name="connsiteX8" fmla="*/ 0 w 2376001"/>
              <a:gd name="connsiteY8" fmla="*/ 0 h 4392000"/>
              <a:gd name="connsiteX9" fmla="*/ 2376001 w 2376001"/>
              <a:gd name="connsiteY9" fmla="*/ 0 h 4392000"/>
              <a:gd name="connsiteX10" fmla="*/ 2376001 w 2376001"/>
              <a:gd name="connsiteY10" fmla="*/ 4392000 h 4392000"/>
              <a:gd name="connsiteX11" fmla="*/ 0 w 2376001"/>
              <a:gd name="connsiteY11" fmla="*/ 4392000 h 43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6001" h="4392000">
                <a:moveTo>
                  <a:pt x="393968" y="257339"/>
                </a:moveTo>
                <a:cubicBezTo>
                  <a:pt x="291341" y="257339"/>
                  <a:pt x="208145" y="340535"/>
                  <a:pt x="208145" y="443162"/>
                </a:cubicBezTo>
                <a:lnTo>
                  <a:pt x="208145" y="4093617"/>
                </a:lnTo>
                <a:cubicBezTo>
                  <a:pt x="208145" y="4196244"/>
                  <a:pt x="291341" y="4279440"/>
                  <a:pt x="393968" y="4279440"/>
                </a:cubicBezTo>
                <a:lnTo>
                  <a:pt x="1960198" y="4279440"/>
                </a:lnTo>
                <a:cubicBezTo>
                  <a:pt x="2062825" y="4279440"/>
                  <a:pt x="2146021" y="4196244"/>
                  <a:pt x="2146021" y="4093617"/>
                </a:cubicBezTo>
                <a:lnTo>
                  <a:pt x="2146021" y="443162"/>
                </a:lnTo>
                <a:cubicBezTo>
                  <a:pt x="2146021" y="340535"/>
                  <a:pt x="2062825" y="257339"/>
                  <a:pt x="1960198" y="257339"/>
                </a:cubicBezTo>
                <a:close/>
                <a:moveTo>
                  <a:pt x="0" y="0"/>
                </a:moveTo>
                <a:lnTo>
                  <a:pt x="2376001" y="0"/>
                </a:lnTo>
                <a:lnTo>
                  <a:pt x="2376001" y="4392000"/>
                </a:lnTo>
                <a:lnTo>
                  <a:pt x="0" y="4392000"/>
                </a:lnTo>
                <a:close/>
              </a:path>
            </a:pathLst>
          </a:custGeom>
        </p:spPr>
      </p:pic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02FA42CF-568A-4CC4-8E9B-C1BDFE0E6D23}"/>
              </a:ext>
            </a:extLst>
          </p:cNvPr>
          <p:cNvSpPr txBox="1">
            <a:spLocks/>
          </p:cNvSpPr>
          <p:nvPr/>
        </p:nvSpPr>
        <p:spPr bwMode="gray">
          <a:xfrm>
            <a:off x="6456040" y="2853216"/>
            <a:ext cx="3312319" cy="25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Maecenas porttitor congue massa. Fusce posuere, magna sed pulvinar ultricies, purus lectus commodo magna eros quis urna lorem ipsum dolor sit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161410"/>
      </p:ext>
    </p:extLst>
  </p:cSld>
  <p:clrMapOvr>
    <a:masterClrMapping/>
  </p:clrMapOvr>
  <p:transition spd="slow"/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kt 8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89" name="Objekt 8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22C2614-FD1B-4FFE-8013-DFB66D709BB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ytuł 9">
            <a:extLst>
              <a:ext uri="{FF2B5EF4-FFF2-40B4-BE49-F238E27FC236}">
                <a16:creationId xmlns:a16="http://schemas.microsoft.com/office/drawing/2014/main" id="{79F08EFF-70D9-43C5-A3FD-5BFCD8D2F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matic diagram element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3</a:t>
            </a:fld>
            <a:endParaRPr lang="en-US" dirty="0"/>
          </a:p>
        </p:txBody>
      </p:sp>
      <p:grpSp>
        <p:nvGrpSpPr>
          <p:cNvPr id="184" name="Grupa 183">
            <a:extLst>
              <a:ext uri="{FF2B5EF4-FFF2-40B4-BE49-F238E27FC236}">
                <a16:creationId xmlns:a16="http://schemas.microsoft.com/office/drawing/2014/main" id="{1F098E45-6300-401F-A277-9D530A29F53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53805" y="1701000"/>
            <a:ext cx="458770" cy="504000"/>
            <a:chOff x="11261725" y="1700213"/>
            <a:chExt cx="450851" cy="495300"/>
          </a:xfrm>
        </p:grpSpPr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23B9D379-31AC-46EA-9077-37E5931238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Line 7">
              <a:extLst>
                <a:ext uri="{FF2B5EF4-FFF2-40B4-BE49-F238E27FC236}">
                  <a16:creationId xmlns:a16="http://schemas.microsoft.com/office/drawing/2014/main" id="{68EE5566-EC70-40AF-8004-D4B9A86A41F0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BFF35A6C-A39C-455F-99BF-90A1DC875718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4E2608F0-DF2E-4298-9617-B8F872C04C7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Line 10">
              <a:extLst>
                <a:ext uri="{FF2B5EF4-FFF2-40B4-BE49-F238E27FC236}">
                  <a16:creationId xmlns:a16="http://schemas.microsoft.com/office/drawing/2014/main" id="{AA66C212-B6A5-41BE-BB6E-31320267124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Line 11">
              <a:extLst>
                <a:ext uri="{FF2B5EF4-FFF2-40B4-BE49-F238E27FC236}">
                  <a16:creationId xmlns:a16="http://schemas.microsoft.com/office/drawing/2014/main" id="{027CEB03-EE56-4116-B035-E0759435CF3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Line 12">
              <a:extLst>
                <a:ext uri="{FF2B5EF4-FFF2-40B4-BE49-F238E27FC236}">
                  <a16:creationId xmlns:a16="http://schemas.microsoft.com/office/drawing/2014/main" id="{09D535A8-5849-4937-970C-9CC92D0E1A6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Line 13">
              <a:extLst>
                <a:ext uri="{FF2B5EF4-FFF2-40B4-BE49-F238E27FC236}">
                  <a16:creationId xmlns:a16="http://schemas.microsoft.com/office/drawing/2014/main" id="{A6A99368-3B81-4BE4-B82E-FEA23A63B12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Line 14">
              <a:extLst>
                <a:ext uri="{FF2B5EF4-FFF2-40B4-BE49-F238E27FC236}">
                  <a16:creationId xmlns:a16="http://schemas.microsoft.com/office/drawing/2014/main" id="{613E781D-9154-45CE-88FD-CFA91E0AB3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Line 15">
              <a:extLst>
                <a:ext uri="{FF2B5EF4-FFF2-40B4-BE49-F238E27FC236}">
                  <a16:creationId xmlns:a16="http://schemas.microsoft.com/office/drawing/2014/main" id="{EEBCA6C8-ACF8-4161-8FAB-A6FD3D2F8BF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Line 16">
              <a:extLst>
                <a:ext uri="{FF2B5EF4-FFF2-40B4-BE49-F238E27FC236}">
                  <a16:creationId xmlns:a16="http://schemas.microsoft.com/office/drawing/2014/main" id="{60F8BCFC-C9AB-41AB-85EA-E26BAA9AD25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0" name="Grupa 79">
            <a:extLst>
              <a:ext uri="{FF2B5EF4-FFF2-40B4-BE49-F238E27FC236}">
                <a16:creationId xmlns:a16="http://schemas.microsoft.com/office/drawing/2014/main" id="{2E0AA7F2-669B-4E1B-B85A-DACB33D543B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41342" y="2637000"/>
            <a:ext cx="471233" cy="504000"/>
            <a:chOff x="11225213" y="2628901"/>
            <a:chExt cx="479425" cy="512762"/>
          </a:xfrm>
        </p:grpSpPr>
        <p:sp>
          <p:nvSpPr>
            <p:cNvPr id="73" name="Line 20">
              <a:extLst>
                <a:ext uri="{FF2B5EF4-FFF2-40B4-BE49-F238E27FC236}">
                  <a16:creationId xmlns:a16="http://schemas.microsoft.com/office/drawing/2014/main" id="{33C27730-DA06-4A0A-B0A9-1D1E3618F39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21">
              <a:extLst>
                <a:ext uri="{FF2B5EF4-FFF2-40B4-BE49-F238E27FC236}">
                  <a16:creationId xmlns:a16="http://schemas.microsoft.com/office/drawing/2014/main" id="{71DB5E9F-93F2-4984-A306-CFF169FE2F7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Line 22">
              <a:extLst>
                <a:ext uri="{FF2B5EF4-FFF2-40B4-BE49-F238E27FC236}">
                  <a16:creationId xmlns:a16="http://schemas.microsoft.com/office/drawing/2014/main" id="{74E78E28-F4CC-4C86-AFFD-565A2C0F5F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Line 23">
              <a:extLst>
                <a:ext uri="{FF2B5EF4-FFF2-40B4-BE49-F238E27FC236}">
                  <a16:creationId xmlns:a16="http://schemas.microsoft.com/office/drawing/2014/main" id="{610F47DC-B9A1-43B1-BBA3-7DE0AD01E9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Line 24">
              <a:extLst>
                <a:ext uri="{FF2B5EF4-FFF2-40B4-BE49-F238E27FC236}">
                  <a16:creationId xmlns:a16="http://schemas.microsoft.com/office/drawing/2014/main" id="{0EF4957E-4113-4F59-9D7A-C57DAE3039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Line 25">
              <a:extLst>
                <a:ext uri="{FF2B5EF4-FFF2-40B4-BE49-F238E27FC236}">
                  <a16:creationId xmlns:a16="http://schemas.microsoft.com/office/drawing/2014/main" id="{3EC34C8B-DD05-4E89-8314-DE2A16D8151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6">
              <a:extLst>
                <a:ext uri="{FF2B5EF4-FFF2-40B4-BE49-F238E27FC236}">
                  <a16:creationId xmlns:a16="http://schemas.microsoft.com/office/drawing/2014/main" id="{7F7DE049-D9B7-4DC1-BEC3-2F448DB8E3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0" name="Grupa 89">
            <a:extLst>
              <a:ext uri="{FF2B5EF4-FFF2-40B4-BE49-F238E27FC236}">
                <a16:creationId xmlns:a16="http://schemas.microsoft.com/office/drawing/2014/main" id="{A46BCB28-ED89-450B-9160-C79272F9B3B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62154" y="3573000"/>
            <a:ext cx="550421" cy="504000"/>
            <a:chOff x="11176000" y="3582988"/>
            <a:chExt cx="527050" cy="482600"/>
          </a:xfrm>
        </p:grpSpPr>
        <p:sp>
          <p:nvSpPr>
            <p:cNvPr id="83" name="Freeform 30">
              <a:extLst>
                <a:ext uri="{FF2B5EF4-FFF2-40B4-BE49-F238E27FC236}">
                  <a16:creationId xmlns:a16="http://schemas.microsoft.com/office/drawing/2014/main" id="{0A4F8CF0-CD34-48A8-BD46-2D7C28481E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1">
              <a:extLst>
                <a:ext uri="{FF2B5EF4-FFF2-40B4-BE49-F238E27FC236}">
                  <a16:creationId xmlns:a16="http://schemas.microsoft.com/office/drawing/2014/main" id="{B8435071-6CD1-4B40-9482-94A2B2D7CD4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2">
              <a:extLst>
                <a:ext uri="{FF2B5EF4-FFF2-40B4-BE49-F238E27FC236}">
                  <a16:creationId xmlns:a16="http://schemas.microsoft.com/office/drawing/2014/main" id="{22BCA5C3-5F13-481F-9F69-A3825B626C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3">
              <a:extLst>
                <a:ext uri="{FF2B5EF4-FFF2-40B4-BE49-F238E27FC236}">
                  <a16:creationId xmlns:a16="http://schemas.microsoft.com/office/drawing/2014/main" id="{84EBCB1B-9592-4EB1-A9CE-BD4D0391E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4">
              <a:extLst>
                <a:ext uri="{FF2B5EF4-FFF2-40B4-BE49-F238E27FC236}">
                  <a16:creationId xmlns:a16="http://schemas.microsoft.com/office/drawing/2014/main" id="{A8885CFD-4376-49EB-BA0C-541B4EABE5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id="{10DF7390-DBBD-49B1-9195-4CF59D2363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5" name="Grupa 184">
            <a:extLst>
              <a:ext uri="{FF2B5EF4-FFF2-40B4-BE49-F238E27FC236}">
                <a16:creationId xmlns:a16="http://schemas.microsoft.com/office/drawing/2014/main" id="{1C6178B2-1FEE-4D7B-8A1F-9630D5A7D74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53805" y="4509000"/>
            <a:ext cx="458770" cy="504000"/>
            <a:chOff x="11261725" y="1700213"/>
            <a:chExt cx="450851" cy="495300"/>
          </a:xfrm>
        </p:grpSpPr>
        <p:sp>
          <p:nvSpPr>
            <p:cNvPr id="186" name="Freeform 6">
              <a:extLst>
                <a:ext uri="{FF2B5EF4-FFF2-40B4-BE49-F238E27FC236}">
                  <a16:creationId xmlns:a16="http://schemas.microsoft.com/office/drawing/2014/main" id="{1BD87664-4235-428D-A7D6-752C8CCFF36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Line 7">
              <a:extLst>
                <a:ext uri="{FF2B5EF4-FFF2-40B4-BE49-F238E27FC236}">
                  <a16:creationId xmlns:a16="http://schemas.microsoft.com/office/drawing/2014/main" id="{5C111847-2359-4E6B-AABE-A4BA472C9C9C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Line 8">
              <a:extLst>
                <a:ext uri="{FF2B5EF4-FFF2-40B4-BE49-F238E27FC236}">
                  <a16:creationId xmlns:a16="http://schemas.microsoft.com/office/drawing/2014/main" id="{0E55B123-B48B-4D7B-9F48-3E850F1CC31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Line 9">
              <a:extLst>
                <a:ext uri="{FF2B5EF4-FFF2-40B4-BE49-F238E27FC236}">
                  <a16:creationId xmlns:a16="http://schemas.microsoft.com/office/drawing/2014/main" id="{F2AF4137-E1C1-48BA-8CFD-C7C0A7527178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Line 10">
              <a:extLst>
                <a:ext uri="{FF2B5EF4-FFF2-40B4-BE49-F238E27FC236}">
                  <a16:creationId xmlns:a16="http://schemas.microsoft.com/office/drawing/2014/main" id="{67491736-E991-4B0F-A3BD-AF2325D7E7B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Line 11">
              <a:extLst>
                <a:ext uri="{FF2B5EF4-FFF2-40B4-BE49-F238E27FC236}">
                  <a16:creationId xmlns:a16="http://schemas.microsoft.com/office/drawing/2014/main" id="{04F43D87-B1F5-4FB3-A157-F982DD70B44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Line 12">
              <a:extLst>
                <a:ext uri="{FF2B5EF4-FFF2-40B4-BE49-F238E27FC236}">
                  <a16:creationId xmlns:a16="http://schemas.microsoft.com/office/drawing/2014/main" id="{10BAF0DA-0E32-4458-96FE-14750579C72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Line 13">
              <a:extLst>
                <a:ext uri="{FF2B5EF4-FFF2-40B4-BE49-F238E27FC236}">
                  <a16:creationId xmlns:a16="http://schemas.microsoft.com/office/drawing/2014/main" id="{95651F24-87B6-478F-8F66-715E6D10E94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Line 14">
              <a:extLst>
                <a:ext uri="{FF2B5EF4-FFF2-40B4-BE49-F238E27FC236}">
                  <a16:creationId xmlns:a16="http://schemas.microsoft.com/office/drawing/2014/main" id="{6F8A2BDA-47EA-4835-B938-58B3EDFDC28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Line 15">
              <a:extLst>
                <a:ext uri="{FF2B5EF4-FFF2-40B4-BE49-F238E27FC236}">
                  <a16:creationId xmlns:a16="http://schemas.microsoft.com/office/drawing/2014/main" id="{CC285904-BAC7-4A41-A1E6-D232FFD612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Line 16">
              <a:extLst>
                <a:ext uri="{FF2B5EF4-FFF2-40B4-BE49-F238E27FC236}">
                  <a16:creationId xmlns:a16="http://schemas.microsoft.com/office/drawing/2014/main" id="{6DA7556A-5569-473E-83D1-9867046860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7" name="Grupa 196">
            <a:extLst>
              <a:ext uri="{FF2B5EF4-FFF2-40B4-BE49-F238E27FC236}">
                <a16:creationId xmlns:a16="http://schemas.microsoft.com/office/drawing/2014/main" id="{99CA59FB-9390-4296-8070-EF3162875FE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41342" y="5445000"/>
            <a:ext cx="471233" cy="504000"/>
            <a:chOff x="11225213" y="2628901"/>
            <a:chExt cx="479425" cy="512762"/>
          </a:xfrm>
        </p:grpSpPr>
        <p:sp>
          <p:nvSpPr>
            <p:cNvPr id="198" name="Line 20">
              <a:extLst>
                <a:ext uri="{FF2B5EF4-FFF2-40B4-BE49-F238E27FC236}">
                  <a16:creationId xmlns:a16="http://schemas.microsoft.com/office/drawing/2014/main" id="{5EE5BF82-9989-41CB-AEAE-CEED627151B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1">
              <a:extLst>
                <a:ext uri="{FF2B5EF4-FFF2-40B4-BE49-F238E27FC236}">
                  <a16:creationId xmlns:a16="http://schemas.microsoft.com/office/drawing/2014/main" id="{1CE0011C-AD04-437C-B1FD-F7006B3F681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Line 22">
              <a:extLst>
                <a:ext uri="{FF2B5EF4-FFF2-40B4-BE49-F238E27FC236}">
                  <a16:creationId xmlns:a16="http://schemas.microsoft.com/office/drawing/2014/main" id="{555376A6-E99D-4F2A-B9C0-C57FCBF119B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Line 23">
              <a:extLst>
                <a:ext uri="{FF2B5EF4-FFF2-40B4-BE49-F238E27FC236}">
                  <a16:creationId xmlns:a16="http://schemas.microsoft.com/office/drawing/2014/main" id="{2FEDD1FB-EEB3-4371-A497-DA0C7588F11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Line 24">
              <a:extLst>
                <a:ext uri="{FF2B5EF4-FFF2-40B4-BE49-F238E27FC236}">
                  <a16:creationId xmlns:a16="http://schemas.microsoft.com/office/drawing/2014/main" id="{FECA1491-C146-4471-AD71-2DEF3679DEC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Line 25">
              <a:extLst>
                <a:ext uri="{FF2B5EF4-FFF2-40B4-BE49-F238E27FC236}">
                  <a16:creationId xmlns:a16="http://schemas.microsoft.com/office/drawing/2014/main" id="{1BBCEFA7-381B-4334-BFB3-F1943AC89902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26">
              <a:extLst>
                <a:ext uri="{FF2B5EF4-FFF2-40B4-BE49-F238E27FC236}">
                  <a16:creationId xmlns:a16="http://schemas.microsoft.com/office/drawing/2014/main" id="{506E6AF9-0AA1-4EBA-9992-AD7934D06C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8E99CF20-3C51-4E0E-9B99-1EDF3925F970}"/>
              </a:ext>
            </a:extLst>
          </p:cNvPr>
          <p:cNvCxnSpPr>
            <a:cxnSpLocks/>
          </p:cNvCxnSpPr>
          <p:nvPr/>
        </p:nvCxnSpPr>
        <p:spPr bwMode="gray">
          <a:xfrm>
            <a:off x="551384" y="6093296"/>
            <a:ext cx="111611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D183A862-A471-41BD-8C6C-80448BAE9D30}"/>
              </a:ext>
            </a:extLst>
          </p:cNvPr>
          <p:cNvCxnSpPr>
            <a:cxnSpLocks/>
          </p:cNvCxnSpPr>
          <p:nvPr/>
        </p:nvCxnSpPr>
        <p:spPr bwMode="gray">
          <a:xfrm>
            <a:off x="2351584" y="5157192"/>
            <a:ext cx="93609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28B888EC-79A8-47B4-861E-57460C63BECB}"/>
              </a:ext>
            </a:extLst>
          </p:cNvPr>
          <p:cNvCxnSpPr>
            <a:cxnSpLocks/>
          </p:cNvCxnSpPr>
          <p:nvPr/>
        </p:nvCxnSpPr>
        <p:spPr bwMode="gray">
          <a:xfrm>
            <a:off x="4151784" y="4221088"/>
            <a:ext cx="75607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BE6D81CF-61FB-4807-8004-85E2DC18FE79}"/>
              </a:ext>
            </a:extLst>
          </p:cNvPr>
          <p:cNvCxnSpPr>
            <a:cxnSpLocks/>
          </p:cNvCxnSpPr>
          <p:nvPr/>
        </p:nvCxnSpPr>
        <p:spPr bwMode="gray">
          <a:xfrm>
            <a:off x="5951984" y="3284984"/>
            <a:ext cx="57605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51FA7C1F-E5B0-402C-B512-2E0A958426A8}"/>
              </a:ext>
            </a:extLst>
          </p:cNvPr>
          <p:cNvCxnSpPr>
            <a:cxnSpLocks/>
          </p:cNvCxnSpPr>
          <p:nvPr/>
        </p:nvCxnSpPr>
        <p:spPr bwMode="gray">
          <a:xfrm>
            <a:off x="7751763" y="2348880"/>
            <a:ext cx="39608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Inhaltsplatzhalter 7">
            <a:extLst>
              <a:ext uri="{FF2B5EF4-FFF2-40B4-BE49-F238E27FC236}">
                <a16:creationId xmlns:a16="http://schemas.microsoft.com/office/drawing/2014/main" id="{B02C00D5-BD37-4C80-AB32-7FA50E506DA6}"/>
              </a:ext>
            </a:extLst>
          </p:cNvPr>
          <p:cNvSpPr txBox="1">
            <a:spLocks/>
          </p:cNvSpPr>
          <p:nvPr/>
        </p:nvSpPr>
        <p:spPr bwMode="gray">
          <a:xfrm>
            <a:off x="551384" y="5445296"/>
            <a:ext cx="10296000" cy="648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103" name="Inhaltsplatzhalter 7">
            <a:extLst>
              <a:ext uri="{FF2B5EF4-FFF2-40B4-BE49-F238E27FC236}">
                <a16:creationId xmlns:a16="http://schemas.microsoft.com/office/drawing/2014/main" id="{7795A8A5-668B-4583-894F-BA0FAEA1002A}"/>
              </a:ext>
            </a:extLst>
          </p:cNvPr>
          <p:cNvSpPr txBox="1">
            <a:spLocks/>
          </p:cNvSpPr>
          <p:nvPr/>
        </p:nvSpPr>
        <p:spPr bwMode="gray">
          <a:xfrm>
            <a:off x="2351584" y="4509192"/>
            <a:ext cx="8495800" cy="648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104" name="Inhaltsplatzhalter 7">
            <a:extLst>
              <a:ext uri="{FF2B5EF4-FFF2-40B4-BE49-F238E27FC236}">
                <a16:creationId xmlns:a16="http://schemas.microsoft.com/office/drawing/2014/main" id="{7B6B0FDB-88A5-455D-B260-5D404424AEFA}"/>
              </a:ext>
            </a:extLst>
          </p:cNvPr>
          <p:cNvSpPr txBox="1">
            <a:spLocks/>
          </p:cNvSpPr>
          <p:nvPr/>
        </p:nvSpPr>
        <p:spPr bwMode="gray">
          <a:xfrm>
            <a:off x="4151784" y="3573016"/>
            <a:ext cx="6695600" cy="648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 et netus et malesuada</a:t>
            </a:r>
          </a:p>
        </p:txBody>
      </p:sp>
      <p:sp>
        <p:nvSpPr>
          <p:cNvPr id="105" name="Inhaltsplatzhalter 7">
            <a:extLst>
              <a:ext uri="{FF2B5EF4-FFF2-40B4-BE49-F238E27FC236}">
                <a16:creationId xmlns:a16="http://schemas.microsoft.com/office/drawing/2014/main" id="{10FAE4C3-C706-437A-AD0D-96794CE4AE43}"/>
              </a:ext>
            </a:extLst>
          </p:cNvPr>
          <p:cNvSpPr txBox="1">
            <a:spLocks/>
          </p:cNvSpPr>
          <p:nvPr/>
        </p:nvSpPr>
        <p:spPr bwMode="gray">
          <a:xfrm>
            <a:off x="5951984" y="2636912"/>
            <a:ext cx="4895400" cy="648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 tristique senectus</a:t>
            </a:r>
          </a:p>
        </p:txBody>
      </p:sp>
      <p:sp>
        <p:nvSpPr>
          <p:cNvPr id="106" name="Inhaltsplatzhalter 7">
            <a:extLst>
              <a:ext uri="{FF2B5EF4-FFF2-40B4-BE49-F238E27FC236}">
                <a16:creationId xmlns:a16="http://schemas.microsoft.com/office/drawing/2014/main" id="{BAA8A2BB-8B09-4F5F-924A-213AA719A251}"/>
              </a:ext>
            </a:extLst>
          </p:cNvPr>
          <p:cNvSpPr txBox="1">
            <a:spLocks/>
          </p:cNvSpPr>
          <p:nvPr/>
        </p:nvSpPr>
        <p:spPr bwMode="gray">
          <a:xfrm>
            <a:off x="7751762" y="1700808"/>
            <a:ext cx="3095621" cy="648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</a:t>
            </a:r>
          </a:p>
          <a:p>
            <a:pPr lvl="1"/>
            <a:r>
              <a:rPr lang="en-US" sz="1600" dirty="0"/>
              <a:t>Pellentesque habitant morbi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21664296"/>
      </p:ext>
    </p:extLst>
  </p:cSld>
  <p:clrMapOvr>
    <a:masterClrMapping/>
  </p:clrMapOvr>
  <p:transition spd="slow"/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AFE3AC0-13ED-41F0-8CCC-1B3304947F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Folie" r:id="rId7" imgW="359" imgH="360" progId="TCLayout.ActiveDocument.1">
                  <p:embed/>
                </p:oleObj>
              </mc:Choice>
              <mc:Fallback>
                <p:oleObj name="think-cell Folie" r:id="rId7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AFE3AC0-13ED-41F0-8CCC-1B3304947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1347786-08A8-4445-91C4-4AD89A5C14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Timeline 1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4</a:t>
            </a:fld>
            <a:endParaRPr lang="en-US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87B105-3138-434C-99C9-1A8C636898A3}"/>
              </a:ext>
            </a:extLst>
          </p:cNvPr>
          <p:cNvCxnSpPr>
            <a:cxnSpLocks/>
          </p:cNvCxnSpPr>
          <p:nvPr/>
        </p:nvCxnSpPr>
        <p:spPr bwMode="gray">
          <a:xfrm>
            <a:off x="0" y="3896519"/>
            <a:ext cx="1219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0DEB94B-AF58-49D8-B629-C248C96B94B5}"/>
              </a:ext>
            </a:extLst>
          </p:cNvPr>
          <p:cNvCxnSpPr>
            <a:cxnSpLocks/>
          </p:cNvCxnSpPr>
          <p:nvPr/>
        </p:nvCxnSpPr>
        <p:spPr bwMode="gray">
          <a:xfrm flipV="1">
            <a:off x="1631802" y="3897052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Inhaltsplatzhalter 7">
            <a:extLst>
              <a:ext uri="{FF2B5EF4-FFF2-40B4-BE49-F238E27FC236}">
                <a16:creationId xmlns:a16="http://schemas.microsoft.com/office/drawing/2014/main" id="{035C90BC-B33B-4E32-A9AD-51C9B8EAB6C5}"/>
              </a:ext>
            </a:extLst>
          </p:cNvPr>
          <p:cNvSpPr txBox="1">
            <a:spLocks/>
          </p:cNvSpPr>
          <p:nvPr/>
        </p:nvSpPr>
        <p:spPr bwMode="gray">
          <a:xfrm>
            <a:off x="1775744" y="4509136"/>
            <a:ext cx="2016000" cy="158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69" name="Inhaltsplatzhalter 7">
            <a:extLst>
              <a:ext uri="{FF2B5EF4-FFF2-40B4-BE49-F238E27FC236}">
                <a16:creationId xmlns:a16="http://schemas.microsoft.com/office/drawing/2014/main" id="{977C7888-541E-49EB-A003-F09B5E910DC2}"/>
              </a:ext>
            </a:extLst>
          </p:cNvPr>
          <p:cNvSpPr txBox="1">
            <a:spLocks/>
          </p:cNvSpPr>
          <p:nvPr/>
        </p:nvSpPr>
        <p:spPr bwMode="gray">
          <a:xfrm>
            <a:off x="911722" y="5697252"/>
            <a:ext cx="576000" cy="39588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01.6</a:t>
            </a:r>
          </a:p>
        </p:txBody>
      </p: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C99A72E4-6A53-45B3-A60C-62EF837470C7}"/>
              </a:ext>
            </a:extLst>
          </p:cNvPr>
          <p:cNvCxnSpPr>
            <a:cxnSpLocks/>
          </p:cNvCxnSpPr>
          <p:nvPr/>
        </p:nvCxnSpPr>
        <p:spPr bwMode="gray">
          <a:xfrm flipV="1">
            <a:off x="5411924" y="3897052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Inhaltsplatzhalter 7">
            <a:extLst>
              <a:ext uri="{FF2B5EF4-FFF2-40B4-BE49-F238E27FC236}">
                <a16:creationId xmlns:a16="http://schemas.microsoft.com/office/drawing/2014/main" id="{FE173A8D-3DF1-4912-A462-EBBFAB11E944}"/>
              </a:ext>
            </a:extLst>
          </p:cNvPr>
          <p:cNvSpPr txBox="1">
            <a:spLocks/>
          </p:cNvSpPr>
          <p:nvPr/>
        </p:nvSpPr>
        <p:spPr bwMode="gray">
          <a:xfrm>
            <a:off x="5555866" y="4509136"/>
            <a:ext cx="2016000" cy="158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72" name="Inhaltsplatzhalter 7">
            <a:extLst>
              <a:ext uri="{FF2B5EF4-FFF2-40B4-BE49-F238E27FC236}">
                <a16:creationId xmlns:a16="http://schemas.microsoft.com/office/drawing/2014/main" id="{CEEA10AA-4E41-49EE-A6CB-3E292CE612FF}"/>
              </a:ext>
            </a:extLst>
          </p:cNvPr>
          <p:cNvSpPr txBox="1">
            <a:spLocks/>
          </p:cNvSpPr>
          <p:nvPr/>
        </p:nvSpPr>
        <p:spPr bwMode="gray">
          <a:xfrm>
            <a:off x="4691844" y="5697252"/>
            <a:ext cx="576000" cy="39588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04.2</a:t>
            </a:r>
          </a:p>
        </p:txBody>
      </p: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64AB9ED9-1B0C-4C0F-AC77-CFD31C4DDE4D}"/>
              </a:ext>
            </a:extLst>
          </p:cNvPr>
          <p:cNvCxnSpPr>
            <a:cxnSpLocks/>
          </p:cNvCxnSpPr>
          <p:nvPr/>
        </p:nvCxnSpPr>
        <p:spPr bwMode="gray">
          <a:xfrm flipV="1">
            <a:off x="9444372" y="3897052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Inhaltsplatzhalter 7">
            <a:extLst>
              <a:ext uri="{FF2B5EF4-FFF2-40B4-BE49-F238E27FC236}">
                <a16:creationId xmlns:a16="http://schemas.microsoft.com/office/drawing/2014/main" id="{892E20E8-8EF9-4E67-8770-FAEB78436565}"/>
              </a:ext>
            </a:extLst>
          </p:cNvPr>
          <p:cNvSpPr txBox="1">
            <a:spLocks/>
          </p:cNvSpPr>
          <p:nvPr/>
        </p:nvSpPr>
        <p:spPr bwMode="gray">
          <a:xfrm>
            <a:off x="9588314" y="4509136"/>
            <a:ext cx="2016000" cy="158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75" name="Inhaltsplatzhalter 7">
            <a:extLst>
              <a:ext uri="{FF2B5EF4-FFF2-40B4-BE49-F238E27FC236}">
                <a16:creationId xmlns:a16="http://schemas.microsoft.com/office/drawing/2014/main" id="{AF4352A4-15AB-434E-A5CB-5F7507B4F6A7}"/>
              </a:ext>
            </a:extLst>
          </p:cNvPr>
          <p:cNvSpPr txBox="1">
            <a:spLocks/>
          </p:cNvSpPr>
          <p:nvPr/>
        </p:nvSpPr>
        <p:spPr bwMode="gray">
          <a:xfrm>
            <a:off x="8724292" y="5697252"/>
            <a:ext cx="576000" cy="39588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07.2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41ED2AE-2435-4C6C-8428-629F191F0B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187926" y="1700808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Inhaltsplatzhalter 7">
            <a:extLst>
              <a:ext uri="{FF2B5EF4-FFF2-40B4-BE49-F238E27FC236}">
                <a16:creationId xmlns:a16="http://schemas.microsoft.com/office/drawing/2014/main" id="{D91F2807-601A-40C6-A815-44FB604C332F}"/>
              </a:ext>
            </a:extLst>
          </p:cNvPr>
          <p:cNvSpPr txBox="1">
            <a:spLocks/>
          </p:cNvSpPr>
          <p:nvPr/>
        </p:nvSpPr>
        <p:spPr bwMode="gray">
          <a:xfrm>
            <a:off x="2027772" y="1700808"/>
            <a:ext cx="2016000" cy="1584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Lorem ipsum </a:t>
            </a:r>
          </a:p>
          <a:p>
            <a:pPr lvl="1" algn="r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79" name="Inhaltsplatzhalter 7">
            <a:extLst>
              <a:ext uri="{FF2B5EF4-FFF2-40B4-BE49-F238E27FC236}">
                <a16:creationId xmlns:a16="http://schemas.microsoft.com/office/drawing/2014/main" id="{A063E3E3-5308-4512-9DFB-0694B5939132}"/>
              </a:ext>
            </a:extLst>
          </p:cNvPr>
          <p:cNvSpPr txBox="1">
            <a:spLocks/>
          </p:cNvSpPr>
          <p:nvPr/>
        </p:nvSpPr>
        <p:spPr bwMode="gray">
          <a:xfrm>
            <a:off x="4331868" y="1700808"/>
            <a:ext cx="576000" cy="39588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03.4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A3031EA9-0F3F-4809-A1C6-CC78EA075F8C}"/>
              </a:ext>
            </a:extLst>
          </p:cNvPr>
          <p:cNvCxnSpPr>
            <a:cxnSpLocks/>
          </p:cNvCxnSpPr>
          <p:nvPr/>
        </p:nvCxnSpPr>
        <p:spPr bwMode="gray">
          <a:xfrm flipV="1">
            <a:off x="8076358" y="1700808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Inhaltsplatzhalter 7">
            <a:extLst>
              <a:ext uri="{FF2B5EF4-FFF2-40B4-BE49-F238E27FC236}">
                <a16:creationId xmlns:a16="http://schemas.microsoft.com/office/drawing/2014/main" id="{97612DF6-91CC-43D5-A87C-9EDE2626443E}"/>
              </a:ext>
            </a:extLst>
          </p:cNvPr>
          <p:cNvSpPr txBox="1">
            <a:spLocks/>
          </p:cNvSpPr>
          <p:nvPr/>
        </p:nvSpPr>
        <p:spPr bwMode="gray">
          <a:xfrm>
            <a:off x="5916204" y="1700808"/>
            <a:ext cx="2016000" cy="1584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Lorem ipsum </a:t>
            </a:r>
          </a:p>
          <a:p>
            <a:pPr lvl="1" algn="r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82" name="Inhaltsplatzhalter 7">
            <a:extLst>
              <a:ext uri="{FF2B5EF4-FFF2-40B4-BE49-F238E27FC236}">
                <a16:creationId xmlns:a16="http://schemas.microsoft.com/office/drawing/2014/main" id="{3548072D-766C-4449-95B1-D4E6B901F99E}"/>
              </a:ext>
            </a:extLst>
          </p:cNvPr>
          <p:cNvSpPr txBox="1">
            <a:spLocks/>
          </p:cNvSpPr>
          <p:nvPr/>
        </p:nvSpPr>
        <p:spPr bwMode="gray">
          <a:xfrm>
            <a:off x="8220300" y="1700808"/>
            <a:ext cx="576000" cy="39588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06.1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55901213-F639-4653-B45E-5A4BAACE25DB}"/>
              </a:ext>
            </a:extLst>
          </p:cNvPr>
          <p:cNvCxnSpPr>
            <a:cxnSpLocks/>
          </p:cNvCxnSpPr>
          <p:nvPr/>
        </p:nvCxnSpPr>
        <p:spPr bwMode="gray">
          <a:xfrm flipV="1">
            <a:off x="10992682" y="1700808"/>
            <a:ext cx="0" cy="21957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Inhaltsplatzhalter 7">
            <a:extLst>
              <a:ext uri="{FF2B5EF4-FFF2-40B4-BE49-F238E27FC236}">
                <a16:creationId xmlns:a16="http://schemas.microsoft.com/office/drawing/2014/main" id="{86D200D7-B64B-4F60-A37A-1AD80DDB7F48}"/>
              </a:ext>
            </a:extLst>
          </p:cNvPr>
          <p:cNvSpPr txBox="1">
            <a:spLocks/>
          </p:cNvSpPr>
          <p:nvPr/>
        </p:nvSpPr>
        <p:spPr bwMode="gray">
          <a:xfrm>
            <a:off x="8832528" y="1700808"/>
            <a:ext cx="2016000" cy="1584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/>
              <a:t>Lorem ipsum </a:t>
            </a:r>
          </a:p>
          <a:p>
            <a:pPr lvl="1" algn="r"/>
            <a:r>
              <a:rPr lang="en-US" sz="1600" dirty="0"/>
              <a:t>Sed diam nonummy </a:t>
            </a:r>
            <a:br>
              <a:rPr lang="en-US" sz="1600" dirty="0"/>
            </a:br>
            <a:r>
              <a:rPr lang="en-US" sz="1600" dirty="0"/>
              <a:t>nibh euismod dolore magna aliquam </a:t>
            </a:r>
          </a:p>
        </p:txBody>
      </p:sp>
      <p:sp>
        <p:nvSpPr>
          <p:cNvPr id="86" name="Inhaltsplatzhalter 7">
            <a:extLst>
              <a:ext uri="{FF2B5EF4-FFF2-40B4-BE49-F238E27FC236}">
                <a16:creationId xmlns:a16="http://schemas.microsoft.com/office/drawing/2014/main" id="{58371F57-B7DF-4B96-8FC5-AF93C572FE9D}"/>
              </a:ext>
            </a:extLst>
          </p:cNvPr>
          <p:cNvSpPr txBox="1">
            <a:spLocks/>
          </p:cNvSpPr>
          <p:nvPr/>
        </p:nvSpPr>
        <p:spPr bwMode="gray">
          <a:xfrm>
            <a:off x="11136624" y="1700808"/>
            <a:ext cx="576000" cy="39588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08.6</a:t>
            </a:r>
          </a:p>
        </p:txBody>
      </p:sp>
      <p:sp>
        <p:nvSpPr>
          <p:cNvPr id="35" name="Inhaltsplatzhalter 6">
            <a:extLst>
              <a:ext uri="{FF2B5EF4-FFF2-40B4-BE49-F238E27FC236}">
                <a16:creationId xmlns:a16="http://schemas.microsoft.com/office/drawing/2014/main" id="{CB448D4F-6C5E-4AB1-B304-56AFD93E621D}"/>
              </a:ext>
            </a:extLst>
          </p:cNvPr>
          <p:cNvSpPr txBox="1">
            <a:spLocks/>
          </p:cNvSpPr>
          <p:nvPr/>
        </p:nvSpPr>
        <p:spPr bwMode="gray">
          <a:xfrm>
            <a:off x="551384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1</a:t>
            </a:r>
          </a:p>
        </p:txBody>
      </p:sp>
      <p:sp>
        <p:nvSpPr>
          <p:cNvPr id="36" name="Inhaltsplatzhalter 6">
            <a:extLst>
              <a:ext uri="{FF2B5EF4-FFF2-40B4-BE49-F238E27FC236}">
                <a16:creationId xmlns:a16="http://schemas.microsoft.com/office/drawing/2014/main" id="{24CF69F6-955E-47F7-8BAF-E2CF6C0FC965}"/>
              </a:ext>
            </a:extLst>
          </p:cNvPr>
          <p:cNvSpPr txBox="1">
            <a:spLocks/>
          </p:cNvSpPr>
          <p:nvPr/>
        </p:nvSpPr>
        <p:spPr bwMode="gray">
          <a:xfrm>
            <a:off x="9993730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8</a:t>
            </a:r>
          </a:p>
        </p:txBody>
      </p:sp>
      <p:sp>
        <p:nvSpPr>
          <p:cNvPr id="37" name="Inhaltsplatzhalter 6">
            <a:extLst>
              <a:ext uri="{FF2B5EF4-FFF2-40B4-BE49-F238E27FC236}">
                <a16:creationId xmlns:a16="http://schemas.microsoft.com/office/drawing/2014/main" id="{3961062D-9FCE-4329-AFC0-021360D6F3EF}"/>
              </a:ext>
            </a:extLst>
          </p:cNvPr>
          <p:cNvSpPr txBox="1">
            <a:spLocks/>
          </p:cNvSpPr>
          <p:nvPr/>
        </p:nvSpPr>
        <p:spPr bwMode="gray">
          <a:xfrm>
            <a:off x="8644826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7</a:t>
            </a:r>
          </a:p>
        </p:txBody>
      </p:sp>
      <p:sp>
        <p:nvSpPr>
          <p:cNvPr id="38" name="Inhaltsplatzhalter 6">
            <a:extLst>
              <a:ext uri="{FF2B5EF4-FFF2-40B4-BE49-F238E27FC236}">
                <a16:creationId xmlns:a16="http://schemas.microsoft.com/office/drawing/2014/main" id="{48B11F87-7322-43EF-84FE-B083E938F232}"/>
              </a:ext>
            </a:extLst>
          </p:cNvPr>
          <p:cNvSpPr txBox="1">
            <a:spLocks/>
          </p:cNvSpPr>
          <p:nvPr/>
        </p:nvSpPr>
        <p:spPr bwMode="gray">
          <a:xfrm>
            <a:off x="7295919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6</a:t>
            </a:r>
          </a:p>
        </p:txBody>
      </p:sp>
      <p:sp>
        <p:nvSpPr>
          <p:cNvPr id="39" name="Inhaltsplatzhalter 6">
            <a:extLst>
              <a:ext uri="{FF2B5EF4-FFF2-40B4-BE49-F238E27FC236}">
                <a16:creationId xmlns:a16="http://schemas.microsoft.com/office/drawing/2014/main" id="{43624905-D0A0-46C0-9A92-12401DFB3FB6}"/>
              </a:ext>
            </a:extLst>
          </p:cNvPr>
          <p:cNvSpPr txBox="1">
            <a:spLocks/>
          </p:cNvSpPr>
          <p:nvPr/>
        </p:nvSpPr>
        <p:spPr bwMode="gray">
          <a:xfrm>
            <a:off x="5947012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5</a:t>
            </a:r>
          </a:p>
        </p:txBody>
      </p:sp>
      <p:sp>
        <p:nvSpPr>
          <p:cNvPr id="40" name="Inhaltsplatzhalter 6">
            <a:extLst>
              <a:ext uri="{FF2B5EF4-FFF2-40B4-BE49-F238E27FC236}">
                <a16:creationId xmlns:a16="http://schemas.microsoft.com/office/drawing/2014/main" id="{DB1911B6-45EA-4E1A-8E38-AEF1CCF0DFEF}"/>
              </a:ext>
            </a:extLst>
          </p:cNvPr>
          <p:cNvSpPr txBox="1">
            <a:spLocks/>
          </p:cNvSpPr>
          <p:nvPr/>
        </p:nvSpPr>
        <p:spPr bwMode="gray">
          <a:xfrm>
            <a:off x="4598105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4</a:t>
            </a:r>
          </a:p>
        </p:txBody>
      </p:sp>
      <p:sp>
        <p:nvSpPr>
          <p:cNvPr id="41" name="Inhaltsplatzhalter 6">
            <a:extLst>
              <a:ext uri="{FF2B5EF4-FFF2-40B4-BE49-F238E27FC236}">
                <a16:creationId xmlns:a16="http://schemas.microsoft.com/office/drawing/2014/main" id="{BD602993-86FB-4F14-8BA5-48BEB7B9C10B}"/>
              </a:ext>
            </a:extLst>
          </p:cNvPr>
          <p:cNvSpPr txBox="1">
            <a:spLocks/>
          </p:cNvSpPr>
          <p:nvPr/>
        </p:nvSpPr>
        <p:spPr bwMode="gray">
          <a:xfrm>
            <a:off x="3249198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3</a:t>
            </a:r>
          </a:p>
        </p:txBody>
      </p:sp>
      <p:sp>
        <p:nvSpPr>
          <p:cNvPr id="42" name="Inhaltsplatzhalter 6">
            <a:extLst>
              <a:ext uri="{FF2B5EF4-FFF2-40B4-BE49-F238E27FC236}">
                <a16:creationId xmlns:a16="http://schemas.microsoft.com/office/drawing/2014/main" id="{F72C4E71-0525-4FBB-9EE5-D34E907321B6}"/>
              </a:ext>
            </a:extLst>
          </p:cNvPr>
          <p:cNvSpPr txBox="1">
            <a:spLocks/>
          </p:cNvSpPr>
          <p:nvPr/>
        </p:nvSpPr>
        <p:spPr bwMode="gray">
          <a:xfrm>
            <a:off x="1900291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0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02090388"/>
      </p:ext>
    </p:extLst>
  </p:cSld>
  <p:clrMapOvr>
    <a:masterClrMapping/>
  </p:clrMapOvr>
  <p:transition spd="slow"/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2D650841-9CE9-47BF-9479-B09ECBECBDE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2D650841-9CE9-47BF-9479-B09ECBECB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85300CD1-8480-4205-9433-56D3C63B9A5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ytuł 6">
            <a:extLst>
              <a:ext uri="{FF2B5EF4-FFF2-40B4-BE49-F238E27FC236}">
                <a16:creationId xmlns:a16="http://schemas.microsoft.com/office/drawing/2014/main" id="{B50DA144-25EA-437B-B885-811D3AB98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 2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5</a:t>
            </a:fld>
            <a:endParaRPr lang="en-US" dirty="0"/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C6E363AD-40E0-4963-AC49-C6DE6ACA1672}"/>
              </a:ext>
            </a:extLst>
          </p:cNvPr>
          <p:cNvCxnSpPr>
            <a:cxnSpLocks/>
          </p:cNvCxnSpPr>
          <p:nvPr/>
        </p:nvCxnSpPr>
        <p:spPr bwMode="gray">
          <a:xfrm>
            <a:off x="0" y="3896519"/>
            <a:ext cx="1219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Inhaltsplatzhalter 7">
            <a:extLst>
              <a:ext uri="{FF2B5EF4-FFF2-40B4-BE49-F238E27FC236}">
                <a16:creationId xmlns:a16="http://schemas.microsoft.com/office/drawing/2014/main" id="{5DE3FCBE-7DDA-4D59-B8AE-6B2E9A2127D2}"/>
              </a:ext>
            </a:extLst>
          </p:cNvPr>
          <p:cNvSpPr txBox="1">
            <a:spLocks/>
          </p:cNvSpPr>
          <p:nvPr/>
        </p:nvSpPr>
        <p:spPr bwMode="gray">
          <a:xfrm>
            <a:off x="551385" y="1700808"/>
            <a:ext cx="1728266" cy="108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Quisque mauris</a:t>
            </a:r>
            <a:br>
              <a:rPr lang="en-US" sz="1600" dirty="0"/>
            </a:br>
            <a:r>
              <a:rPr lang="en-US" sz="1600" dirty="0"/>
              <a:t>nec rhoncus eu. Vivamus a tellus.</a:t>
            </a:r>
          </a:p>
        </p:txBody>
      </p:sp>
      <p:sp>
        <p:nvSpPr>
          <p:cNvPr id="111" name="Inhaltsplatzhalter 7">
            <a:extLst>
              <a:ext uri="{FF2B5EF4-FFF2-40B4-BE49-F238E27FC236}">
                <a16:creationId xmlns:a16="http://schemas.microsoft.com/office/drawing/2014/main" id="{8B502858-F7D3-4DBC-B12A-BDED56AB9AAB}"/>
              </a:ext>
            </a:extLst>
          </p:cNvPr>
          <p:cNvSpPr txBox="1">
            <a:spLocks/>
          </p:cNvSpPr>
          <p:nvPr/>
        </p:nvSpPr>
        <p:spPr bwMode="gray">
          <a:xfrm>
            <a:off x="551385" y="5013296"/>
            <a:ext cx="1728266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</a:t>
            </a:r>
            <a:br>
              <a:rPr lang="en-US" sz="1800" dirty="0"/>
            </a:br>
            <a:r>
              <a:rPr lang="en-US" sz="1800" dirty="0"/>
              <a:t>ipsum dolor</a:t>
            </a:r>
          </a:p>
        </p:txBody>
      </p:sp>
      <p:grpSp>
        <p:nvGrpSpPr>
          <p:cNvPr id="112" name="Grupa 169">
            <a:extLst>
              <a:ext uri="{FF2B5EF4-FFF2-40B4-BE49-F238E27FC236}">
                <a16:creationId xmlns:a16="http://schemas.microsoft.com/office/drawing/2014/main" id="{5F3EA345-E0F3-4D64-91EE-8441C7157D6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2000" y="4329012"/>
            <a:ext cx="458770" cy="504000"/>
            <a:chOff x="11261725" y="1700213"/>
            <a:chExt cx="450851" cy="495300"/>
          </a:xfrm>
        </p:grpSpPr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103C1A18-C1B0-4B1D-8E63-873D7D8D6D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Line 7">
              <a:extLst>
                <a:ext uri="{FF2B5EF4-FFF2-40B4-BE49-F238E27FC236}">
                  <a16:creationId xmlns:a16="http://schemas.microsoft.com/office/drawing/2014/main" id="{76CCD83C-6B0C-4F3D-BEEF-EC48652355E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Line 8">
              <a:extLst>
                <a:ext uri="{FF2B5EF4-FFF2-40B4-BE49-F238E27FC236}">
                  <a16:creationId xmlns:a16="http://schemas.microsoft.com/office/drawing/2014/main" id="{878096E0-9CE7-4716-B113-7836164EF2C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Line 9">
              <a:extLst>
                <a:ext uri="{FF2B5EF4-FFF2-40B4-BE49-F238E27FC236}">
                  <a16:creationId xmlns:a16="http://schemas.microsoft.com/office/drawing/2014/main" id="{DDE699EB-859C-4307-BF58-A9AE112B67D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Line 10">
              <a:extLst>
                <a:ext uri="{FF2B5EF4-FFF2-40B4-BE49-F238E27FC236}">
                  <a16:creationId xmlns:a16="http://schemas.microsoft.com/office/drawing/2014/main" id="{AA4F822F-9D5E-43B2-864D-0AB19E09805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Line 11">
              <a:extLst>
                <a:ext uri="{FF2B5EF4-FFF2-40B4-BE49-F238E27FC236}">
                  <a16:creationId xmlns:a16="http://schemas.microsoft.com/office/drawing/2014/main" id="{1DD60611-EEFC-47B2-82CE-F1A417CC333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Line 12">
              <a:extLst>
                <a:ext uri="{FF2B5EF4-FFF2-40B4-BE49-F238E27FC236}">
                  <a16:creationId xmlns:a16="http://schemas.microsoft.com/office/drawing/2014/main" id="{F47AA84D-A823-4A63-8AFC-A94FA23D5E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Line 13">
              <a:extLst>
                <a:ext uri="{FF2B5EF4-FFF2-40B4-BE49-F238E27FC236}">
                  <a16:creationId xmlns:a16="http://schemas.microsoft.com/office/drawing/2014/main" id="{46434E2F-26B8-41DA-B1EE-2B4BB675CCB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Line 14">
              <a:extLst>
                <a:ext uri="{FF2B5EF4-FFF2-40B4-BE49-F238E27FC236}">
                  <a16:creationId xmlns:a16="http://schemas.microsoft.com/office/drawing/2014/main" id="{CF87B171-BAA3-4843-992B-CB7AFFC1FD0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Line 15">
              <a:extLst>
                <a:ext uri="{FF2B5EF4-FFF2-40B4-BE49-F238E27FC236}">
                  <a16:creationId xmlns:a16="http://schemas.microsoft.com/office/drawing/2014/main" id="{F6E66C6C-B759-4F8A-91E8-F63B57220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Line 16">
              <a:extLst>
                <a:ext uri="{FF2B5EF4-FFF2-40B4-BE49-F238E27FC236}">
                  <a16:creationId xmlns:a16="http://schemas.microsoft.com/office/drawing/2014/main" id="{C1FDD192-470D-4A40-954D-D7550AC9C5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4" name="Grupa 181">
            <a:extLst>
              <a:ext uri="{FF2B5EF4-FFF2-40B4-BE49-F238E27FC236}">
                <a16:creationId xmlns:a16="http://schemas.microsoft.com/office/drawing/2014/main" id="{4AA87A9E-7E26-4FAC-98A4-972BE349178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928000" y="3069000"/>
            <a:ext cx="471233" cy="504000"/>
            <a:chOff x="11225213" y="2628901"/>
            <a:chExt cx="479425" cy="512762"/>
          </a:xfrm>
        </p:grpSpPr>
        <p:sp>
          <p:nvSpPr>
            <p:cNvPr id="126" name="Line 20">
              <a:extLst>
                <a:ext uri="{FF2B5EF4-FFF2-40B4-BE49-F238E27FC236}">
                  <a16:creationId xmlns:a16="http://schemas.microsoft.com/office/drawing/2014/main" id="{94EA2B44-5840-46A0-8150-D9AB83B7FC8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:a16="http://schemas.microsoft.com/office/drawing/2014/main" id="{E0276D1D-EAA6-4A36-872C-8045FFB856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Line 22">
              <a:extLst>
                <a:ext uri="{FF2B5EF4-FFF2-40B4-BE49-F238E27FC236}">
                  <a16:creationId xmlns:a16="http://schemas.microsoft.com/office/drawing/2014/main" id="{59F4BC89-355F-4A86-99E8-2509095E002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Line 23">
              <a:extLst>
                <a:ext uri="{FF2B5EF4-FFF2-40B4-BE49-F238E27FC236}">
                  <a16:creationId xmlns:a16="http://schemas.microsoft.com/office/drawing/2014/main" id="{C126AE8B-D9D8-4EFC-BEAD-56CBADA1DB3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Line 24">
              <a:extLst>
                <a:ext uri="{FF2B5EF4-FFF2-40B4-BE49-F238E27FC236}">
                  <a16:creationId xmlns:a16="http://schemas.microsoft.com/office/drawing/2014/main" id="{DD861C85-7827-487D-B467-A155C889CD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Line 25">
              <a:extLst>
                <a:ext uri="{FF2B5EF4-FFF2-40B4-BE49-F238E27FC236}">
                  <a16:creationId xmlns:a16="http://schemas.microsoft.com/office/drawing/2014/main" id="{06D920C3-117D-43FA-B2BC-0D5D132B2CAC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26">
              <a:extLst>
                <a:ext uri="{FF2B5EF4-FFF2-40B4-BE49-F238E27FC236}">
                  <a16:creationId xmlns:a16="http://schemas.microsoft.com/office/drawing/2014/main" id="{7A36D492-0E54-4CD0-80D7-0086F6EDBEE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3" name="Grupa 189">
            <a:extLst>
              <a:ext uri="{FF2B5EF4-FFF2-40B4-BE49-F238E27FC236}">
                <a16:creationId xmlns:a16="http://schemas.microsoft.com/office/drawing/2014/main" id="{CF0C3D6B-ED90-45A8-A914-D5D79297050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304000" y="4221000"/>
            <a:ext cx="550421" cy="504000"/>
            <a:chOff x="11176000" y="3582988"/>
            <a:chExt cx="527050" cy="482600"/>
          </a:xfrm>
        </p:grpSpPr>
        <p:sp>
          <p:nvSpPr>
            <p:cNvPr id="134" name="Freeform 30">
              <a:extLst>
                <a:ext uri="{FF2B5EF4-FFF2-40B4-BE49-F238E27FC236}">
                  <a16:creationId xmlns:a16="http://schemas.microsoft.com/office/drawing/2014/main" id="{6CBD44B9-8C4C-4465-A6C1-9509FAC7AA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31">
              <a:extLst>
                <a:ext uri="{FF2B5EF4-FFF2-40B4-BE49-F238E27FC236}">
                  <a16:creationId xmlns:a16="http://schemas.microsoft.com/office/drawing/2014/main" id="{39F24D4B-FC87-4993-8EF1-32E8A37A2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32">
              <a:extLst>
                <a:ext uri="{FF2B5EF4-FFF2-40B4-BE49-F238E27FC236}">
                  <a16:creationId xmlns:a16="http://schemas.microsoft.com/office/drawing/2014/main" id="{667D37E0-CE68-4C3C-ACC8-A306684F7CD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33">
              <a:extLst>
                <a:ext uri="{FF2B5EF4-FFF2-40B4-BE49-F238E27FC236}">
                  <a16:creationId xmlns:a16="http://schemas.microsoft.com/office/drawing/2014/main" id="{1D4CFACD-A48D-44F6-A424-11A4C302A17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34">
              <a:extLst>
                <a:ext uri="{FF2B5EF4-FFF2-40B4-BE49-F238E27FC236}">
                  <a16:creationId xmlns:a16="http://schemas.microsoft.com/office/drawing/2014/main" id="{D8BBC1D7-2830-4475-AD3F-EA428162C70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35">
              <a:extLst>
                <a:ext uri="{FF2B5EF4-FFF2-40B4-BE49-F238E27FC236}">
                  <a16:creationId xmlns:a16="http://schemas.microsoft.com/office/drawing/2014/main" id="{108442B7-C937-4C46-85EE-5B72528FACB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3" name="Grupa 196">
            <a:extLst>
              <a:ext uri="{FF2B5EF4-FFF2-40B4-BE49-F238E27FC236}">
                <a16:creationId xmlns:a16="http://schemas.microsoft.com/office/drawing/2014/main" id="{E805349C-4B43-454A-B60D-560FA884BD3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08000" y="3069000"/>
            <a:ext cx="458770" cy="504000"/>
            <a:chOff x="11261725" y="1700213"/>
            <a:chExt cx="450851" cy="495300"/>
          </a:xfrm>
        </p:grpSpPr>
        <p:sp>
          <p:nvSpPr>
            <p:cNvPr id="144" name="Freeform 6">
              <a:extLst>
                <a:ext uri="{FF2B5EF4-FFF2-40B4-BE49-F238E27FC236}">
                  <a16:creationId xmlns:a16="http://schemas.microsoft.com/office/drawing/2014/main" id="{2C6BE3FF-F5D7-4DE0-AE91-C2E0A3B3E28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Line 7">
              <a:extLst>
                <a:ext uri="{FF2B5EF4-FFF2-40B4-BE49-F238E27FC236}">
                  <a16:creationId xmlns:a16="http://schemas.microsoft.com/office/drawing/2014/main" id="{02FCC382-0DC6-422C-8A31-743519784E0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Line 8">
              <a:extLst>
                <a:ext uri="{FF2B5EF4-FFF2-40B4-BE49-F238E27FC236}">
                  <a16:creationId xmlns:a16="http://schemas.microsoft.com/office/drawing/2014/main" id="{8CDEA210-3341-49C8-9C07-DCCA001B89E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Line 9">
              <a:extLst>
                <a:ext uri="{FF2B5EF4-FFF2-40B4-BE49-F238E27FC236}">
                  <a16:creationId xmlns:a16="http://schemas.microsoft.com/office/drawing/2014/main" id="{B05DC577-9195-40A2-8FB5-18018A2D636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Line 10">
              <a:extLst>
                <a:ext uri="{FF2B5EF4-FFF2-40B4-BE49-F238E27FC236}">
                  <a16:creationId xmlns:a16="http://schemas.microsoft.com/office/drawing/2014/main" id="{B9BB21F2-6A4F-4D98-B384-D0CCC88988C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Line 11">
              <a:extLst>
                <a:ext uri="{FF2B5EF4-FFF2-40B4-BE49-F238E27FC236}">
                  <a16:creationId xmlns:a16="http://schemas.microsoft.com/office/drawing/2014/main" id="{10DA7590-D945-472A-88F3-07EF482CA73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Line 12">
              <a:extLst>
                <a:ext uri="{FF2B5EF4-FFF2-40B4-BE49-F238E27FC236}">
                  <a16:creationId xmlns:a16="http://schemas.microsoft.com/office/drawing/2014/main" id="{0CEF7D6B-0036-4003-9876-06EBDAAEFE8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Line 13">
              <a:extLst>
                <a:ext uri="{FF2B5EF4-FFF2-40B4-BE49-F238E27FC236}">
                  <a16:creationId xmlns:a16="http://schemas.microsoft.com/office/drawing/2014/main" id="{1DDC9043-AED2-451A-A281-32E4ABD0492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Line 14">
              <a:extLst>
                <a:ext uri="{FF2B5EF4-FFF2-40B4-BE49-F238E27FC236}">
                  <a16:creationId xmlns:a16="http://schemas.microsoft.com/office/drawing/2014/main" id="{44AA438E-3D81-4D4D-8D9E-ECD6D83D04F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Line 15">
              <a:extLst>
                <a:ext uri="{FF2B5EF4-FFF2-40B4-BE49-F238E27FC236}">
                  <a16:creationId xmlns:a16="http://schemas.microsoft.com/office/drawing/2014/main" id="{69ABBD22-8ED0-4D04-AB2C-1CF188B0C4C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Line 16">
              <a:extLst>
                <a:ext uri="{FF2B5EF4-FFF2-40B4-BE49-F238E27FC236}">
                  <a16:creationId xmlns:a16="http://schemas.microsoft.com/office/drawing/2014/main" id="{5C98D2EF-341F-4FA6-B39C-2A9436C7B5D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2" name="Grupa 208">
            <a:extLst>
              <a:ext uri="{FF2B5EF4-FFF2-40B4-BE49-F238E27FC236}">
                <a16:creationId xmlns:a16="http://schemas.microsoft.com/office/drawing/2014/main" id="{515EA7A3-E100-4E59-B3DD-BDF32C53DD4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84432" y="4221000"/>
            <a:ext cx="471233" cy="504000"/>
            <a:chOff x="11225213" y="2628901"/>
            <a:chExt cx="479425" cy="512762"/>
          </a:xfrm>
        </p:grpSpPr>
        <p:sp>
          <p:nvSpPr>
            <p:cNvPr id="165" name="Line 20">
              <a:extLst>
                <a:ext uri="{FF2B5EF4-FFF2-40B4-BE49-F238E27FC236}">
                  <a16:creationId xmlns:a16="http://schemas.microsoft.com/office/drawing/2014/main" id="{AA50FC77-1E5E-402B-ACAD-FFF0CE5191BA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21">
              <a:extLst>
                <a:ext uri="{FF2B5EF4-FFF2-40B4-BE49-F238E27FC236}">
                  <a16:creationId xmlns:a16="http://schemas.microsoft.com/office/drawing/2014/main" id="{F4D6A5E7-86E6-46AB-9D65-76F1C298492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Line 22">
              <a:extLst>
                <a:ext uri="{FF2B5EF4-FFF2-40B4-BE49-F238E27FC236}">
                  <a16:creationId xmlns:a16="http://schemas.microsoft.com/office/drawing/2014/main" id="{8B27886B-D18A-4344-BEDC-C972CCDF807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Line 23">
              <a:extLst>
                <a:ext uri="{FF2B5EF4-FFF2-40B4-BE49-F238E27FC236}">
                  <a16:creationId xmlns:a16="http://schemas.microsoft.com/office/drawing/2014/main" id="{80179817-6710-4C5E-B2F9-FA225AEED2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Line 24">
              <a:extLst>
                <a:ext uri="{FF2B5EF4-FFF2-40B4-BE49-F238E27FC236}">
                  <a16:creationId xmlns:a16="http://schemas.microsoft.com/office/drawing/2014/main" id="{9FD845DF-7124-445F-B6C2-31D94A038DE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Line 25">
              <a:extLst>
                <a:ext uri="{FF2B5EF4-FFF2-40B4-BE49-F238E27FC236}">
                  <a16:creationId xmlns:a16="http://schemas.microsoft.com/office/drawing/2014/main" id="{6492DD69-5C4A-4923-A9E2-6D9D7BD1654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Freeform 26">
              <a:extLst>
                <a:ext uri="{FF2B5EF4-FFF2-40B4-BE49-F238E27FC236}">
                  <a16:creationId xmlns:a16="http://schemas.microsoft.com/office/drawing/2014/main" id="{B3774D11-4A73-43D9-8409-E64DC9FA151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0" name="Inhaltsplatzhalter 7">
            <a:extLst>
              <a:ext uri="{FF2B5EF4-FFF2-40B4-BE49-F238E27FC236}">
                <a16:creationId xmlns:a16="http://schemas.microsoft.com/office/drawing/2014/main" id="{99BF69DF-5B08-40EB-B763-064AE5FD650D}"/>
              </a:ext>
            </a:extLst>
          </p:cNvPr>
          <p:cNvSpPr txBox="1">
            <a:spLocks/>
          </p:cNvSpPr>
          <p:nvPr/>
        </p:nvSpPr>
        <p:spPr bwMode="gray">
          <a:xfrm>
            <a:off x="5303912" y="1700808"/>
            <a:ext cx="1656000" cy="108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Quisque mauris</a:t>
            </a:r>
            <a:br>
              <a:rPr lang="en-US" sz="1600" dirty="0"/>
            </a:br>
            <a:r>
              <a:rPr lang="en-US" sz="1600" dirty="0"/>
              <a:t>nec rhoncus eu. Vivamus a tellus.</a:t>
            </a:r>
          </a:p>
        </p:txBody>
      </p:sp>
      <p:sp>
        <p:nvSpPr>
          <p:cNvPr id="221" name="Inhaltsplatzhalter 7">
            <a:extLst>
              <a:ext uri="{FF2B5EF4-FFF2-40B4-BE49-F238E27FC236}">
                <a16:creationId xmlns:a16="http://schemas.microsoft.com/office/drawing/2014/main" id="{653D088A-C952-4E9C-961C-E1B575B3D610}"/>
              </a:ext>
            </a:extLst>
          </p:cNvPr>
          <p:cNvSpPr txBox="1">
            <a:spLocks/>
          </p:cNvSpPr>
          <p:nvPr/>
        </p:nvSpPr>
        <p:spPr bwMode="gray">
          <a:xfrm>
            <a:off x="5303912" y="5013296"/>
            <a:ext cx="1656000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</a:t>
            </a:r>
            <a:br>
              <a:rPr lang="en-US" sz="1800" dirty="0"/>
            </a:br>
            <a:r>
              <a:rPr lang="en-US" sz="1800" dirty="0"/>
              <a:t>ipsum dolor</a:t>
            </a:r>
          </a:p>
        </p:txBody>
      </p:sp>
      <p:sp>
        <p:nvSpPr>
          <p:cNvPr id="223" name="Inhaltsplatzhalter 7">
            <a:extLst>
              <a:ext uri="{FF2B5EF4-FFF2-40B4-BE49-F238E27FC236}">
                <a16:creationId xmlns:a16="http://schemas.microsoft.com/office/drawing/2014/main" id="{960F5459-7F49-4DEA-A034-B49B1465B079}"/>
              </a:ext>
            </a:extLst>
          </p:cNvPr>
          <p:cNvSpPr txBox="1">
            <a:spLocks/>
          </p:cNvSpPr>
          <p:nvPr/>
        </p:nvSpPr>
        <p:spPr bwMode="gray">
          <a:xfrm>
            <a:off x="9984432" y="1700808"/>
            <a:ext cx="1728266" cy="108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Quisque mauris</a:t>
            </a:r>
            <a:br>
              <a:rPr lang="en-US" sz="1600" dirty="0"/>
            </a:br>
            <a:r>
              <a:rPr lang="en-US" sz="1600" dirty="0"/>
              <a:t>nec rhoncus eu. Vivamus a tellus.</a:t>
            </a:r>
          </a:p>
        </p:txBody>
      </p:sp>
      <p:sp>
        <p:nvSpPr>
          <p:cNvPr id="224" name="Inhaltsplatzhalter 7">
            <a:extLst>
              <a:ext uri="{FF2B5EF4-FFF2-40B4-BE49-F238E27FC236}">
                <a16:creationId xmlns:a16="http://schemas.microsoft.com/office/drawing/2014/main" id="{C2F62C0F-272F-4E4E-B124-53EE33762190}"/>
              </a:ext>
            </a:extLst>
          </p:cNvPr>
          <p:cNvSpPr txBox="1">
            <a:spLocks/>
          </p:cNvSpPr>
          <p:nvPr/>
        </p:nvSpPr>
        <p:spPr bwMode="gray">
          <a:xfrm>
            <a:off x="9984432" y="5013296"/>
            <a:ext cx="1728266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</a:t>
            </a:r>
            <a:br>
              <a:rPr lang="en-US" sz="1800" dirty="0"/>
            </a:br>
            <a:r>
              <a:rPr lang="en-US" sz="1800" dirty="0"/>
              <a:t>ipsum dolor</a:t>
            </a:r>
          </a:p>
        </p:txBody>
      </p:sp>
      <p:sp>
        <p:nvSpPr>
          <p:cNvPr id="225" name="Inhaltsplatzhalter 7">
            <a:extLst>
              <a:ext uri="{FF2B5EF4-FFF2-40B4-BE49-F238E27FC236}">
                <a16:creationId xmlns:a16="http://schemas.microsoft.com/office/drawing/2014/main" id="{168DE7E0-9FE6-4610-9265-77BF3E1321E7}"/>
              </a:ext>
            </a:extLst>
          </p:cNvPr>
          <p:cNvSpPr txBox="1">
            <a:spLocks/>
          </p:cNvSpPr>
          <p:nvPr/>
        </p:nvSpPr>
        <p:spPr bwMode="gray">
          <a:xfrm>
            <a:off x="2927648" y="1700213"/>
            <a:ext cx="1728266" cy="108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</a:t>
            </a:r>
            <a:br>
              <a:rPr lang="en-US" sz="1800" dirty="0"/>
            </a:br>
            <a:r>
              <a:rPr lang="en-US" sz="1800" dirty="0"/>
              <a:t>ipsum dolor</a:t>
            </a:r>
          </a:p>
        </p:txBody>
      </p:sp>
      <p:sp>
        <p:nvSpPr>
          <p:cNvPr id="226" name="Inhaltsplatzhalter 7">
            <a:extLst>
              <a:ext uri="{FF2B5EF4-FFF2-40B4-BE49-F238E27FC236}">
                <a16:creationId xmlns:a16="http://schemas.microsoft.com/office/drawing/2014/main" id="{B0D3471E-E585-45EF-8EBB-4B47DA767D6C}"/>
              </a:ext>
            </a:extLst>
          </p:cNvPr>
          <p:cNvSpPr txBox="1">
            <a:spLocks/>
          </p:cNvSpPr>
          <p:nvPr/>
        </p:nvSpPr>
        <p:spPr bwMode="gray">
          <a:xfrm>
            <a:off x="2927648" y="5013296"/>
            <a:ext cx="1728266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Quisque mauris</a:t>
            </a:r>
            <a:br>
              <a:rPr lang="en-US" sz="1600" dirty="0"/>
            </a:br>
            <a:r>
              <a:rPr lang="en-US" sz="1600" dirty="0"/>
              <a:t>nec rhoncus eu. Vivamus a tellus.</a:t>
            </a:r>
          </a:p>
        </p:txBody>
      </p:sp>
      <p:sp>
        <p:nvSpPr>
          <p:cNvPr id="229" name="Inhaltsplatzhalter 7">
            <a:extLst>
              <a:ext uri="{FF2B5EF4-FFF2-40B4-BE49-F238E27FC236}">
                <a16:creationId xmlns:a16="http://schemas.microsoft.com/office/drawing/2014/main" id="{F2775D7E-CC3A-454D-A5A7-13AC9D2FA9E8}"/>
              </a:ext>
            </a:extLst>
          </p:cNvPr>
          <p:cNvSpPr txBox="1">
            <a:spLocks/>
          </p:cNvSpPr>
          <p:nvPr/>
        </p:nvSpPr>
        <p:spPr bwMode="gray">
          <a:xfrm>
            <a:off x="7608094" y="1700213"/>
            <a:ext cx="1728266" cy="108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</a:t>
            </a:r>
            <a:br>
              <a:rPr lang="en-US" sz="1800" dirty="0"/>
            </a:br>
            <a:r>
              <a:rPr lang="en-US" sz="1800" dirty="0"/>
              <a:t>ipsum dolor</a:t>
            </a:r>
          </a:p>
        </p:txBody>
      </p:sp>
      <p:sp>
        <p:nvSpPr>
          <p:cNvPr id="230" name="Inhaltsplatzhalter 7">
            <a:extLst>
              <a:ext uri="{FF2B5EF4-FFF2-40B4-BE49-F238E27FC236}">
                <a16:creationId xmlns:a16="http://schemas.microsoft.com/office/drawing/2014/main" id="{EBCB28A7-72DE-4C6E-8868-387F6994942A}"/>
              </a:ext>
            </a:extLst>
          </p:cNvPr>
          <p:cNvSpPr txBox="1">
            <a:spLocks/>
          </p:cNvSpPr>
          <p:nvPr/>
        </p:nvSpPr>
        <p:spPr bwMode="gray">
          <a:xfrm>
            <a:off x="7608094" y="5013296"/>
            <a:ext cx="1728266" cy="108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Quisque mauris</a:t>
            </a:r>
            <a:br>
              <a:rPr lang="en-US" sz="1600" dirty="0"/>
            </a:br>
            <a:r>
              <a:rPr lang="en-US" sz="1600" dirty="0"/>
              <a:t>nec rhoncus eu. Vivamus a tellus.</a:t>
            </a:r>
          </a:p>
        </p:txBody>
      </p:sp>
      <p:sp>
        <p:nvSpPr>
          <p:cNvPr id="72" name="Inhaltsplatzhalter 6">
            <a:extLst>
              <a:ext uri="{FF2B5EF4-FFF2-40B4-BE49-F238E27FC236}">
                <a16:creationId xmlns:a16="http://schemas.microsoft.com/office/drawing/2014/main" id="{CCE1C474-0DE5-43D7-94C4-F3429F4E7F70}"/>
              </a:ext>
            </a:extLst>
          </p:cNvPr>
          <p:cNvSpPr txBox="1">
            <a:spLocks/>
          </p:cNvSpPr>
          <p:nvPr/>
        </p:nvSpPr>
        <p:spPr bwMode="gray">
          <a:xfrm>
            <a:off x="551384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73" name="Inhaltsplatzhalter 6">
            <a:extLst>
              <a:ext uri="{FF2B5EF4-FFF2-40B4-BE49-F238E27FC236}">
                <a16:creationId xmlns:a16="http://schemas.microsoft.com/office/drawing/2014/main" id="{1D45D6DA-F9A0-49BB-8DDE-C728F3874EB9}"/>
              </a:ext>
            </a:extLst>
          </p:cNvPr>
          <p:cNvSpPr txBox="1">
            <a:spLocks/>
          </p:cNvSpPr>
          <p:nvPr/>
        </p:nvSpPr>
        <p:spPr bwMode="gray">
          <a:xfrm>
            <a:off x="5303912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74" name="Inhaltsplatzhalter 6">
            <a:extLst>
              <a:ext uri="{FF2B5EF4-FFF2-40B4-BE49-F238E27FC236}">
                <a16:creationId xmlns:a16="http://schemas.microsoft.com/office/drawing/2014/main" id="{75D4D9B7-1D2C-4C42-BDB5-2ABBD32F629D}"/>
              </a:ext>
            </a:extLst>
          </p:cNvPr>
          <p:cNvSpPr txBox="1">
            <a:spLocks/>
          </p:cNvSpPr>
          <p:nvPr/>
        </p:nvSpPr>
        <p:spPr bwMode="gray">
          <a:xfrm>
            <a:off x="9984432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75" name="Inhaltsplatzhalter 6">
            <a:extLst>
              <a:ext uri="{FF2B5EF4-FFF2-40B4-BE49-F238E27FC236}">
                <a16:creationId xmlns:a16="http://schemas.microsoft.com/office/drawing/2014/main" id="{32EC3B45-8483-4D89-B508-E70B01273558}"/>
              </a:ext>
            </a:extLst>
          </p:cNvPr>
          <p:cNvSpPr txBox="1">
            <a:spLocks/>
          </p:cNvSpPr>
          <p:nvPr/>
        </p:nvSpPr>
        <p:spPr bwMode="gray">
          <a:xfrm>
            <a:off x="7608094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144000" rIns="0" bIns="0"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76" name="Inhaltsplatzhalter 6">
            <a:extLst>
              <a:ext uri="{FF2B5EF4-FFF2-40B4-BE49-F238E27FC236}">
                <a16:creationId xmlns:a16="http://schemas.microsoft.com/office/drawing/2014/main" id="{7528FC16-AF89-4203-A755-EB0A8BD247B0}"/>
              </a:ext>
            </a:extLst>
          </p:cNvPr>
          <p:cNvSpPr txBox="1">
            <a:spLocks/>
          </p:cNvSpPr>
          <p:nvPr/>
        </p:nvSpPr>
        <p:spPr bwMode="gray">
          <a:xfrm>
            <a:off x="2927648" y="386105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144000" rIns="0" bIns="0"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02869924"/>
      </p:ext>
    </p:extLst>
  </p:cSld>
  <p:clrMapOvr>
    <a:masterClrMapping/>
  </p:clrMapOvr>
  <p:transition spd="slow"/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5E657D0-90EE-4749-9FF4-36BAD651F5F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think-cell Folie" r:id="rId8" imgW="359" imgH="360" progId="TCLayout.ActiveDocument.1">
                  <p:embed/>
                </p:oleObj>
              </mc:Choice>
              <mc:Fallback>
                <p:oleObj name="think-cell Folie" r:id="rId8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5E657D0-90EE-4749-9FF4-36BAD651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BE7A1570-75F1-43A9-9411-91DA361FC0C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CF9437E-2845-4520-BC9C-2BCBA672B24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imeline 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6</a:t>
            </a:fld>
            <a:endParaRPr lang="en-US" dirty="0"/>
          </a:p>
        </p:txBody>
      </p: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F73AF3F-2CE1-4F19-A61E-7924711C4599}"/>
              </a:ext>
            </a:extLst>
          </p:cNvPr>
          <p:cNvCxnSpPr>
            <a:cxnSpLocks/>
          </p:cNvCxnSpPr>
          <p:nvPr/>
        </p:nvCxnSpPr>
        <p:spPr bwMode="gray">
          <a:xfrm>
            <a:off x="0" y="2348876"/>
            <a:ext cx="1219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Inhaltsplatzhalter 7">
            <a:extLst>
              <a:ext uri="{FF2B5EF4-FFF2-40B4-BE49-F238E27FC236}">
                <a16:creationId xmlns:a16="http://schemas.microsoft.com/office/drawing/2014/main" id="{EB0DA69C-48F5-4985-BDC9-BCD0A573044F}"/>
              </a:ext>
            </a:extLst>
          </p:cNvPr>
          <p:cNvSpPr txBox="1">
            <a:spLocks/>
          </p:cNvSpPr>
          <p:nvPr/>
        </p:nvSpPr>
        <p:spPr bwMode="gray">
          <a:xfrm>
            <a:off x="551384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70" name="Inhaltsplatzhalter 7">
            <a:extLst>
              <a:ext uri="{FF2B5EF4-FFF2-40B4-BE49-F238E27FC236}">
                <a16:creationId xmlns:a16="http://schemas.microsoft.com/office/drawing/2014/main" id="{63189AE1-65F6-49DD-948D-5286F5FA54EC}"/>
              </a:ext>
            </a:extLst>
          </p:cNvPr>
          <p:cNvSpPr txBox="1">
            <a:spLocks/>
          </p:cNvSpPr>
          <p:nvPr/>
        </p:nvSpPr>
        <p:spPr bwMode="gray">
          <a:xfrm>
            <a:off x="10134169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77" name="Inhaltsplatzhalter 7">
            <a:extLst>
              <a:ext uri="{FF2B5EF4-FFF2-40B4-BE49-F238E27FC236}">
                <a16:creationId xmlns:a16="http://schemas.microsoft.com/office/drawing/2014/main" id="{0DF002EB-EAA7-4F28-936A-F453EF3D2F7F}"/>
              </a:ext>
            </a:extLst>
          </p:cNvPr>
          <p:cNvSpPr txBox="1">
            <a:spLocks/>
          </p:cNvSpPr>
          <p:nvPr/>
        </p:nvSpPr>
        <p:spPr bwMode="gray">
          <a:xfrm>
            <a:off x="8217612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80" name="Inhaltsplatzhalter 7">
            <a:extLst>
              <a:ext uri="{FF2B5EF4-FFF2-40B4-BE49-F238E27FC236}">
                <a16:creationId xmlns:a16="http://schemas.microsoft.com/office/drawing/2014/main" id="{8E234EF1-A0D8-4A93-972D-4CC3BBFB6D2A}"/>
              </a:ext>
            </a:extLst>
          </p:cNvPr>
          <p:cNvSpPr txBox="1">
            <a:spLocks/>
          </p:cNvSpPr>
          <p:nvPr/>
        </p:nvSpPr>
        <p:spPr bwMode="gray">
          <a:xfrm>
            <a:off x="6301055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82" name="Inhaltsplatzhalter 7">
            <a:extLst>
              <a:ext uri="{FF2B5EF4-FFF2-40B4-BE49-F238E27FC236}">
                <a16:creationId xmlns:a16="http://schemas.microsoft.com/office/drawing/2014/main" id="{CBD7F919-FD7C-4746-BCBD-115BEFC856D6}"/>
              </a:ext>
            </a:extLst>
          </p:cNvPr>
          <p:cNvSpPr txBox="1">
            <a:spLocks/>
          </p:cNvSpPr>
          <p:nvPr/>
        </p:nvSpPr>
        <p:spPr bwMode="gray">
          <a:xfrm>
            <a:off x="4384498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84" name="Inhaltsplatzhalter 7">
            <a:extLst>
              <a:ext uri="{FF2B5EF4-FFF2-40B4-BE49-F238E27FC236}">
                <a16:creationId xmlns:a16="http://schemas.microsoft.com/office/drawing/2014/main" id="{BAA370D3-61AE-4B84-9306-DE9C694624A4}"/>
              </a:ext>
            </a:extLst>
          </p:cNvPr>
          <p:cNvSpPr txBox="1">
            <a:spLocks/>
          </p:cNvSpPr>
          <p:nvPr/>
        </p:nvSpPr>
        <p:spPr bwMode="gray">
          <a:xfrm>
            <a:off x="2467941" y="2475296"/>
            <a:ext cx="1584000" cy="361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ACD91B25-B3AF-41A8-890E-4A702219684D}"/>
              </a:ext>
            </a:extLst>
          </p:cNvPr>
          <p:cNvSpPr txBox="1">
            <a:spLocks/>
          </p:cNvSpPr>
          <p:nvPr/>
        </p:nvSpPr>
        <p:spPr bwMode="gray">
          <a:xfrm>
            <a:off x="551384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F5ACFD7E-7A97-4D6B-BCCD-77A66AC18232}"/>
              </a:ext>
            </a:extLst>
          </p:cNvPr>
          <p:cNvSpPr txBox="1">
            <a:spLocks/>
          </p:cNvSpPr>
          <p:nvPr/>
        </p:nvSpPr>
        <p:spPr bwMode="gray">
          <a:xfrm>
            <a:off x="2467941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4" name="Inhaltsplatzhalter 6">
            <a:extLst>
              <a:ext uri="{FF2B5EF4-FFF2-40B4-BE49-F238E27FC236}">
                <a16:creationId xmlns:a16="http://schemas.microsoft.com/office/drawing/2014/main" id="{E58724C5-EF15-4AE8-94FB-E46617C20966}"/>
              </a:ext>
            </a:extLst>
          </p:cNvPr>
          <p:cNvSpPr txBox="1">
            <a:spLocks/>
          </p:cNvSpPr>
          <p:nvPr/>
        </p:nvSpPr>
        <p:spPr bwMode="gray">
          <a:xfrm>
            <a:off x="4384498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5" name="Inhaltsplatzhalter 6">
            <a:extLst>
              <a:ext uri="{FF2B5EF4-FFF2-40B4-BE49-F238E27FC236}">
                <a16:creationId xmlns:a16="http://schemas.microsoft.com/office/drawing/2014/main" id="{C8C2B94D-895F-4CBC-8806-146717693D07}"/>
              </a:ext>
            </a:extLst>
          </p:cNvPr>
          <p:cNvSpPr txBox="1">
            <a:spLocks/>
          </p:cNvSpPr>
          <p:nvPr/>
        </p:nvSpPr>
        <p:spPr bwMode="gray">
          <a:xfrm>
            <a:off x="6301055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6" name="Inhaltsplatzhalter 6">
            <a:extLst>
              <a:ext uri="{FF2B5EF4-FFF2-40B4-BE49-F238E27FC236}">
                <a16:creationId xmlns:a16="http://schemas.microsoft.com/office/drawing/2014/main" id="{88954CE8-047F-4942-AE9B-A83456475CE7}"/>
              </a:ext>
            </a:extLst>
          </p:cNvPr>
          <p:cNvSpPr txBox="1">
            <a:spLocks/>
          </p:cNvSpPr>
          <p:nvPr/>
        </p:nvSpPr>
        <p:spPr bwMode="gray">
          <a:xfrm>
            <a:off x="10134169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984DABBB-BF34-4FCF-9E22-FA8C7360FFFC}"/>
              </a:ext>
            </a:extLst>
          </p:cNvPr>
          <p:cNvSpPr txBox="1">
            <a:spLocks/>
          </p:cNvSpPr>
          <p:nvPr/>
        </p:nvSpPr>
        <p:spPr bwMode="gray">
          <a:xfrm>
            <a:off x="8217612" y="2312884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j-lt"/>
              </a:rPr>
              <a:t>20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56458562"/>
      </p:ext>
    </p:extLst>
  </p:cSld>
  <p:clrMapOvr>
    <a:masterClrMapping/>
  </p:clrMapOvr>
  <p:transition spd="slow"/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 hidden="1">
            <a:extLst>
              <a:ext uri="{FF2B5EF4-FFF2-40B4-BE49-F238E27FC236}">
                <a16:creationId xmlns:a16="http://schemas.microsoft.com/office/drawing/2014/main" id="{ECC602C6-D74E-4283-8DA7-855E45BBB11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67ABFCB-2769-4401-B049-28E6AB4859F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imeline 4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7</a:t>
            </a:fld>
            <a:endParaRPr lang="en-US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FA0B181-32C2-45AA-B8E3-8E0D5A188E47}"/>
              </a:ext>
            </a:extLst>
          </p:cNvPr>
          <p:cNvCxnSpPr>
            <a:cxnSpLocks/>
          </p:cNvCxnSpPr>
          <p:nvPr/>
        </p:nvCxnSpPr>
        <p:spPr bwMode="gray">
          <a:xfrm>
            <a:off x="550863" y="2132283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Inhaltsplatzhalter 7">
            <a:extLst>
              <a:ext uri="{FF2B5EF4-FFF2-40B4-BE49-F238E27FC236}">
                <a16:creationId xmlns:a16="http://schemas.microsoft.com/office/drawing/2014/main" id="{6FCC0978-0992-4CF2-9771-D5AA4F62B2B4}"/>
              </a:ext>
            </a:extLst>
          </p:cNvPr>
          <p:cNvSpPr txBox="1">
            <a:spLocks/>
          </p:cNvSpPr>
          <p:nvPr/>
        </p:nvSpPr>
        <p:spPr bwMode="gray">
          <a:xfrm>
            <a:off x="551383" y="1700808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Sed diam nonummy nibh euismod dolore</a:t>
            </a:r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826F2659-BF45-4460-89E0-D54EA7BE7F58}"/>
              </a:ext>
            </a:extLst>
          </p:cNvPr>
          <p:cNvCxnSpPr>
            <a:cxnSpLocks/>
          </p:cNvCxnSpPr>
          <p:nvPr/>
        </p:nvCxnSpPr>
        <p:spPr bwMode="gray">
          <a:xfrm>
            <a:off x="550863" y="2924944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Inhaltsplatzhalter 7">
            <a:extLst>
              <a:ext uri="{FF2B5EF4-FFF2-40B4-BE49-F238E27FC236}">
                <a16:creationId xmlns:a16="http://schemas.microsoft.com/office/drawing/2014/main" id="{B3FEE636-9FB6-49D8-BC24-D43677050FD7}"/>
              </a:ext>
            </a:extLst>
          </p:cNvPr>
          <p:cNvSpPr txBox="1">
            <a:spLocks/>
          </p:cNvSpPr>
          <p:nvPr/>
        </p:nvSpPr>
        <p:spPr bwMode="gray">
          <a:xfrm>
            <a:off x="551383" y="2492896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Sed diam nonummy nibh euismod dolore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12DE102-3ABA-43D7-AB4F-55A1D0699B18}"/>
              </a:ext>
            </a:extLst>
          </p:cNvPr>
          <p:cNvCxnSpPr>
            <a:cxnSpLocks/>
          </p:cNvCxnSpPr>
          <p:nvPr/>
        </p:nvCxnSpPr>
        <p:spPr bwMode="gray">
          <a:xfrm>
            <a:off x="550863" y="3717032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Inhaltsplatzhalter 7">
            <a:extLst>
              <a:ext uri="{FF2B5EF4-FFF2-40B4-BE49-F238E27FC236}">
                <a16:creationId xmlns:a16="http://schemas.microsoft.com/office/drawing/2014/main" id="{ACC4E3ED-2987-4301-8AE7-8C36248B115A}"/>
              </a:ext>
            </a:extLst>
          </p:cNvPr>
          <p:cNvSpPr txBox="1">
            <a:spLocks/>
          </p:cNvSpPr>
          <p:nvPr/>
        </p:nvSpPr>
        <p:spPr bwMode="gray">
          <a:xfrm>
            <a:off x="551383" y="3284984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b="1" dirty="0"/>
              <a:t>Sed diam nonummy nibh euismod dolore</a:t>
            </a: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F6F2BDE2-6B66-4151-B1BB-112D88CB6545}"/>
              </a:ext>
            </a:extLst>
          </p:cNvPr>
          <p:cNvCxnSpPr>
            <a:cxnSpLocks/>
          </p:cNvCxnSpPr>
          <p:nvPr/>
        </p:nvCxnSpPr>
        <p:spPr bwMode="gray">
          <a:xfrm>
            <a:off x="6383511" y="4509120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7382A87B-FD94-4B3A-A028-7D8101555A7C}"/>
              </a:ext>
            </a:extLst>
          </p:cNvPr>
          <p:cNvSpPr txBox="1">
            <a:spLocks/>
          </p:cNvSpPr>
          <p:nvPr/>
        </p:nvSpPr>
        <p:spPr bwMode="gray">
          <a:xfrm>
            <a:off x="7752333" y="4077072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en-US" sz="1600" dirty="0"/>
              <a:t>Sed diam nonummy nibh euismod dolore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4A86B39-6E29-47E8-B541-9CCC4D9F4C4F}"/>
              </a:ext>
            </a:extLst>
          </p:cNvPr>
          <p:cNvCxnSpPr>
            <a:cxnSpLocks/>
          </p:cNvCxnSpPr>
          <p:nvPr/>
        </p:nvCxnSpPr>
        <p:spPr bwMode="gray">
          <a:xfrm>
            <a:off x="6383511" y="5301208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Inhaltsplatzhalter 7">
            <a:extLst>
              <a:ext uri="{FF2B5EF4-FFF2-40B4-BE49-F238E27FC236}">
                <a16:creationId xmlns:a16="http://schemas.microsoft.com/office/drawing/2014/main" id="{0D3FC034-14A2-4651-991A-389454A8C4BC}"/>
              </a:ext>
            </a:extLst>
          </p:cNvPr>
          <p:cNvSpPr txBox="1">
            <a:spLocks/>
          </p:cNvSpPr>
          <p:nvPr/>
        </p:nvSpPr>
        <p:spPr bwMode="gray">
          <a:xfrm>
            <a:off x="7752333" y="4869160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en-US" sz="1600" dirty="0"/>
              <a:t>Sed diam nonummy nibh euismod dolore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C8168544-918E-4D53-BF52-B7DC407A2649}"/>
              </a:ext>
            </a:extLst>
          </p:cNvPr>
          <p:cNvCxnSpPr>
            <a:cxnSpLocks/>
          </p:cNvCxnSpPr>
          <p:nvPr/>
        </p:nvCxnSpPr>
        <p:spPr bwMode="gray">
          <a:xfrm>
            <a:off x="6383511" y="6093296"/>
            <a:ext cx="532911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Inhaltsplatzhalter 7">
            <a:extLst>
              <a:ext uri="{FF2B5EF4-FFF2-40B4-BE49-F238E27FC236}">
                <a16:creationId xmlns:a16="http://schemas.microsoft.com/office/drawing/2014/main" id="{25C4E7AC-55F2-475E-9745-10C07DA42614}"/>
              </a:ext>
            </a:extLst>
          </p:cNvPr>
          <p:cNvSpPr txBox="1">
            <a:spLocks/>
          </p:cNvSpPr>
          <p:nvPr/>
        </p:nvSpPr>
        <p:spPr bwMode="gray">
          <a:xfrm>
            <a:off x="7752333" y="5661296"/>
            <a:ext cx="3960291" cy="432000"/>
          </a:xfrm>
          <a:prstGeom prst="rect">
            <a:avLst/>
          </a:prstGeom>
        </p:spPr>
        <p:txBody>
          <a:bodyPr lIns="0" tIns="0" rIns="0" bIns="108000" anchor="b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en-US" sz="1600" dirty="0"/>
              <a:t>Sed diam nonummy nibh euismod dolore</a:t>
            </a:r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6EEAE5CD-D353-4DEB-833C-B540FC91E3C4}"/>
              </a:ext>
            </a:extLst>
          </p:cNvPr>
          <p:cNvSpPr txBox="1">
            <a:spLocks/>
          </p:cNvSpPr>
          <p:nvPr/>
        </p:nvSpPr>
        <p:spPr bwMode="gray">
          <a:xfrm>
            <a:off x="5771964" y="209685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2708B701-CB69-4D10-8CC8-4692F899D3F4}"/>
              </a:ext>
            </a:extLst>
          </p:cNvPr>
          <p:cNvSpPr txBox="1">
            <a:spLocks/>
          </p:cNvSpPr>
          <p:nvPr/>
        </p:nvSpPr>
        <p:spPr bwMode="gray">
          <a:xfrm>
            <a:off x="5771964" y="288894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29" name="Inhaltsplatzhalter 6">
            <a:extLst>
              <a:ext uri="{FF2B5EF4-FFF2-40B4-BE49-F238E27FC236}">
                <a16:creationId xmlns:a16="http://schemas.microsoft.com/office/drawing/2014/main" id="{60C7FAD0-8303-45A5-AAF4-D278BA40EF1C}"/>
              </a:ext>
            </a:extLst>
          </p:cNvPr>
          <p:cNvSpPr txBox="1">
            <a:spLocks/>
          </p:cNvSpPr>
          <p:nvPr/>
        </p:nvSpPr>
        <p:spPr bwMode="gray">
          <a:xfrm>
            <a:off x="5771964" y="368103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30" name="Inhaltsplatzhalter 6">
            <a:extLst>
              <a:ext uri="{FF2B5EF4-FFF2-40B4-BE49-F238E27FC236}">
                <a16:creationId xmlns:a16="http://schemas.microsoft.com/office/drawing/2014/main" id="{C3A32019-A1DE-476C-BB4B-F38CC5052069}"/>
              </a:ext>
            </a:extLst>
          </p:cNvPr>
          <p:cNvSpPr txBox="1">
            <a:spLocks/>
          </p:cNvSpPr>
          <p:nvPr/>
        </p:nvSpPr>
        <p:spPr bwMode="gray">
          <a:xfrm>
            <a:off x="5771964" y="447312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086EA1A6-BFD6-40E8-879E-26396B950076}"/>
              </a:ext>
            </a:extLst>
          </p:cNvPr>
          <p:cNvSpPr txBox="1">
            <a:spLocks/>
          </p:cNvSpPr>
          <p:nvPr/>
        </p:nvSpPr>
        <p:spPr bwMode="gray">
          <a:xfrm>
            <a:off x="5771964" y="526521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C86AF86A-2FF4-4EC0-B0F9-2BB766B7BF4D}"/>
              </a:ext>
            </a:extLst>
          </p:cNvPr>
          <p:cNvSpPr txBox="1">
            <a:spLocks/>
          </p:cNvSpPr>
          <p:nvPr/>
        </p:nvSpPr>
        <p:spPr bwMode="gray">
          <a:xfrm>
            <a:off x="5771964" y="6057300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31337809"/>
      </p:ext>
    </p:extLst>
  </p:cSld>
  <p:clrMapOvr>
    <a:masterClrMapping/>
  </p:clrMapOvr>
  <p:transition spd="slow"/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iekt 13" hidden="1">
            <a:extLst>
              <a:ext uri="{FF2B5EF4-FFF2-40B4-BE49-F238E27FC236}">
                <a16:creationId xmlns:a16="http://schemas.microsoft.com/office/drawing/2014/main" id="{7B7C5C6B-CB01-4974-914F-CD2F6208A37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14" name="Obiekt 13" hidden="1">
                        <a:extLst>
                          <a:ext uri="{FF2B5EF4-FFF2-40B4-BE49-F238E27FC236}">
                            <a16:creationId xmlns:a16="http://schemas.microsoft.com/office/drawing/2014/main" id="{7B7C5C6B-CB01-4974-914F-CD2F6208A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 hidden="1">
            <a:extLst>
              <a:ext uri="{FF2B5EF4-FFF2-40B4-BE49-F238E27FC236}">
                <a16:creationId xmlns:a16="http://schemas.microsoft.com/office/drawing/2014/main" id="{380682E3-FAC4-4FCD-85C8-80E485A33AD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FDB9D56-C458-442B-8CFF-55509B3D630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imeline 5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8</a:t>
            </a:fld>
            <a:endParaRPr lang="en-US" dirty="0"/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B9B0F2E-4523-4D7E-AC6C-725EA5B7FA4D}"/>
              </a:ext>
            </a:extLst>
          </p:cNvPr>
          <p:cNvCxnSpPr>
            <a:cxnSpLocks/>
          </p:cNvCxnSpPr>
          <p:nvPr/>
        </p:nvCxnSpPr>
        <p:spPr bwMode="gray">
          <a:xfrm>
            <a:off x="0" y="2973552"/>
            <a:ext cx="1219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Inhaltsplatzhalter 6">
            <a:extLst>
              <a:ext uri="{FF2B5EF4-FFF2-40B4-BE49-F238E27FC236}">
                <a16:creationId xmlns:a16="http://schemas.microsoft.com/office/drawing/2014/main" id="{48FF0252-BA69-44C6-9EFE-D2428BADE7D0}"/>
              </a:ext>
            </a:extLst>
          </p:cNvPr>
          <p:cNvSpPr txBox="1">
            <a:spLocks/>
          </p:cNvSpPr>
          <p:nvPr/>
        </p:nvSpPr>
        <p:spPr bwMode="gray">
          <a:xfrm>
            <a:off x="551385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Jan</a:t>
            </a:r>
          </a:p>
        </p:txBody>
      </p:sp>
      <p:sp>
        <p:nvSpPr>
          <p:cNvPr id="44" name="Inhaltsplatzhalter 6">
            <a:extLst>
              <a:ext uri="{FF2B5EF4-FFF2-40B4-BE49-F238E27FC236}">
                <a16:creationId xmlns:a16="http://schemas.microsoft.com/office/drawing/2014/main" id="{3CBEFA72-38F5-4C9E-9218-7DB6E665B264}"/>
              </a:ext>
            </a:extLst>
          </p:cNvPr>
          <p:cNvSpPr txBox="1">
            <a:spLocks/>
          </p:cNvSpPr>
          <p:nvPr/>
        </p:nvSpPr>
        <p:spPr bwMode="gray">
          <a:xfrm>
            <a:off x="10134169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Jun</a:t>
            </a:r>
          </a:p>
        </p:txBody>
      </p:sp>
      <p:sp>
        <p:nvSpPr>
          <p:cNvPr id="49" name="Inhaltsplatzhalter 6">
            <a:extLst>
              <a:ext uri="{FF2B5EF4-FFF2-40B4-BE49-F238E27FC236}">
                <a16:creationId xmlns:a16="http://schemas.microsoft.com/office/drawing/2014/main" id="{F858E0DB-B5DB-4927-89D4-6418514D5CF4}"/>
              </a:ext>
            </a:extLst>
          </p:cNvPr>
          <p:cNvSpPr txBox="1">
            <a:spLocks/>
          </p:cNvSpPr>
          <p:nvPr/>
        </p:nvSpPr>
        <p:spPr bwMode="gray">
          <a:xfrm>
            <a:off x="8217613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May</a:t>
            </a:r>
          </a:p>
        </p:txBody>
      </p:sp>
      <p:sp>
        <p:nvSpPr>
          <p:cNvPr id="50" name="Inhaltsplatzhalter 6">
            <a:extLst>
              <a:ext uri="{FF2B5EF4-FFF2-40B4-BE49-F238E27FC236}">
                <a16:creationId xmlns:a16="http://schemas.microsoft.com/office/drawing/2014/main" id="{4D736C6A-BCA9-4BF6-B1A8-180BE354C79B}"/>
              </a:ext>
            </a:extLst>
          </p:cNvPr>
          <p:cNvSpPr txBox="1">
            <a:spLocks/>
          </p:cNvSpPr>
          <p:nvPr/>
        </p:nvSpPr>
        <p:spPr bwMode="gray">
          <a:xfrm>
            <a:off x="6301056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Apr</a:t>
            </a:r>
          </a:p>
        </p:txBody>
      </p:sp>
      <p:sp>
        <p:nvSpPr>
          <p:cNvPr id="51" name="Inhaltsplatzhalter 6">
            <a:extLst>
              <a:ext uri="{FF2B5EF4-FFF2-40B4-BE49-F238E27FC236}">
                <a16:creationId xmlns:a16="http://schemas.microsoft.com/office/drawing/2014/main" id="{8832678F-8C6D-4A57-A675-F3FF71004633}"/>
              </a:ext>
            </a:extLst>
          </p:cNvPr>
          <p:cNvSpPr txBox="1">
            <a:spLocks/>
          </p:cNvSpPr>
          <p:nvPr/>
        </p:nvSpPr>
        <p:spPr bwMode="gray">
          <a:xfrm>
            <a:off x="4384499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Mar</a:t>
            </a:r>
          </a:p>
        </p:txBody>
      </p:sp>
      <p:sp>
        <p:nvSpPr>
          <p:cNvPr id="52" name="Inhaltsplatzhalter 6">
            <a:extLst>
              <a:ext uri="{FF2B5EF4-FFF2-40B4-BE49-F238E27FC236}">
                <a16:creationId xmlns:a16="http://schemas.microsoft.com/office/drawing/2014/main" id="{06CCECF0-69AA-41E9-8325-1613C8943C0D}"/>
              </a:ext>
            </a:extLst>
          </p:cNvPr>
          <p:cNvSpPr txBox="1">
            <a:spLocks/>
          </p:cNvSpPr>
          <p:nvPr/>
        </p:nvSpPr>
        <p:spPr bwMode="gray">
          <a:xfrm>
            <a:off x="2467942" y="2950152"/>
            <a:ext cx="504000" cy="468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18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+mj-lt"/>
              </a:rPr>
              <a:t>Feb</a:t>
            </a:r>
          </a:p>
        </p:txBody>
      </p:sp>
      <p:sp>
        <p:nvSpPr>
          <p:cNvPr id="18" name="Inhaltsplatzhalter 7">
            <a:extLst>
              <a:ext uri="{FF2B5EF4-FFF2-40B4-BE49-F238E27FC236}">
                <a16:creationId xmlns:a16="http://schemas.microsoft.com/office/drawing/2014/main" id="{E3AA1126-5712-4B97-838A-87E34B8229E5}"/>
              </a:ext>
            </a:extLst>
          </p:cNvPr>
          <p:cNvSpPr txBox="1">
            <a:spLocks/>
          </p:cNvSpPr>
          <p:nvPr/>
        </p:nvSpPr>
        <p:spPr bwMode="gray">
          <a:xfrm>
            <a:off x="551384" y="3032956"/>
            <a:ext cx="1584000" cy="306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AF21B64A-9705-4E54-9D7F-DC192A2FDC40}"/>
              </a:ext>
            </a:extLst>
          </p:cNvPr>
          <p:cNvSpPr txBox="1">
            <a:spLocks/>
          </p:cNvSpPr>
          <p:nvPr/>
        </p:nvSpPr>
        <p:spPr bwMode="gray">
          <a:xfrm>
            <a:off x="10134169" y="3068960"/>
            <a:ext cx="1584000" cy="30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0" name="Inhaltsplatzhalter 7">
            <a:extLst>
              <a:ext uri="{FF2B5EF4-FFF2-40B4-BE49-F238E27FC236}">
                <a16:creationId xmlns:a16="http://schemas.microsoft.com/office/drawing/2014/main" id="{55D853B0-626F-402D-B7F1-EC92452356EE}"/>
              </a:ext>
            </a:extLst>
          </p:cNvPr>
          <p:cNvSpPr txBox="1">
            <a:spLocks/>
          </p:cNvSpPr>
          <p:nvPr/>
        </p:nvSpPr>
        <p:spPr bwMode="gray">
          <a:xfrm>
            <a:off x="8217612" y="3032956"/>
            <a:ext cx="1584000" cy="306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1" name="Inhaltsplatzhalter 7">
            <a:extLst>
              <a:ext uri="{FF2B5EF4-FFF2-40B4-BE49-F238E27FC236}">
                <a16:creationId xmlns:a16="http://schemas.microsoft.com/office/drawing/2014/main" id="{B3CDB050-8F23-4629-A821-B1CD6F86E24A}"/>
              </a:ext>
            </a:extLst>
          </p:cNvPr>
          <p:cNvSpPr txBox="1">
            <a:spLocks/>
          </p:cNvSpPr>
          <p:nvPr/>
        </p:nvSpPr>
        <p:spPr bwMode="gray">
          <a:xfrm>
            <a:off x="6301055" y="3032956"/>
            <a:ext cx="1584000" cy="306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2" name="Inhaltsplatzhalter 7">
            <a:extLst>
              <a:ext uri="{FF2B5EF4-FFF2-40B4-BE49-F238E27FC236}">
                <a16:creationId xmlns:a16="http://schemas.microsoft.com/office/drawing/2014/main" id="{4C21AA27-F711-4D66-A1BD-65F1432FD66C}"/>
              </a:ext>
            </a:extLst>
          </p:cNvPr>
          <p:cNvSpPr txBox="1">
            <a:spLocks/>
          </p:cNvSpPr>
          <p:nvPr/>
        </p:nvSpPr>
        <p:spPr bwMode="gray">
          <a:xfrm>
            <a:off x="4384498" y="3032956"/>
            <a:ext cx="1584000" cy="306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01CB7041-1ECB-420F-95B5-9F38999BBA29}"/>
              </a:ext>
            </a:extLst>
          </p:cNvPr>
          <p:cNvSpPr txBox="1">
            <a:spLocks/>
          </p:cNvSpPr>
          <p:nvPr/>
        </p:nvSpPr>
        <p:spPr bwMode="gray">
          <a:xfrm>
            <a:off x="2467941" y="3032956"/>
            <a:ext cx="1584000" cy="3060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24" name="Inhaltsplatzhalter 6">
            <a:extLst>
              <a:ext uri="{FF2B5EF4-FFF2-40B4-BE49-F238E27FC236}">
                <a16:creationId xmlns:a16="http://schemas.microsoft.com/office/drawing/2014/main" id="{4169367A-518E-4C65-8354-155C9037858C}"/>
              </a:ext>
            </a:extLst>
          </p:cNvPr>
          <p:cNvSpPr txBox="1">
            <a:spLocks/>
          </p:cNvSpPr>
          <p:nvPr/>
        </p:nvSpPr>
        <p:spPr bwMode="gray">
          <a:xfrm>
            <a:off x="5771964" y="2240876"/>
            <a:ext cx="720000" cy="72000"/>
          </a:xfrm>
          <a:prstGeom prst="rect">
            <a:avLst/>
          </a:prstGeom>
          <a:noFill/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14467150"/>
      </p:ext>
    </p:extLst>
  </p:cSld>
  <p:clrMapOvr>
    <a:masterClrMapping/>
  </p:clrMapOvr>
  <p:transition spd="slow"/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iekt 13" hidden="1">
            <a:extLst>
              <a:ext uri="{FF2B5EF4-FFF2-40B4-BE49-F238E27FC236}">
                <a16:creationId xmlns:a16="http://schemas.microsoft.com/office/drawing/2014/main" id="{7B7C5C6B-CB01-4974-914F-CD2F6208A37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think-cell Folie" r:id="rId8" imgW="399" imgH="399" progId="TCLayout.ActiveDocument.1">
                  <p:embed/>
                </p:oleObj>
              </mc:Choice>
              <mc:Fallback>
                <p:oleObj name="think-cell Folie" r:id="rId8" imgW="399" imgH="399" progId="TCLayout.ActiveDocument.1">
                  <p:embed/>
                  <p:pic>
                    <p:nvPicPr>
                      <p:cNvPr id="14" name="Obiekt 13" hidden="1">
                        <a:extLst>
                          <a:ext uri="{FF2B5EF4-FFF2-40B4-BE49-F238E27FC236}">
                            <a16:creationId xmlns:a16="http://schemas.microsoft.com/office/drawing/2014/main" id="{7B7C5C6B-CB01-4974-914F-CD2F6208A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 hidden="1">
            <a:extLst>
              <a:ext uri="{FF2B5EF4-FFF2-40B4-BE49-F238E27FC236}">
                <a16:creationId xmlns:a16="http://schemas.microsoft.com/office/drawing/2014/main" id="{380682E3-FAC4-4FCD-85C8-80E485A33AD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FDB9D56-C458-442B-8CFF-55509B3D630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imeline 5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9</a:t>
            </a:fld>
            <a:endParaRPr lang="en-US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8589B8DE-8393-41B5-9227-CADB497B506B}"/>
              </a:ext>
            </a:extLst>
          </p:cNvPr>
          <p:cNvCxnSpPr>
            <a:cxnSpLocks/>
          </p:cNvCxnSpPr>
          <p:nvPr/>
        </p:nvCxnSpPr>
        <p:spPr bwMode="gray">
          <a:xfrm>
            <a:off x="0" y="2276872"/>
            <a:ext cx="1219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Inhaltsplatzhalter 7">
            <a:extLst>
              <a:ext uri="{FF2B5EF4-FFF2-40B4-BE49-F238E27FC236}">
                <a16:creationId xmlns:a16="http://schemas.microsoft.com/office/drawing/2014/main" id="{2311C23D-E287-47F7-86D8-92FBA0B6521E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Jan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57" name="Inhaltsplatzhalter 7">
            <a:extLst>
              <a:ext uri="{FF2B5EF4-FFF2-40B4-BE49-F238E27FC236}">
                <a16:creationId xmlns:a16="http://schemas.microsoft.com/office/drawing/2014/main" id="{08440810-930B-42C7-BF74-469C68076B29}"/>
              </a:ext>
            </a:extLst>
          </p:cNvPr>
          <p:cNvSpPr txBox="1">
            <a:spLocks/>
          </p:cNvSpPr>
          <p:nvPr/>
        </p:nvSpPr>
        <p:spPr bwMode="gray">
          <a:xfrm>
            <a:off x="10134169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Jun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58" name="Inhaltsplatzhalter 7">
            <a:extLst>
              <a:ext uri="{FF2B5EF4-FFF2-40B4-BE49-F238E27FC236}">
                <a16:creationId xmlns:a16="http://schemas.microsoft.com/office/drawing/2014/main" id="{EC6D57F7-EB62-4CDB-92DF-47822156D614}"/>
              </a:ext>
            </a:extLst>
          </p:cNvPr>
          <p:cNvSpPr txBox="1">
            <a:spLocks/>
          </p:cNvSpPr>
          <p:nvPr/>
        </p:nvSpPr>
        <p:spPr bwMode="gray">
          <a:xfrm>
            <a:off x="8217612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May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2558C043-386A-4A59-B5B2-AFE281E97E92}"/>
              </a:ext>
            </a:extLst>
          </p:cNvPr>
          <p:cNvSpPr txBox="1">
            <a:spLocks/>
          </p:cNvSpPr>
          <p:nvPr/>
        </p:nvSpPr>
        <p:spPr bwMode="gray">
          <a:xfrm>
            <a:off x="6301055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pr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61" name="Inhaltsplatzhalter 7">
            <a:extLst>
              <a:ext uri="{FF2B5EF4-FFF2-40B4-BE49-F238E27FC236}">
                <a16:creationId xmlns:a16="http://schemas.microsoft.com/office/drawing/2014/main" id="{877DF8E2-F90A-41F0-9968-DA8921546EE7}"/>
              </a:ext>
            </a:extLst>
          </p:cNvPr>
          <p:cNvSpPr txBox="1">
            <a:spLocks/>
          </p:cNvSpPr>
          <p:nvPr/>
        </p:nvSpPr>
        <p:spPr bwMode="gray">
          <a:xfrm>
            <a:off x="4384498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Mar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63" name="Inhaltsplatzhalter 7">
            <a:extLst>
              <a:ext uri="{FF2B5EF4-FFF2-40B4-BE49-F238E27FC236}">
                <a16:creationId xmlns:a16="http://schemas.microsoft.com/office/drawing/2014/main" id="{CCD53E3B-DFE5-431B-8D54-7BE4C1956020}"/>
              </a:ext>
            </a:extLst>
          </p:cNvPr>
          <p:cNvSpPr txBox="1">
            <a:spLocks/>
          </p:cNvSpPr>
          <p:nvPr/>
        </p:nvSpPr>
        <p:spPr bwMode="gray">
          <a:xfrm>
            <a:off x="2467941" y="2636911"/>
            <a:ext cx="1584000" cy="34559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Feb</a:t>
            </a:r>
          </a:p>
          <a:p>
            <a:r>
              <a:rPr lang="en-US" sz="1800" dirty="0"/>
              <a:t>Lorem ipsum </a:t>
            </a:r>
          </a:p>
          <a:p>
            <a:pPr lvl="1"/>
            <a:r>
              <a:rPr lang="en-US" sz="1600" dirty="0"/>
              <a:t>Integer facilisis, sem ut blandit vesti bulum, felis massa laoreet mi, vel vene natis lacus erat quis.</a:t>
            </a:r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392E3347-9392-4CB9-BC28-EB52F80FDA84}"/>
              </a:ext>
            </a:extLst>
          </p:cNvPr>
          <p:cNvSpPr txBox="1">
            <a:spLocks/>
          </p:cNvSpPr>
          <p:nvPr/>
        </p:nvSpPr>
        <p:spPr bwMode="gray">
          <a:xfrm>
            <a:off x="5771964" y="224087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5095855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C3127A3-8594-4F6E-ADD8-0AADE14705A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C3127A3-8594-4F6E-ADD8-0AADE1470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Untertitel 9">
            <a:extLst>
              <a:ext uri="{FF2B5EF4-FFF2-40B4-BE49-F238E27FC236}">
                <a16:creationId xmlns:a16="http://schemas.microsoft.com/office/drawing/2014/main" id="{48A6E7A3-96A6-4744-8691-03F8DD1673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title of presentation</a:t>
            </a:r>
          </a:p>
          <a:p>
            <a:pPr lvl="1"/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69E501A-02F4-4233-91F7-081D1D8CA7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Liebherr International</a:t>
            </a:r>
            <a:endParaRPr lang="en-US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C2A26B7-5423-4F8E-8FEE-9502CDD8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 of the presentation </a:t>
            </a:r>
            <a:br>
              <a:rPr lang="en-US" dirty="0" smtClean="0"/>
            </a:br>
            <a:r>
              <a:rPr lang="en-US" dirty="0" smtClean="0"/>
              <a:t>in Liebherr Head Black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42901600"/>
      </p:ext>
    </p:extLst>
  </p:cSld>
  <p:clrMapOvr>
    <a:masterClrMapping/>
  </p:clrMapOvr>
  <p:transition spd="slow"/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iekt 14" hidden="1">
            <a:extLst>
              <a:ext uri="{FF2B5EF4-FFF2-40B4-BE49-F238E27FC236}">
                <a16:creationId xmlns:a16="http://schemas.microsoft.com/office/drawing/2014/main" id="{2A7239F7-AB1D-4188-AD51-6C11AC1C340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15" name="Obiekt 14" hidden="1">
                        <a:extLst>
                          <a:ext uri="{FF2B5EF4-FFF2-40B4-BE49-F238E27FC236}">
                            <a16:creationId xmlns:a16="http://schemas.microsoft.com/office/drawing/2014/main" id="{2A7239F7-AB1D-4188-AD51-6C11AC1C3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625707B8-DA22-4899-AC18-4C550162E49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000" dirty="0">
              <a:solidFill>
                <a:schemeClr val="tx1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  <a:sym typeface="Open Sans Extrabold" panose="020B0906030804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49D083B-975A-4388-B1EB-E04E8FB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nual comparison with icon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46" name="Inhaltsplatzhalter 7">
            <a:extLst>
              <a:ext uri="{FF2B5EF4-FFF2-40B4-BE49-F238E27FC236}">
                <a16:creationId xmlns:a16="http://schemas.microsoft.com/office/drawing/2014/main" id="{EA582DE7-8FD2-4610-B939-6EBF5150F378}"/>
              </a:ext>
            </a:extLst>
          </p:cNvPr>
          <p:cNvSpPr txBox="1">
            <a:spLocks/>
          </p:cNvSpPr>
          <p:nvPr/>
        </p:nvSpPr>
        <p:spPr bwMode="gray">
          <a:xfrm>
            <a:off x="551384" y="1700808"/>
            <a:ext cx="5256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dolore magna aliquam lobortis nisl ut aliquip ex consequat.</a:t>
            </a:r>
          </a:p>
        </p:txBody>
      </p:sp>
      <p:sp>
        <p:nvSpPr>
          <p:cNvPr id="52" name="Inhaltsplatzhalter 7">
            <a:extLst>
              <a:ext uri="{FF2B5EF4-FFF2-40B4-BE49-F238E27FC236}">
                <a16:creationId xmlns:a16="http://schemas.microsoft.com/office/drawing/2014/main" id="{24D48A11-7612-4948-BD77-2711BD2CC87D}"/>
              </a:ext>
            </a:extLst>
          </p:cNvPr>
          <p:cNvSpPr txBox="1">
            <a:spLocks/>
          </p:cNvSpPr>
          <p:nvPr/>
        </p:nvSpPr>
        <p:spPr bwMode="gray">
          <a:xfrm>
            <a:off x="551384" y="3284984"/>
            <a:ext cx="5256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dolore magna aliquam lobortis nisl ut aliquip ex consequat.</a:t>
            </a:r>
          </a:p>
        </p:txBody>
      </p:sp>
      <p:sp>
        <p:nvSpPr>
          <p:cNvPr id="54" name="Inhaltsplatzhalter 7">
            <a:extLst>
              <a:ext uri="{FF2B5EF4-FFF2-40B4-BE49-F238E27FC236}">
                <a16:creationId xmlns:a16="http://schemas.microsoft.com/office/drawing/2014/main" id="{EA31854A-E0CE-4C55-AC2A-2EC274B4ACB3}"/>
              </a:ext>
            </a:extLst>
          </p:cNvPr>
          <p:cNvSpPr txBox="1">
            <a:spLocks/>
          </p:cNvSpPr>
          <p:nvPr/>
        </p:nvSpPr>
        <p:spPr bwMode="gray">
          <a:xfrm>
            <a:off x="551384" y="4869160"/>
            <a:ext cx="5256000" cy="1152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 euismod dolore magna aliquam lobortis nisl ut aliquip ex consequat.</a:t>
            </a:r>
          </a:p>
        </p:txBody>
      </p:sp>
      <p:grpSp>
        <p:nvGrpSpPr>
          <p:cNvPr id="55" name="Grupa 102">
            <a:extLst>
              <a:ext uri="{FF2B5EF4-FFF2-40B4-BE49-F238E27FC236}">
                <a16:creationId xmlns:a16="http://schemas.microsoft.com/office/drawing/2014/main" id="{D0DD121B-F568-416E-9D54-CCADB7774CE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674746" y="5445296"/>
            <a:ext cx="707685" cy="648000"/>
            <a:chOff x="11176000" y="3582988"/>
            <a:chExt cx="527050" cy="482600"/>
          </a:xfrm>
        </p:grpSpPr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8E10B556-F7C3-4069-B888-57A18793E8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9038" y="3783013"/>
              <a:ext cx="180975" cy="282575"/>
            </a:xfrm>
            <a:custGeom>
              <a:avLst/>
              <a:gdLst>
                <a:gd name="T0" fmla="*/ 41 w 229"/>
                <a:gd name="T1" fmla="*/ 196 h 360"/>
                <a:gd name="T2" fmla="*/ 1 w 229"/>
                <a:gd name="T3" fmla="*/ 176 h 360"/>
                <a:gd name="T4" fmla="*/ 1 w 229"/>
                <a:gd name="T5" fmla="*/ 65 h 360"/>
                <a:gd name="T6" fmla="*/ 115 w 229"/>
                <a:gd name="T7" fmla="*/ 0 h 360"/>
                <a:gd name="T8" fmla="*/ 228 w 229"/>
                <a:gd name="T9" fmla="*/ 65 h 360"/>
                <a:gd name="T10" fmla="*/ 228 w 229"/>
                <a:gd name="T11" fmla="*/ 176 h 360"/>
                <a:gd name="T12" fmla="*/ 188 w 229"/>
                <a:gd name="T13" fmla="*/ 196 h 360"/>
                <a:gd name="T14" fmla="*/ 188 w 229"/>
                <a:gd name="T15" fmla="*/ 360 h 360"/>
                <a:gd name="T16" fmla="*/ 41 w 229"/>
                <a:gd name="T17" fmla="*/ 360 h 360"/>
                <a:gd name="T18" fmla="*/ 41 w 229"/>
                <a:gd name="T19" fmla="*/ 19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360">
                  <a:moveTo>
                    <a:pt x="41" y="196"/>
                  </a:moveTo>
                  <a:cubicBezTo>
                    <a:pt x="1" y="176"/>
                    <a:pt x="1" y="176"/>
                    <a:pt x="1" y="176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229" y="0"/>
                    <a:pt x="228" y="59"/>
                    <a:pt x="228" y="65"/>
                  </a:cubicBezTo>
                  <a:cubicBezTo>
                    <a:pt x="228" y="176"/>
                    <a:pt x="228" y="176"/>
                    <a:pt x="228" y="176"/>
                  </a:cubicBezTo>
                  <a:cubicBezTo>
                    <a:pt x="188" y="196"/>
                    <a:pt x="188" y="196"/>
                    <a:pt x="188" y="196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lnTo>
                    <a:pt x="41" y="196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A933EEDC-1D53-4A97-9F53-5D9307C7F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03013" y="3625850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32">
              <a:extLst>
                <a:ext uri="{FF2B5EF4-FFF2-40B4-BE49-F238E27FC236}">
                  <a16:creationId xmlns:a16="http://schemas.microsoft.com/office/drawing/2014/main" id="{D0051EC6-4A06-40F1-900A-90B69F99B58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76000" y="3741738"/>
              <a:ext cx="174625" cy="282575"/>
            </a:xfrm>
            <a:custGeom>
              <a:avLst/>
              <a:gdLst>
                <a:gd name="T0" fmla="*/ 188 w 221"/>
                <a:gd name="T1" fmla="*/ 253 h 360"/>
                <a:gd name="T2" fmla="*/ 188 w 221"/>
                <a:gd name="T3" fmla="*/ 360 h 360"/>
                <a:gd name="T4" fmla="*/ 41 w 221"/>
                <a:gd name="T5" fmla="*/ 360 h 360"/>
                <a:gd name="T6" fmla="*/ 41 w 221"/>
                <a:gd name="T7" fmla="*/ 195 h 360"/>
                <a:gd name="T8" fmla="*/ 1 w 221"/>
                <a:gd name="T9" fmla="*/ 175 h 360"/>
                <a:gd name="T10" fmla="*/ 1 w 221"/>
                <a:gd name="T11" fmla="*/ 65 h 360"/>
                <a:gd name="T12" fmla="*/ 115 w 221"/>
                <a:gd name="T13" fmla="*/ 0 h 360"/>
                <a:gd name="T14" fmla="*/ 221 w 221"/>
                <a:gd name="T15" fmla="*/ 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360">
                  <a:moveTo>
                    <a:pt x="188" y="253"/>
                  </a:moveTo>
                  <a:cubicBezTo>
                    <a:pt x="188" y="360"/>
                    <a:pt x="188" y="360"/>
                    <a:pt x="188" y="360"/>
                  </a:cubicBezTo>
                  <a:cubicBezTo>
                    <a:pt x="41" y="360"/>
                    <a:pt x="41" y="360"/>
                    <a:pt x="41" y="360"/>
                  </a:cubicBezTo>
                  <a:cubicBezTo>
                    <a:pt x="41" y="195"/>
                    <a:pt x="41" y="195"/>
                    <a:pt x="41" y="19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59"/>
                    <a:pt x="0" y="0"/>
                    <a:pt x="115" y="0"/>
                  </a:cubicBezTo>
                  <a:cubicBezTo>
                    <a:pt x="184" y="0"/>
                    <a:pt x="211" y="22"/>
                    <a:pt x="221" y="4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33">
              <a:extLst>
                <a:ext uri="{FF2B5EF4-FFF2-40B4-BE49-F238E27FC236}">
                  <a16:creationId xmlns:a16="http://schemas.microsoft.com/office/drawing/2014/main" id="{CB1CDFB5-3FB7-49E3-BD92-FC3C2E515D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9975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34">
              <a:extLst>
                <a:ext uri="{FF2B5EF4-FFF2-40B4-BE49-F238E27FC236}">
                  <a16:creationId xmlns:a16="http://schemas.microsoft.com/office/drawing/2014/main" id="{61ECE166-C077-4AB2-9464-F86280A0C4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8425" y="3741738"/>
              <a:ext cx="174625" cy="282575"/>
            </a:xfrm>
            <a:custGeom>
              <a:avLst/>
              <a:gdLst>
                <a:gd name="T0" fmla="*/ 0 w 222"/>
                <a:gd name="T1" fmla="*/ 42 h 360"/>
                <a:gd name="T2" fmla="*/ 108 w 222"/>
                <a:gd name="T3" fmla="*/ 0 h 360"/>
                <a:gd name="T4" fmla="*/ 221 w 222"/>
                <a:gd name="T5" fmla="*/ 65 h 360"/>
                <a:gd name="T6" fmla="*/ 221 w 222"/>
                <a:gd name="T7" fmla="*/ 175 h 360"/>
                <a:gd name="T8" fmla="*/ 181 w 222"/>
                <a:gd name="T9" fmla="*/ 195 h 360"/>
                <a:gd name="T10" fmla="*/ 181 w 222"/>
                <a:gd name="T11" fmla="*/ 360 h 360"/>
                <a:gd name="T12" fmla="*/ 34 w 222"/>
                <a:gd name="T13" fmla="*/ 360 h 360"/>
                <a:gd name="T14" fmla="*/ 34 w 222"/>
                <a:gd name="T15" fmla="*/ 25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360">
                  <a:moveTo>
                    <a:pt x="0" y="42"/>
                  </a:moveTo>
                  <a:cubicBezTo>
                    <a:pt x="10" y="23"/>
                    <a:pt x="36" y="0"/>
                    <a:pt x="108" y="0"/>
                  </a:cubicBezTo>
                  <a:cubicBezTo>
                    <a:pt x="222" y="0"/>
                    <a:pt x="221" y="59"/>
                    <a:pt x="221" y="65"/>
                  </a:cubicBezTo>
                  <a:cubicBezTo>
                    <a:pt x="221" y="175"/>
                    <a:pt x="221" y="175"/>
                    <a:pt x="221" y="175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34" y="360"/>
                    <a:pt x="34" y="360"/>
                    <a:pt x="34" y="360"/>
                  </a:cubicBezTo>
                  <a:cubicBezTo>
                    <a:pt x="34" y="253"/>
                    <a:pt x="34" y="253"/>
                    <a:pt x="34" y="25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35">
              <a:extLst>
                <a:ext uri="{FF2B5EF4-FFF2-40B4-BE49-F238E27FC236}">
                  <a16:creationId xmlns:a16="http://schemas.microsoft.com/office/drawing/2014/main" id="{863AB21E-27FC-41FA-B18A-E669BB531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76050" y="3582988"/>
              <a:ext cx="84138" cy="115887"/>
            </a:xfrm>
            <a:custGeom>
              <a:avLst/>
              <a:gdLst>
                <a:gd name="T0" fmla="*/ 0 w 107"/>
                <a:gd name="T1" fmla="*/ 92 h 147"/>
                <a:gd name="T2" fmla="*/ 0 w 107"/>
                <a:gd name="T3" fmla="*/ 56 h 147"/>
                <a:gd name="T4" fmla="*/ 53 w 107"/>
                <a:gd name="T5" fmla="*/ 0 h 147"/>
                <a:gd name="T6" fmla="*/ 107 w 107"/>
                <a:gd name="T7" fmla="*/ 56 h 147"/>
                <a:gd name="T8" fmla="*/ 107 w 107"/>
                <a:gd name="T9" fmla="*/ 92 h 147"/>
                <a:gd name="T10" fmla="*/ 53 w 107"/>
                <a:gd name="T11" fmla="*/ 147 h 147"/>
                <a:gd name="T12" fmla="*/ 0 w 107"/>
                <a:gd name="T13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7">
                  <a:moveTo>
                    <a:pt x="0" y="92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9" y="0"/>
                    <a:pt x="53" y="0"/>
                  </a:cubicBezTo>
                  <a:cubicBezTo>
                    <a:pt x="97" y="0"/>
                    <a:pt x="107" y="33"/>
                    <a:pt x="107" y="5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115"/>
                    <a:pt x="97" y="147"/>
                    <a:pt x="53" y="147"/>
                  </a:cubicBezTo>
                  <a:cubicBezTo>
                    <a:pt x="9" y="147"/>
                    <a:pt x="0" y="115"/>
                    <a:pt x="0" y="92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5" name="Grupa 49">
            <a:extLst>
              <a:ext uri="{FF2B5EF4-FFF2-40B4-BE49-F238E27FC236}">
                <a16:creationId xmlns:a16="http://schemas.microsoft.com/office/drawing/2014/main" id="{B31A170A-A187-4F79-BE9F-2D5A8CE0AAA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6845144" y="5445296"/>
            <a:ext cx="589846" cy="648000"/>
            <a:chOff x="11261725" y="1700213"/>
            <a:chExt cx="450851" cy="495300"/>
          </a:xfrm>
        </p:grpSpPr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395A3AFF-96E5-4FDA-BBE7-148545EF0C8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79200" y="1817688"/>
              <a:ext cx="215900" cy="269875"/>
            </a:xfrm>
            <a:custGeom>
              <a:avLst/>
              <a:gdLst>
                <a:gd name="T0" fmla="*/ 88 w 320"/>
                <a:gd name="T1" fmla="*/ 400 h 400"/>
                <a:gd name="T2" fmla="*/ 0 w 320"/>
                <a:gd name="T3" fmla="*/ 157 h 400"/>
                <a:gd name="T4" fmla="*/ 160 w 320"/>
                <a:gd name="T5" fmla="*/ 0 h 400"/>
                <a:gd name="T6" fmla="*/ 160 w 320"/>
                <a:gd name="T7" fmla="*/ 0 h 400"/>
                <a:gd name="T8" fmla="*/ 320 w 320"/>
                <a:gd name="T9" fmla="*/ 157 h 400"/>
                <a:gd name="T10" fmla="*/ 231 w 320"/>
                <a:gd name="T11" fmla="*/ 400 h 400"/>
                <a:gd name="T12" fmla="*/ 88 w 320"/>
                <a:gd name="T1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400">
                  <a:moveTo>
                    <a:pt x="88" y="400"/>
                  </a:moveTo>
                  <a:cubicBezTo>
                    <a:pt x="73" y="335"/>
                    <a:pt x="0" y="250"/>
                    <a:pt x="0" y="157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248" y="0"/>
                    <a:pt x="320" y="70"/>
                    <a:pt x="320" y="157"/>
                  </a:cubicBezTo>
                  <a:cubicBezTo>
                    <a:pt x="320" y="250"/>
                    <a:pt x="246" y="335"/>
                    <a:pt x="231" y="400"/>
                  </a:cubicBezTo>
                  <a:lnTo>
                    <a:pt x="88" y="400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Line 7">
              <a:extLst>
                <a:ext uri="{FF2B5EF4-FFF2-40B4-BE49-F238E27FC236}">
                  <a16:creationId xmlns:a16="http://schemas.microsoft.com/office/drawing/2014/main" id="{8DC544A7-5EBA-4312-BF8D-8916667E591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487150" y="1700213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Line 8">
              <a:extLst>
                <a:ext uri="{FF2B5EF4-FFF2-40B4-BE49-F238E27FC236}">
                  <a16:creationId xmlns:a16="http://schemas.microsoft.com/office/drawing/2014/main" id="{A8A33C25-B069-4E55-BE61-D2133EBC15A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61725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Line 9">
              <a:extLst>
                <a:ext uri="{FF2B5EF4-FFF2-40B4-BE49-F238E27FC236}">
                  <a16:creationId xmlns:a16="http://schemas.microsoft.com/office/drawing/2014/main" id="{A8D533F9-EC57-4A71-BAF6-F8B6461F34D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631613" y="1898651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Line 10">
              <a:extLst>
                <a:ext uri="{FF2B5EF4-FFF2-40B4-BE49-F238E27FC236}">
                  <a16:creationId xmlns:a16="http://schemas.microsoft.com/office/drawing/2014/main" id="{33ECE06E-2E2D-4352-8E1C-F7400B2F40D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329988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Line 11">
              <a:extLst>
                <a:ext uri="{FF2B5EF4-FFF2-40B4-BE49-F238E27FC236}">
                  <a16:creationId xmlns:a16="http://schemas.microsoft.com/office/drawing/2014/main" id="{45204323-5C96-4652-8132-B704013F72E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599863" y="1755776"/>
              <a:ext cx="57150" cy="571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Line 12">
              <a:extLst>
                <a:ext uri="{FF2B5EF4-FFF2-40B4-BE49-F238E27FC236}">
                  <a16:creationId xmlns:a16="http://schemas.microsoft.com/office/drawing/2014/main" id="{47EC4FCD-745F-4C5C-8AFA-DD4EF072BE7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1612563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Line 13">
              <a:extLst>
                <a:ext uri="{FF2B5EF4-FFF2-40B4-BE49-F238E27FC236}">
                  <a16:creationId xmlns:a16="http://schemas.microsoft.com/office/drawing/2014/main" id="{8ACF603C-CCAF-4EBC-AD7F-AED4AF1A8A0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1291888" y="1995488"/>
              <a:ext cx="69850" cy="39688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Line 14">
              <a:extLst>
                <a:ext uri="{FF2B5EF4-FFF2-40B4-BE49-F238E27FC236}">
                  <a16:creationId xmlns:a16="http://schemas.microsoft.com/office/drawing/2014/main" id="{EC4162A8-1DB4-4BF6-A563-CE0913DA1B7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24076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Line 15">
              <a:extLst>
                <a:ext uri="{FF2B5EF4-FFF2-40B4-BE49-F238E27FC236}">
                  <a16:creationId xmlns:a16="http://schemas.microsoft.com/office/drawing/2014/main" id="{EC169DB8-762A-426E-89F8-8DD6AD030D7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33175" y="2159001"/>
              <a:ext cx="1079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Line 16">
              <a:extLst>
                <a:ext uri="{FF2B5EF4-FFF2-40B4-BE49-F238E27FC236}">
                  <a16:creationId xmlns:a16="http://schemas.microsoft.com/office/drawing/2014/main" id="{FB304A6C-58D7-456F-A188-3DE907C1BD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460163" y="2195513"/>
              <a:ext cx="53975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7" name="Grupa 61">
            <a:extLst>
              <a:ext uri="{FF2B5EF4-FFF2-40B4-BE49-F238E27FC236}">
                <a16:creationId xmlns:a16="http://schemas.microsoft.com/office/drawing/2014/main" id="{F779CD38-8456-4EA8-BB7A-EFF957EB8BB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79025" y="5445296"/>
            <a:ext cx="605873" cy="648000"/>
            <a:chOff x="11225213" y="2628901"/>
            <a:chExt cx="479425" cy="512762"/>
          </a:xfrm>
        </p:grpSpPr>
        <p:sp>
          <p:nvSpPr>
            <p:cNvPr id="108" name="Line 20">
              <a:extLst>
                <a:ext uri="{FF2B5EF4-FFF2-40B4-BE49-F238E27FC236}">
                  <a16:creationId xmlns:a16="http://schemas.microsoft.com/office/drawing/2014/main" id="{3A351A06-F946-48B8-AD3C-B1C7A5A1C086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244263" y="2674938"/>
              <a:ext cx="0" cy="112713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21">
              <a:extLst>
                <a:ext uri="{FF2B5EF4-FFF2-40B4-BE49-F238E27FC236}">
                  <a16:creationId xmlns:a16="http://schemas.microsoft.com/office/drawing/2014/main" id="{5E006D33-A728-49A6-82E3-47EEA7281A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5213" y="2628901"/>
              <a:ext cx="368300" cy="392113"/>
            </a:xfrm>
            <a:custGeom>
              <a:avLst/>
              <a:gdLst>
                <a:gd name="T0" fmla="*/ 566 w 597"/>
                <a:gd name="T1" fmla="*/ 637 h 637"/>
                <a:gd name="T2" fmla="*/ 497 w 597"/>
                <a:gd name="T3" fmla="*/ 601 h 637"/>
                <a:gd name="T4" fmla="*/ 43 w 597"/>
                <a:gd name="T5" fmla="*/ 98 h 637"/>
                <a:gd name="T6" fmla="*/ 103 w 597"/>
                <a:gd name="T7" fmla="*/ 45 h 637"/>
                <a:gd name="T8" fmla="*/ 563 w 597"/>
                <a:gd name="T9" fmla="*/ 546 h 637"/>
                <a:gd name="T10" fmla="*/ 597 w 597"/>
                <a:gd name="T11" fmla="*/ 6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7" h="637">
                  <a:moveTo>
                    <a:pt x="566" y="637"/>
                  </a:moveTo>
                  <a:cubicBezTo>
                    <a:pt x="497" y="601"/>
                    <a:pt x="497" y="601"/>
                    <a:pt x="497" y="601"/>
                  </a:cubicBezTo>
                  <a:cubicBezTo>
                    <a:pt x="497" y="601"/>
                    <a:pt x="118" y="181"/>
                    <a:pt x="43" y="98"/>
                  </a:cubicBezTo>
                  <a:cubicBezTo>
                    <a:pt x="0" y="50"/>
                    <a:pt x="62" y="0"/>
                    <a:pt x="103" y="45"/>
                  </a:cubicBezTo>
                  <a:cubicBezTo>
                    <a:pt x="190" y="141"/>
                    <a:pt x="563" y="546"/>
                    <a:pt x="563" y="546"/>
                  </a:cubicBezTo>
                  <a:cubicBezTo>
                    <a:pt x="597" y="630"/>
                    <a:pt x="597" y="630"/>
                    <a:pt x="597" y="63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Line 22">
              <a:extLst>
                <a:ext uri="{FF2B5EF4-FFF2-40B4-BE49-F238E27FC236}">
                  <a16:creationId xmlns:a16="http://schemas.microsoft.com/office/drawing/2014/main" id="{78D0599B-1D83-405A-99B5-41DF1F0D338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1450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Line 23">
              <a:extLst>
                <a:ext uri="{FF2B5EF4-FFF2-40B4-BE49-F238E27FC236}">
                  <a16:creationId xmlns:a16="http://schemas.microsoft.com/office/drawing/2014/main" id="{1DA94FAC-027F-4D47-BE81-ED4A2B59970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590338" y="3019426"/>
              <a:ext cx="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Line 24">
              <a:extLst>
                <a:ext uri="{FF2B5EF4-FFF2-40B4-BE49-F238E27FC236}">
                  <a16:creationId xmlns:a16="http://schemas.microsoft.com/office/drawing/2014/main" id="{649DC9FA-F664-4717-9542-6377ED98D4F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606213" y="3100388"/>
              <a:ext cx="57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Line 25">
              <a:extLst>
                <a:ext uri="{FF2B5EF4-FFF2-40B4-BE49-F238E27FC236}">
                  <a16:creationId xmlns:a16="http://schemas.microsoft.com/office/drawing/2014/main" id="{72B24195-6B67-4745-97A7-C0D104DC6E05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1663363" y="3059113"/>
              <a:ext cx="4762" cy="8255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26">
              <a:extLst>
                <a:ext uri="{FF2B5EF4-FFF2-40B4-BE49-F238E27FC236}">
                  <a16:creationId xmlns:a16="http://schemas.microsoft.com/office/drawing/2014/main" id="{BFA2BB6A-78E0-4922-8958-AC76037ED0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91888" y="2659063"/>
              <a:ext cx="412750" cy="400050"/>
            </a:xfrm>
            <a:custGeom>
              <a:avLst/>
              <a:gdLst>
                <a:gd name="T0" fmla="*/ 669 w 669"/>
                <a:gd name="T1" fmla="*/ 582 h 648"/>
                <a:gd name="T2" fmla="*/ 456 w 669"/>
                <a:gd name="T3" fmla="*/ 582 h 648"/>
                <a:gd name="T4" fmla="*/ 455 w 669"/>
                <a:gd name="T5" fmla="*/ 593 h 648"/>
                <a:gd name="T6" fmla="*/ 482 w 669"/>
                <a:gd name="T7" fmla="*/ 648 h 648"/>
                <a:gd name="T8" fmla="*/ 669 w 669"/>
                <a:gd name="T9" fmla="*/ 648 h 648"/>
                <a:gd name="T10" fmla="*/ 669 w 669"/>
                <a:gd name="T11" fmla="*/ 302 h 648"/>
                <a:gd name="T12" fmla="*/ 0 w 669"/>
                <a:gd name="T13" fmla="*/ 0 h 648"/>
                <a:gd name="T14" fmla="*/ 669 w 669"/>
                <a:gd name="T15" fmla="*/ 302 h 648"/>
                <a:gd name="T16" fmla="*/ 489 w 669"/>
                <a:gd name="T17" fmla="*/ 58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648">
                  <a:moveTo>
                    <a:pt x="669" y="582"/>
                  </a:moveTo>
                  <a:cubicBezTo>
                    <a:pt x="456" y="582"/>
                    <a:pt x="456" y="582"/>
                    <a:pt x="456" y="582"/>
                  </a:cubicBezTo>
                  <a:cubicBezTo>
                    <a:pt x="455" y="593"/>
                    <a:pt x="455" y="593"/>
                    <a:pt x="455" y="593"/>
                  </a:cubicBezTo>
                  <a:cubicBezTo>
                    <a:pt x="455" y="620"/>
                    <a:pt x="454" y="648"/>
                    <a:pt x="482" y="648"/>
                  </a:cubicBezTo>
                  <a:cubicBezTo>
                    <a:pt x="669" y="648"/>
                    <a:pt x="669" y="648"/>
                    <a:pt x="669" y="648"/>
                  </a:cubicBezTo>
                  <a:cubicBezTo>
                    <a:pt x="669" y="302"/>
                    <a:pt x="669" y="302"/>
                    <a:pt x="669" y="30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69" y="302"/>
                  </a:moveTo>
                  <a:cubicBezTo>
                    <a:pt x="489" y="580"/>
                    <a:pt x="489" y="580"/>
                    <a:pt x="489" y="58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5" name="Inhaltsplatzhalter 6">
            <a:extLst>
              <a:ext uri="{FF2B5EF4-FFF2-40B4-BE49-F238E27FC236}">
                <a16:creationId xmlns:a16="http://schemas.microsoft.com/office/drawing/2014/main" id="{4941A1EA-3173-4E24-AEFB-BB81BBED60A3}"/>
              </a:ext>
            </a:extLst>
          </p:cNvPr>
          <p:cNvSpPr txBox="1">
            <a:spLocks/>
          </p:cNvSpPr>
          <p:nvPr/>
        </p:nvSpPr>
        <p:spPr bwMode="gray">
          <a:xfrm>
            <a:off x="6780067" y="3573016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117" name="Pfeil nach rechts 6">
            <a:extLst>
              <a:ext uri="{FF2B5EF4-FFF2-40B4-BE49-F238E27FC236}">
                <a16:creationId xmlns:a16="http://schemas.microsoft.com/office/drawing/2014/main" id="{E9175EFC-809C-4331-8137-48B26A3C715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6200000">
            <a:off x="9696588" y="3609055"/>
            <a:ext cx="2664000" cy="647698"/>
          </a:xfrm>
          <a:prstGeom prst="rightArrow">
            <a:avLst>
              <a:gd name="adj1" fmla="val 55564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3168000" tIns="0" bIns="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9" name="Inhaltsplatzhalter 6">
            <a:extLst>
              <a:ext uri="{FF2B5EF4-FFF2-40B4-BE49-F238E27FC236}">
                <a16:creationId xmlns:a16="http://schemas.microsoft.com/office/drawing/2014/main" id="{9AFCE1F3-038B-4E14-AC87-0B160E2A18E6}"/>
              </a:ext>
            </a:extLst>
          </p:cNvPr>
          <p:cNvSpPr txBox="1">
            <a:spLocks/>
          </p:cNvSpPr>
          <p:nvPr/>
        </p:nvSpPr>
        <p:spPr bwMode="gray">
          <a:xfrm>
            <a:off x="10668588" y="2348888"/>
            <a:ext cx="720000" cy="72000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2"/>
                </a:solidFill>
                <a:latin typeface="+mj-lt"/>
              </a:rPr>
              <a:t>20XX</a:t>
            </a:r>
          </a:p>
        </p:txBody>
      </p:sp>
      <p:sp>
        <p:nvSpPr>
          <p:cNvPr id="120" name="Inhaltsplatzhalter 6">
            <a:extLst>
              <a:ext uri="{FF2B5EF4-FFF2-40B4-BE49-F238E27FC236}">
                <a16:creationId xmlns:a16="http://schemas.microsoft.com/office/drawing/2014/main" id="{5141D096-2791-42EF-B028-0E73A62C3420}"/>
              </a:ext>
            </a:extLst>
          </p:cNvPr>
          <p:cNvSpPr txBox="1">
            <a:spLocks/>
          </p:cNvSpPr>
          <p:nvPr/>
        </p:nvSpPr>
        <p:spPr bwMode="gray">
          <a:xfrm>
            <a:off x="8721961" y="2960952"/>
            <a:ext cx="720000" cy="720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252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+mj-lt"/>
              </a:rPr>
              <a:t>20XX</a:t>
            </a:r>
          </a:p>
        </p:txBody>
      </p:sp>
      <p:sp>
        <p:nvSpPr>
          <p:cNvPr id="122" name="Pfeil nach rechts 6">
            <a:extLst>
              <a:ext uri="{FF2B5EF4-FFF2-40B4-BE49-F238E27FC236}">
                <a16:creationId xmlns:a16="http://schemas.microsoft.com/office/drawing/2014/main" id="{8A327D95-F67E-486A-B382-C9F2A9778C1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 rot="16200000">
            <a:off x="8055997" y="3915091"/>
            <a:ext cx="2051928" cy="647698"/>
          </a:xfrm>
          <a:prstGeom prst="rightArrow">
            <a:avLst>
              <a:gd name="adj1" fmla="val 55564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3168000" tIns="0" bIns="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5" name="Pfeil nach rechts 6">
            <a:extLst>
              <a:ext uri="{FF2B5EF4-FFF2-40B4-BE49-F238E27FC236}">
                <a16:creationId xmlns:a16="http://schemas.microsoft.com/office/drawing/2014/main" id="{199AB959-E714-4EF1-977F-9353B398C315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 rot="16200000">
            <a:off x="6420138" y="4221125"/>
            <a:ext cx="1439860" cy="647698"/>
          </a:xfrm>
          <a:prstGeom prst="rightArrow">
            <a:avLst>
              <a:gd name="adj1" fmla="val 55564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3168000" tIns="0" bIns="0" rtlCol="0" anchor="ctr"/>
          <a:lstStyle/>
          <a:p>
            <a:pPr algn="ctr">
              <a:lnSpc>
                <a:spcPct val="12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78907224"/>
      </p:ext>
    </p:extLst>
  </p:cSld>
  <p:clrMapOvr>
    <a:masterClrMapping/>
  </p:clrMapOvr>
  <p:transition spd="slow"/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B6B856D-6901-430A-95E0-E0C8E049AC4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think-cell Folie" r:id="rId12" imgW="359" imgH="358" progId="TCLayout.ActiveDocument.1">
                  <p:embed/>
                </p:oleObj>
              </mc:Choice>
              <mc:Fallback>
                <p:oleObj name="think-cell Folie" r:id="rId12" imgW="359" imgH="35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B6B856D-6901-430A-95E0-E0C8E049A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D2A91BDF-6BCB-4307-9E85-72F3D313F5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3DF2FD1-38BA-480A-8147-4D13DFA2431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Relative comparis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17" name="Inhaltsplatzhalter 9">
            <a:extLst>
              <a:ext uri="{FF2B5EF4-FFF2-40B4-BE49-F238E27FC236}">
                <a16:creationId xmlns:a16="http://schemas.microsoft.com/office/drawing/2014/main" id="{A48AD7E5-EB99-4D1B-9A17-3699D16E324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411846" y="908650"/>
            <a:ext cx="1780154" cy="299295"/>
          </a:xfrm>
          <a:prstGeom prst="rect">
            <a:avLst/>
          </a:prstGeom>
          <a:solidFill>
            <a:srgbClr val="E5E8ED"/>
          </a:solidFill>
          <a:ln>
            <a:noFill/>
          </a:ln>
        </p:spPr>
        <p:txBody>
          <a:bodyPr wrap="none" lIns="144000" tIns="72000" rIns="468000" bIns="7200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Excel-based charts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1441EED2-FCCF-4C0F-A83F-539AFE0DCC8E}"/>
              </a:ext>
            </a:extLst>
          </p:cNvPr>
          <p:cNvSpPr txBox="1">
            <a:spLocks/>
          </p:cNvSpPr>
          <p:nvPr/>
        </p:nvSpPr>
        <p:spPr bwMode="gray">
          <a:xfrm>
            <a:off x="551384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uismod dolore magna </a:t>
            </a:r>
            <a:br>
              <a:rPr lang="en-US" dirty="0"/>
            </a:br>
            <a:r>
              <a:rPr lang="en-US" dirty="0"/>
              <a:t>aliquam erat volutpat.</a:t>
            </a:r>
          </a:p>
          <a:p>
            <a:pPr lvl="2"/>
            <a:r>
              <a:rPr lang="en-US" dirty="0"/>
              <a:t>Ut wisi enim ad minim nostrud ex ea commodo</a:t>
            </a:r>
          </a:p>
          <a:p>
            <a:pPr lvl="2"/>
            <a:r>
              <a:rPr lang="en-US" dirty="0"/>
              <a:t>Duis autem vel eum iriure esse molestie consequat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222D2E09-9E7E-4667-88B6-C3C9B06F36E4}"/>
              </a:ext>
            </a:extLst>
          </p:cNvPr>
          <p:cNvSpPr txBox="1">
            <a:spLocks/>
          </p:cNvSpPr>
          <p:nvPr/>
        </p:nvSpPr>
        <p:spPr bwMode="gray">
          <a:xfrm>
            <a:off x="8400256" y="2924944"/>
            <a:ext cx="3312591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uismod dolore magna </a:t>
            </a:r>
            <a:br>
              <a:rPr lang="en-US" dirty="0"/>
            </a:br>
            <a:r>
              <a:rPr lang="en-US" dirty="0"/>
              <a:t>aliquam erat volutpat.</a:t>
            </a:r>
          </a:p>
          <a:p>
            <a:pPr lvl="2"/>
            <a:r>
              <a:rPr lang="en-US" dirty="0"/>
              <a:t>Ut wisi enim ad minim nostrud ex ea commodo</a:t>
            </a:r>
          </a:p>
          <a:p>
            <a:pPr lvl="2"/>
            <a:r>
              <a:rPr lang="en-US" dirty="0"/>
              <a:t>Duis autem vel eum iriure esse molestie consequat</a:t>
            </a:r>
          </a:p>
        </p:txBody>
      </p:sp>
      <p:sp>
        <p:nvSpPr>
          <p:cNvPr id="30" name="Inhaltsplatzhalter 7">
            <a:extLst>
              <a:ext uri="{FF2B5EF4-FFF2-40B4-BE49-F238E27FC236}">
                <a16:creationId xmlns:a16="http://schemas.microsoft.com/office/drawing/2014/main" id="{FD973738-FF53-4B5C-8ACB-A04651A6E966}"/>
              </a:ext>
            </a:extLst>
          </p:cNvPr>
          <p:cNvSpPr txBox="1">
            <a:spLocks/>
          </p:cNvSpPr>
          <p:nvPr/>
        </p:nvSpPr>
        <p:spPr bwMode="gray">
          <a:xfrm>
            <a:off x="4511824" y="2924944"/>
            <a:ext cx="3240000" cy="316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rem ipsum</a:t>
            </a:r>
          </a:p>
          <a:p>
            <a:pPr lvl="1"/>
            <a:r>
              <a:rPr lang="en-US" dirty="0"/>
              <a:t>Sed diam nonummy nibh</a:t>
            </a:r>
            <a:br>
              <a:rPr lang="en-US" dirty="0"/>
            </a:br>
            <a:r>
              <a:rPr lang="en-US" dirty="0"/>
              <a:t>euismod dolore magna </a:t>
            </a:r>
            <a:br>
              <a:rPr lang="en-US" dirty="0"/>
            </a:br>
            <a:r>
              <a:rPr lang="en-US" dirty="0"/>
              <a:t>aliquam erat volutpat.</a:t>
            </a:r>
          </a:p>
          <a:p>
            <a:pPr lvl="2"/>
            <a:r>
              <a:rPr lang="en-US" dirty="0"/>
              <a:t>Ut wisi enim ad minim nostrud ex ea commodo</a:t>
            </a:r>
          </a:p>
          <a:p>
            <a:pPr lvl="2"/>
            <a:r>
              <a:rPr lang="en-US" dirty="0"/>
              <a:t>Duis autem vel eum iriure esse molestie consequat</a:t>
            </a:r>
          </a:p>
        </p:txBody>
      </p:sp>
      <p:graphicFrame>
        <p:nvGraphicFramePr>
          <p:cNvPr id="38" name="Diagramm 25">
            <a:extLst>
              <a:ext uri="{FF2B5EF4-FFF2-40B4-BE49-F238E27FC236}">
                <a16:creationId xmlns:a16="http://schemas.microsoft.com/office/drawing/2014/main" id="{D4321ED4-6974-48ED-BA27-2C77FC875FF9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552000" y="2636912"/>
          <a:ext cx="3312000" cy="1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9" name="Diagramm 25">
            <a:extLst>
              <a:ext uri="{FF2B5EF4-FFF2-40B4-BE49-F238E27FC236}">
                <a16:creationId xmlns:a16="http://schemas.microsoft.com/office/drawing/2014/main" id="{E0352FB9-1AB1-4A10-B8DE-31D502F323C7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512000" y="2636912"/>
          <a:ext cx="3240000" cy="1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40" name="Diagramm 25">
            <a:extLst>
              <a:ext uri="{FF2B5EF4-FFF2-40B4-BE49-F238E27FC236}">
                <a16:creationId xmlns:a16="http://schemas.microsoft.com/office/drawing/2014/main" id="{66930C38-4B31-43D4-A331-CD8F54465F26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8400000" y="2636912"/>
          <a:ext cx="3312000" cy="1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4685BB4F-5713-4CEE-8E59-DA3551D6125C}"/>
              </a:ext>
            </a:extLst>
          </p:cNvPr>
          <p:cNvSpPr txBox="1">
            <a:spLocks/>
          </p:cNvSpPr>
          <p:nvPr/>
        </p:nvSpPr>
        <p:spPr bwMode="gray">
          <a:xfrm>
            <a:off x="551384" y="2636912"/>
            <a:ext cx="1080000" cy="100800"/>
          </a:xfrm>
          <a:prstGeom prst="rect">
            <a:avLst/>
          </a:prstGeom>
          <a:noFill/>
        </p:spPr>
        <p:txBody>
          <a:bodyPr wrap="none"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67</a:t>
            </a:r>
            <a:r>
              <a:rPr lang="en-US" dirty="0">
                <a:latin typeface="+mj-lt"/>
              </a:rPr>
              <a:t>%</a:t>
            </a:r>
          </a:p>
        </p:txBody>
      </p: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CE2F2EB9-D338-4FBD-97C5-0518B806E79F}"/>
              </a:ext>
            </a:extLst>
          </p:cNvPr>
          <p:cNvSpPr txBox="1">
            <a:spLocks/>
          </p:cNvSpPr>
          <p:nvPr/>
        </p:nvSpPr>
        <p:spPr bwMode="gray">
          <a:xfrm>
            <a:off x="4511944" y="2636912"/>
            <a:ext cx="1080000" cy="100800"/>
          </a:xfrm>
          <a:prstGeom prst="rect">
            <a:avLst/>
          </a:prstGeom>
          <a:noFill/>
        </p:spPr>
        <p:txBody>
          <a:bodyPr wrap="none"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latin typeface="+mj-lt"/>
              </a:rPr>
              <a:t>83</a:t>
            </a:r>
            <a:r>
              <a:rPr lang="en-US" dirty="0">
                <a:latin typeface="+mj-lt"/>
              </a:rPr>
              <a:t>%</a:t>
            </a:r>
          </a:p>
        </p:txBody>
      </p:sp>
      <p:sp>
        <p:nvSpPr>
          <p:cNvPr id="37" name="Inhaltsplatzhalter 6">
            <a:extLst>
              <a:ext uri="{FF2B5EF4-FFF2-40B4-BE49-F238E27FC236}">
                <a16:creationId xmlns:a16="http://schemas.microsoft.com/office/drawing/2014/main" id="{53D35938-3FE9-4357-B4D7-58A5CB60430A}"/>
              </a:ext>
            </a:extLst>
          </p:cNvPr>
          <p:cNvSpPr txBox="1">
            <a:spLocks/>
          </p:cNvSpPr>
          <p:nvPr/>
        </p:nvSpPr>
        <p:spPr bwMode="gray">
          <a:xfrm>
            <a:off x="8400256" y="2636912"/>
            <a:ext cx="1080000" cy="100800"/>
          </a:xfrm>
          <a:prstGeom prst="rect">
            <a:avLst/>
          </a:prstGeom>
          <a:noFill/>
        </p:spPr>
        <p:txBody>
          <a:bodyPr wrap="none" lIns="0" tIns="0" rIns="0" bIns="360000"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solidFill>
                  <a:schemeClr val="bg2"/>
                </a:solidFill>
                <a:latin typeface="+mj-lt"/>
              </a:rPr>
              <a:t>93</a:t>
            </a:r>
            <a:r>
              <a:rPr lang="en-US" dirty="0">
                <a:solidFill>
                  <a:schemeClr val="bg2"/>
                </a:solidFill>
                <a:latin typeface="+mj-lt"/>
              </a:rPr>
              <a:t>%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7501649"/>
      </p:ext>
    </p:extLst>
  </p:cSld>
  <p:clrMapOvr>
    <a:masterClrMapping/>
  </p:clrMapOvr>
  <p:transition spd="slow"/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22A9053-8BC9-4A34-933F-44F7957B104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Folie" r:id="rId7" imgW="359" imgH="358" progId="TCLayout.ActiveDocument.1">
                  <p:embed/>
                </p:oleObj>
              </mc:Choice>
              <mc:Fallback>
                <p:oleObj name="think-cell Folie" r:id="rId7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22A9053-8BC9-4A34-933F-44F7957B1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08BD39-C772-402A-96D4-1CB8AC723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</a:t>
            </a:r>
            <a:endParaRPr lang="en-US" dirty="0"/>
          </a:p>
        </p:txBody>
      </p:sp>
      <p:sp>
        <p:nvSpPr>
          <p:cNvPr id="292" name="Text Placeholder 29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8" name="Date Placeholder 29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99" name="Footer Placeholder 29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00" name="Slide Number Placeholder 29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2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EAE3D90-C9C0-442C-83E9-87439FA1F940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2558269" y="1772816"/>
            <a:ext cx="7075462" cy="4248471"/>
            <a:chOff x="566737" y="109537"/>
            <a:chExt cx="11059572" cy="6640734"/>
          </a:xfrm>
          <a:solidFill>
            <a:schemeClr val="bg2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45999E1-B0D7-426D-A161-6D3213AE098A}"/>
                </a:ext>
              </a:extLst>
            </p:cNvPr>
            <p:cNvSpPr/>
            <p:nvPr/>
          </p:nvSpPr>
          <p:spPr bwMode="gray">
            <a:xfrm>
              <a:off x="3759136" y="246125"/>
              <a:ext cx="44577" cy="8105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BB8EA5B1-CCB5-46FF-B4BF-F596CB33AC74}"/>
                </a:ext>
              </a:extLst>
            </p:cNvPr>
            <p:cNvSpPr/>
            <p:nvPr/>
          </p:nvSpPr>
          <p:spPr bwMode="gray">
            <a:xfrm>
              <a:off x="3116389" y="4072699"/>
              <a:ext cx="513968" cy="80962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F220BCA7-B3C7-45C7-8F4F-C6D9F58C8119}"/>
                </a:ext>
              </a:extLst>
            </p:cNvPr>
            <p:cNvSpPr/>
            <p:nvPr/>
          </p:nvSpPr>
          <p:spPr bwMode="gray">
            <a:xfrm>
              <a:off x="2926460" y="4482655"/>
              <a:ext cx="1129284" cy="8105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90506DA-F849-4D78-8BD4-EE35F684571E}"/>
                </a:ext>
              </a:extLst>
            </p:cNvPr>
            <p:cNvSpPr/>
            <p:nvPr/>
          </p:nvSpPr>
          <p:spPr bwMode="gray">
            <a:xfrm>
              <a:off x="2915887" y="4619338"/>
              <a:ext cx="1584579" cy="80962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E3544D62-73E4-4474-8BCF-CA56ED008D04}"/>
                </a:ext>
              </a:extLst>
            </p:cNvPr>
            <p:cNvSpPr/>
            <p:nvPr/>
          </p:nvSpPr>
          <p:spPr bwMode="gray">
            <a:xfrm>
              <a:off x="3044665" y="4892706"/>
              <a:ext cx="1392364" cy="80962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8525249-EB1D-4645-BBDC-89B01DDB4D57}"/>
                </a:ext>
              </a:extLst>
            </p:cNvPr>
            <p:cNvSpPr/>
            <p:nvPr/>
          </p:nvSpPr>
          <p:spPr bwMode="gray">
            <a:xfrm>
              <a:off x="3152774" y="5029294"/>
              <a:ext cx="1234440" cy="8105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A80E235-3B41-4CA8-B07C-897E7D69A053}"/>
                </a:ext>
              </a:extLst>
            </p:cNvPr>
            <p:cNvSpPr/>
            <p:nvPr/>
          </p:nvSpPr>
          <p:spPr bwMode="gray">
            <a:xfrm>
              <a:off x="3295459" y="5302662"/>
              <a:ext cx="888015" cy="80962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457CFD2F-C722-4A9C-84E1-FC6D78A3B088}"/>
                </a:ext>
              </a:extLst>
            </p:cNvPr>
            <p:cNvSpPr/>
            <p:nvPr/>
          </p:nvSpPr>
          <p:spPr bwMode="gray">
            <a:xfrm>
              <a:off x="3295459" y="5575934"/>
              <a:ext cx="742568" cy="8105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981F84D-9D5B-4605-B7C3-02933DE5199A}"/>
                </a:ext>
              </a:extLst>
            </p:cNvPr>
            <p:cNvSpPr/>
            <p:nvPr/>
          </p:nvSpPr>
          <p:spPr bwMode="gray">
            <a:xfrm>
              <a:off x="3295459" y="5849302"/>
              <a:ext cx="551307" cy="80962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B224031-12C4-497F-A3A7-6608F6A4059B}"/>
                </a:ext>
              </a:extLst>
            </p:cNvPr>
            <p:cNvSpPr/>
            <p:nvPr/>
          </p:nvSpPr>
          <p:spPr bwMode="gray">
            <a:xfrm>
              <a:off x="3295459" y="6259258"/>
              <a:ext cx="332803" cy="8105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6F28CCDB-9169-4A87-9AEC-B74A027537C3}"/>
                </a:ext>
              </a:extLst>
            </p:cNvPr>
            <p:cNvSpPr/>
            <p:nvPr/>
          </p:nvSpPr>
          <p:spPr bwMode="gray">
            <a:xfrm>
              <a:off x="3295459" y="6122669"/>
              <a:ext cx="332803" cy="80962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CEAA555E-3E33-4CE4-8EAA-A1A1F814C333}"/>
                </a:ext>
              </a:extLst>
            </p:cNvPr>
            <p:cNvSpPr/>
            <p:nvPr/>
          </p:nvSpPr>
          <p:spPr bwMode="gray">
            <a:xfrm>
              <a:off x="3295459" y="5439345"/>
              <a:ext cx="795242" cy="80962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AE3A937-21E0-4D14-9BA0-8A13F7510C58}"/>
                </a:ext>
              </a:extLst>
            </p:cNvPr>
            <p:cNvSpPr/>
            <p:nvPr/>
          </p:nvSpPr>
          <p:spPr bwMode="gray">
            <a:xfrm>
              <a:off x="3295459" y="5712618"/>
              <a:ext cx="644366" cy="8105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2AF0F8B-5A3B-4876-84CC-AC66152713F5}"/>
                </a:ext>
              </a:extLst>
            </p:cNvPr>
            <p:cNvSpPr/>
            <p:nvPr/>
          </p:nvSpPr>
          <p:spPr bwMode="gray">
            <a:xfrm>
              <a:off x="3295459" y="5985985"/>
              <a:ext cx="383762" cy="80962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8BC085CC-8B8D-46F6-A98A-CA49DFD562D5}"/>
                </a:ext>
              </a:extLst>
            </p:cNvPr>
            <p:cNvSpPr/>
            <p:nvPr/>
          </p:nvSpPr>
          <p:spPr bwMode="gray">
            <a:xfrm>
              <a:off x="3295459" y="5165978"/>
              <a:ext cx="1091755" cy="8105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A3DD381-E92A-4EA1-9643-836C8FAB2887}"/>
                </a:ext>
              </a:extLst>
            </p:cNvPr>
            <p:cNvSpPr/>
            <p:nvPr/>
          </p:nvSpPr>
          <p:spPr bwMode="gray">
            <a:xfrm>
              <a:off x="2989230" y="4756022"/>
              <a:ext cx="1536477" cy="80962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07CA13B3-4671-4F71-9F5B-82D148990625}"/>
                </a:ext>
              </a:extLst>
            </p:cNvPr>
            <p:cNvSpPr/>
            <p:nvPr/>
          </p:nvSpPr>
          <p:spPr bwMode="gray">
            <a:xfrm>
              <a:off x="3035331" y="4346066"/>
              <a:ext cx="939641" cy="80962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EEC101D5-7CDE-4A56-923D-9FDD022F4EF4}"/>
                </a:ext>
              </a:extLst>
            </p:cNvPr>
            <p:cNvSpPr/>
            <p:nvPr/>
          </p:nvSpPr>
          <p:spPr bwMode="gray">
            <a:xfrm>
              <a:off x="3035331" y="4209382"/>
              <a:ext cx="668274" cy="80962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641B8617-5FEB-4710-8B5C-3E7F6A2E7D87}"/>
                </a:ext>
              </a:extLst>
            </p:cNvPr>
            <p:cNvSpPr/>
            <p:nvPr/>
          </p:nvSpPr>
          <p:spPr bwMode="gray">
            <a:xfrm>
              <a:off x="3493388" y="6669309"/>
              <a:ext cx="207454" cy="80962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4C7E662-8444-4EC1-9761-7145D2785EDB}"/>
                </a:ext>
              </a:extLst>
            </p:cNvPr>
            <p:cNvSpPr/>
            <p:nvPr/>
          </p:nvSpPr>
          <p:spPr bwMode="gray">
            <a:xfrm>
              <a:off x="3372992" y="6532625"/>
              <a:ext cx="205930" cy="80962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2BAF8614-3A33-42AC-8EBB-98C120CF5616}"/>
                </a:ext>
              </a:extLst>
            </p:cNvPr>
            <p:cNvSpPr/>
            <p:nvPr/>
          </p:nvSpPr>
          <p:spPr bwMode="gray">
            <a:xfrm>
              <a:off x="3295459" y="6395941"/>
              <a:ext cx="297275" cy="80962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2B372B8-0CC7-4E31-8CD7-E208FB2B9D15}"/>
                </a:ext>
              </a:extLst>
            </p:cNvPr>
            <p:cNvSpPr/>
            <p:nvPr/>
          </p:nvSpPr>
          <p:spPr bwMode="gray">
            <a:xfrm>
              <a:off x="11073954" y="6532625"/>
              <a:ext cx="173831" cy="80962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CCA64404-3B02-46D0-A373-7277A58C2B4A}"/>
                </a:ext>
              </a:extLst>
            </p:cNvPr>
            <p:cNvSpPr/>
            <p:nvPr/>
          </p:nvSpPr>
          <p:spPr bwMode="gray">
            <a:xfrm>
              <a:off x="11205400" y="6395941"/>
              <a:ext cx="136683" cy="80962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D33972D7-F24B-4F41-9DB6-A8EFD64E5CD2}"/>
                </a:ext>
              </a:extLst>
            </p:cNvPr>
            <p:cNvSpPr/>
            <p:nvPr/>
          </p:nvSpPr>
          <p:spPr bwMode="gray">
            <a:xfrm>
              <a:off x="11328463" y="6259258"/>
              <a:ext cx="61245" cy="8105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9BB60108-87E9-4B39-9D61-A14DD3328039}"/>
                </a:ext>
              </a:extLst>
            </p:cNvPr>
            <p:cNvSpPr/>
            <p:nvPr/>
          </p:nvSpPr>
          <p:spPr bwMode="gray">
            <a:xfrm>
              <a:off x="11422093" y="6259258"/>
              <a:ext cx="115633" cy="8105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284E8EB9-E828-4411-A307-7D4DC71D78FD}"/>
                </a:ext>
              </a:extLst>
            </p:cNvPr>
            <p:cNvSpPr/>
            <p:nvPr/>
          </p:nvSpPr>
          <p:spPr bwMode="gray">
            <a:xfrm>
              <a:off x="10421968" y="6259258"/>
              <a:ext cx="136778" cy="8105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2B80F58-5450-46C4-AA08-2249DE666704}"/>
                </a:ext>
              </a:extLst>
            </p:cNvPr>
            <p:cNvSpPr/>
            <p:nvPr/>
          </p:nvSpPr>
          <p:spPr bwMode="gray">
            <a:xfrm>
              <a:off x="10312050" y="5985985"/>
              <a:ext cx="384809" cy="80962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1DFF29CB-011F-45A7-A9BE-AC1B2BC4C43F}"/>
                </a:ext>
              </a:extLst>
            </p:cNvPr>
            <p:cNvSpPr/>
            <p:nvPr/>
          </p:nvSpPr>
          <p:spPr bwMode="gray">
            <a:xfrm>
              <a:off x="10277760" y="5849302"/>
              <a:ext cx="503205" cy="80962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102B860E-4D6A-4B9A-A34B-284ECE9865D4}"/>
                </a:ext>
              </a:extLst>
            </p:cNvPr>
            <p:cNvSpPr/>
            <p:nvPr/>
          </p:nvSpPr>
          <p:spPr bwMode="gray">
            <a:xfrm>
              <a:off x="10170318" y="5712618"/>
              <a:ext cx="695801" cy="8105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22A72E36-452D-44EF-BBB6-2349023A3205}"/>
                </a:ext>
              </a:extLst>
            </p:cNvPr>
            <p:cNvSpPr/>
            <p:nvPr/>
          </p:nvSpPr>
          <p:spPr bwMode="gray">
            <a:xfrm>
              <a:off x="9517760" y="5712618"/>
              <a:ext cx="327374" cy="8105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812F082A-E29C-4F92-BD95-6FC950E09339}"/>
                </a:ext>
              </a:extLst>
            </p:cNvPr>
            <p:cNvSpPr/>
            <p:nvPr/>
          </p:nvSpPr>
          <p:spPr bwMode="gray">
            <a:xfrm>
              <a:off x="9517760" y="5439345"/>
              <a:ext cx="1381410" cy="80962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7B5301D0-A3B5-4B61-A5C8-C991815FC408}"/>
                </a:ext>
              </a:extLst>
            </p:cNvPr>
            <p:cNvSpPr/>
            <p:nvPr/>
          </p:nvSpPr>
          <p:spPr bwMode="gray">
            <a:xfrm>
              <a:off x="9545668" y="5302662"/>
              <a:ext cx="1289113" cy="80962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A2AE6B-2BC2-4257-A128-2150B7465078}"/>
                </a:ext>
              </a:extLst>
            </p:cNvPr>
            <p:cNvSpPr/>
            <p:nvPr/>
          </p:nvSpPr>
          <p:spPr bwMode="gray">
            <a:xfrm>
              <a:off x="9816655" y="5165978"/>
              <a:ext cx="884586" cy="8105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30ADC1-2DBE-4C26-A778-A4264E07FF73}"/>
                </a:ext>
              </a:extLst>
            </p:cNvPr>
            <p:cNvSpPr/>
            <p:nvPr/>
          </p:nvSpPr>
          <p:spPr bwMode="gray">
            <a:xfrm>
              <a:off x="9935908" y="5029294"/>
              <a:ext cx="431101" cy="8105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D6D76A0C-48B4-44F8-9AF2-B0BA2416F1EC}"/>
                </a:ext>
              </a:extLst>
            </p:cNvPr>
            <p:cNvSpPr/>
            <p:nvPr/>
          </p:nvSpPr>
          <p:spPr bwMode="gray">
            <a:xfrm>
              <a:off x="10529315" y="5029294"/>
              <a:ext cx="158019" cy="8105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7BDB7BC-3D5F-4383-9B4E-138AAF322AD8}"/>
                </a:ext>
              </a:extLst>
            </p:cNvPr>
            <p:cNvSpPr/>
            <p:nvPr/>
          </p:nvSpPr>
          <p:spPr bwMode="gray">
            <a:xfrm>
              <a:off x="10529315" y="4892706"/>
              <a:ext cx="100107" cy="80962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2BEFD99-AE41-459F-AE28-B22A0C29F0B5}"/>
                </a:ext>
              </a:extLst>
            </p:cNvPr>
            <p:cNvSpPr/>
            <p:nvPr/>
          </p:nvSpPr>
          <p:spPr bwMode="gray">
            <a:xfrm>
              <a:off x="10103548" y="4892706"/>
              <a:ext cx="300989" cy="80962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4AD16148-5A64-4CF5-AF70-139656339D04}"/>
                </a:ext>
              </a:extLst>
            </p:cNvPr>
            <p:cNvSpPr/>
            <p:nvPr/>
          </p:nvSpPr>
          <p:spPr bwMode="gray">
            <a:xfrm>
              <a:off x="9546049" y="5575934"/>
              <a:ext cx="1353121" cy="8105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14A394E9-2B42-42FF-85BB-A9FE38C83F31}"/>
                </a:ext>
              </a:extLst>
            </p:cNvPr>
            <p:cNvSpPr/>
            <p:nvPr/>
          </p:nvSpPr>
          <p:spPr bwMode="gray">
            <a:xfrm>
              <a:off x="11463241" y="5985985"/>
              <a:ext cx="81057" cy="80962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F56D5CC-6265-4A10-9BBD-5B98CCC3BE5F}"/>
                </a:ext>
              </a:extLst>
            </p:cNvPr>
            <p:cNvSpPr/>
            <p:nvPr/>
          </p:nvSpPr>
          <p:spPr bwMode="gray">
            <a:xfrm>
              <a:off x="11443810" y="6122669"/>
              <a:ext cx="182499" cy="80962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28055B-5879-4320-B352-9A22AFAB8296}"/>
                </a:ext>
              </a:extLst>
            </p:cNvPr>
            <p:cNvSpPr/>
            <p:nvPr/>
          </p:nvSpPr>
          <p:spPr bwMode="gray">
            <a:xfrm>
              <a:off x="6240303" y="5575934"/>
              <a:ext cx="416813" cy="8105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776C7ECB-2B56-413B-B675-23464BE13648}"/>
                </a:ext>
              </a:extLst>
            </p:cNvPr>
            <p:cNvSpPr/>
            <p:nvPr/>
          </p:nvSpPr>
          <p:spPr bwMode="gray">
            <a:xfrm>
              <a:off x="6186296" y="5439345"/>
              <a:ext cx="593979" cy="80962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AAC3CB6B-A39B-4F8F-9FF3-BE999FB6B8DA}"/>
                </a:ext>
              </a:extLst>
            </p:cNvPr>
            <p:cNvSpPr/>
            <p:nvPr/>
          </p:nvSpPr>
          <p:spPr bwMode="gray">
            <a:xfrm>
              <a:off x="6153625" y="5302662"/>
              <a:ext cx="727805" cy="80962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640B6BEF-CCA2-4266-8D21-A3744EB2B290}"/>
                </a:ext>
              </a:extLst>
            </p:cNvPr>
            <p:cNvSpPr/>
            <p:nvPr/>
          </p:nvSpPr>
          <p:spPr bwMode="gray">
            <a:xfrm>
              <a:off x="6110191" y="5165978"/>
              <a:ext cx="771239" cy="8105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2531BE43-67D0-447C-8A2A-9C633A83EA91}"/>
                </a:ext>
              </a:extLst>
            </p:cNvPr>
            <p:cNvSpPr/>
            <p:nvPr/>
          </p:nvSpPr>
          <p:spPr bwMode="gray">
            <a:xfrm>
              <a:off x="7174324" y="5165978"/>
              <a:ext cx="182022" cy="8105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0634E6A2-616C-49AE-BCD5-D7EC0D12EB09}"/>
                </a:ext>
              </a:extLst>
            </p:cNvPr>
            <p:cNvSpPr/>
            <p:nvPr/>
          </p:nvSpPr>
          <p:spPr bwMode="gray">
            <a:xfrm>
              <a:off x="7174324" y="5029294"/>
              <a:ext cx="208311" cy="8105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63D7FB5-3B5A-4FE7-8A13-C44C7BD47F07}"/>
                </a:ext>
              </a:extLst>
            </p:cNvPr>
            <p:cNvSpPr/>
            <p:nvPr/>
          </p:nvSpPr>
          <p:spPr bwMode="gray">
            <a:xfrm>
              <a:off x="7329010" y="4892706"/>
              <a:ext cx="68103" cy="80962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85B480FF-46B7-4F45-81FD-0321C45FB80A}"/>
                </a:ext>
              </a:extLst>
            </p:cNvPr>
            <p:cNvSpPr/>
            <p:nvPr/>
          </p:nvSpPr>
          <p:spPr bwMode="gray">
            <a:xfrm>
              <a:off x="7150321" y="5302662"/>
              <a:ext cx="148399" cy="80962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A25B90F5-AC4B-4101-919C-94D0B7CA1A42}"/>
                </a:ext>
              </a:extLst>
            </p:cNvPr>
            <p:cNvSpPr/>
            <p:nvPr/>
          </p:nvSpPr>
          <p:spPr bwMode="gray">
            <a:xfrm>
              <a:off x="6073425" y="5029294"/>
              <a:ext cx="996029" cy="8105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C291864-03EA-46A3-84F3-DE798E387D0D}"/>
                </a:ext>
              </a:extLst>
            </p:cNvPr>
            <p:cNvSpPr/>
            <p:nvPr/>
          </p:nvSpPr>
          <p:spPr bwMode="gray">
            <a:xfrm>
              <a:off x="6118669" y="4756022"/>
              <a:ext cx="921258" cy="80962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C18FF075-5123-4B5D-8A4D-EB1E036118A2}"/>
                </a:ext>
              </a:extLst>
            </p:cNvPr>
            <p:cNvSpPr/>
            <p:nvPr/>
          </p:nvSpPr>
          <p:spPr bwMode="gray">
            <a:xfrm>
              <a:off x="6069520" y="4619338"/>
              <a:ext cx="970407" cy="80962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23D36845-077E-41A7-A9D5-339E02631FB1}"/>
                </a:ext>
              </a:extLst>
            </p:cNvPr>
            <p:cNvSpPr/>
            <p:nvPr/>
          </p:nvSpPr>
          <p:spPr bwMode="gray">
            <a:xfrm>
              <a:off x="5979413" y="4482655"/>
              <a:ext cx="1179861" cy="8105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439C81C6-114C-4D74-9DF0-DD9F5FD3B9E3}"/>
                </a:ext>
              </a:extLst>
            </p:cNvPr>
            <p:cNvSpPr/>
            <p:nvPr/>
          </p:nvSpPr>
          <p:spPr bwMode="gray">
            <a:xfrm>
              <a:off x="6016846" y="4346066"/>
              <a:ext cx="1316164" cy="80962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C53276F8-C979-435C-9A7C-4ACA619D8EB8}"/>
                </a:ext>
              </a:extLst>
            </p:cNvPr>
            <p:cNvSpPr/>
            <p:nvPr/>
          </p:nvSpPr>
          <p:spPr bwMode="gray">
            <a:xfrm>
              <a:off x="5241321" y="4209382"/>
              <a:ext cx="2171223" cy="80962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9309E316-91C2-4CC0-850D-3CF800324927}"/>
                </a:ext>
              </a:extLst>
            </p:cNvPr>
            <p:cNvSpPr/>
            <p:nvPr/>
          </p:nvSpPr>
          <p:spPr bwMode="gray">
            <a:xfrm>
              <a:off x="5121401" y="4072699"/>
              <a:ext cx="2328005" cy="80962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BAC56371-C6D0-4E51-A6E0-6176AD1E9AB6}"/>
                </a:ext>
              </a:extLst>
            </p:cNvPr>
            <p:cNvSpPr/>
            <p:nvPr/>
          </p:nvSpPr>
          <p:spPr bwMode="gray">
            <a:xfrm>
              <a:off x="5092540" y="3936015"/>
              <a:ext cx="1983104" cy="8105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31A31EF-2CE1-4D12-AEA5-7B411EAED94D}"/>
                </a:ext>
              </a:extLst>
            </p:cNvPr>
            <p:cNvSpPr/>
            <p:nvPr/>
          </p:nvSpPr>
          <p:spPr bwMode="gray">
            <a:xfrm>
              <a:off x="5092540" y="3662743"/>
              <a:ext cx="1845754" cy="80962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9624FE53-1A96-4D05-A196-2AB0018D7CA6}"/>
                </a:ext>
              </a:extLst>
            </p:cNvPr>
            <p:cNvSpPr/>
            <p:nvPr/>
          </p:nvSpPr>
          <p:spPr bwMode="gray">
            <a:xfrm>
              <a:off x="5206555" y="3526059"/>
              <a:ext cx="1646586" cy="80962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30497A24-BC00-4AFF-8569-E243DD1AC0C5}"/>
                </a:ext>
              </a:extLst>
            </p:cNvPr>
            <p:cNvSpPr/>
            <p:nvPr/>
          </p:nvSpPr>
          <p:spPr bwMode="gray">
            <a:xfrm>
              <a:off x="5336190" y="3389375"/>
              <a:ext cx="1971579" cy="80962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B10CFF90-8691-43FF-93A8-1ADD87C82FE3}"/>
                </a:ext>
              </a:extLst>
            </p:cNvPr>
            <p:cNvSpPr/>
            <p:nvPr/>
          </p:nvSpPr>
          <p:spPr bwMode="gray">
            <a:xfrm>
              <a:off x="5458395" y="3252691"/>
              <a:ext cx="603599" cy="8105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9C5BC005-0D5A-4573-A189-01476699C0EE}"/>
                </a:ext>
              </a:extLst>
            </p:cNvPr>
            <p:cNvSpPr/>
            <p:nvPr/>
          </p:nvSpPr>
          <p:spPr bwMode="gray">
            <a:xfrm>
              <a:off x="5728334" y="3116103"/>
              <a:ext cx="287083" cy="80962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2B82B116-68E8-4E12-8488-5C6522388BFA}"/>
                </a:ext>
              </a:extLst>
            </p:cNvPr>
            <p:cNvSpPr/>
            <p:nvPr/>
          </p:nvSpPr>
          <p:spPr bwMode="gray">
            <a:xfrm>
              <a:off x="5390673" y="3116103"/>
              <a:ext cx="276701" cy="80962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BB96DC5E-EA25-4C5E-BCE3-251FBAE21963}"/>
                </a:ext>
              </a:extLst>
            </p:cNvPr>
            <p:cNvSpPr/>
            <p:nvPr/>
          </p:nvSpPr>
          <p:spPr bwMode="gray">
            <a:xfrm>
              <a:off x="6083045" y="3116103"/>
              <a:ext cx="122015" cy="80962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FB76FFDA-A994-49DC-955C-5C1A07C9DB56}"/>
                </a:ext>
              </a:extLst>
            </p:cNvPr>
            <p:cNvSpPr/>
            <p:nvPr/>
          </p:nvSpPr>
          <p:spPr bwMode="gray">
            <a:xfrm>
              <a:off x="6348507" y="3116103"/>
              <a:ext cx="122015" cy="80962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1AE3B828-7F52-4713-BFDC-1A77AEC74B67}"/>
                </a:ext>
              </a:extLst>
            </p:cNvPr>
            <p:cNvSpPr/>
            <p:nvPr/>
          </p:nvSpPr>
          <p:spPr bwMode="gray">
            <a:xfrm>
              <a:off x="5132736" y="3799331"/>
              <a:ext cx="1858613" cy="8105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C27B96C9-86F4-42E5-8A50-4B040AC4CF14}"/>
                </a:ext>
              </a:extLst>
            </p:cNvPr>
            <p:cNvSpPr/>
            <p:nvPr/>
          </p:nvSpPr>
          <p:spPr bwMode="gray">
            <a:xfrm>
              <a:off x="6118669" y="4892706"/>
              <a:ext cx="950785" cy="80962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53EA0AD6-06DD-48FA-A144-4C152BE0331C}"/>
                </a:ext>
              </a:extLst>
            </p:cNvPr>
            <p:cNvSpPr/>
            <p:nvPr/>
          </p:nvSpPr>
          <p:spPr bwMode="gray">
            <a:xfrm>
              <a:off x="2534792" y="3936015"/>
              <a:ext cx="335565" cy="8105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88911E4F-67EF-4642-83FC-9F183697527E}"/>
                </a:ext>
              </a:extLst>
            </p:cNvPr>
            <p:cNvSpPr/>
            <p:nvPr/>
          </p:nvSpPr>
          <p:spPr bwMode="gray">
            <a:xfrm>
              <a:off x="2587084" y="3799331"/>
              <a:ext cx="144494" cy="8105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A3829171-FCE6-4E36-A0EB-952B6A9936B1}"/>
                </a:ext>
              </a:extLst>
            </p:cNvPr>
            <p:cNvSpPr/>
            <p:nvPr/>
          </p:nvSpPr>
          <p:spPr bwMode="gray">
            <a:xfrm>
              <a:off x="3212782" y="3799331"/>
              <a:ext cx="170783" cy="8105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CD8065BF-3C2C-4694-8B59-7E6FA0186D1F}"/>
                </a:ext>
              </a:extLst>
            </p:cNvPr>
            <p:cNvSpPr/>
            <p:nvPr/>
          </p:nvSpPr>
          <p:spPr bwMode="gray">
            <a:xfrm>
              <a:off x="3410711" y="3799331"/>
              <a:ext cx="69818" cy="8105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DEB216F9-6958-4217-9F16-714646F51B73}"/>
                </a:ext>
              </a:extLst>
            </p:cNvPr>
            <p:cNvSpPr/>
            <p:nvPr/>
          </p:nvSpPr>
          <p:spPr bwMode="gray">
            <a:xfrm>
              <a:off x="2170461" y="3799331"/>
              <a:ext cx="259842" cy="8105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EFF6F6B0-DA7B-4760-BC48-B223C27C1E97}"/>
                </a:ext>
              </a:extLst>
            </p:cNvPr>
            <p:cNvSpPr/>
            <p:nvPr/>
          </p:nvSpPr>
          <p:spPr bwMode="gray">
            <a:xfrm>
              <a:off x="2106739" y="3662743"/>
              <a:ext cx="295084" cy="80962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82FB4B8A-2DA6-4023-9FF4-7A420FAF514E}"/>
                </a:ext>
              </a:extLst>
            </p:cNvPr>
            <p:cNvSpPr/>
            <p:nvPr/>
          </p:nvSpPr>
          <p:spPr bwMode="gray">
            <a:xfrm>
              <a:off x="2833972" y="3662743"/>
              <a:ext cx="295179" cy="80962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70889961-0500-43B8-A601-F4844346986C}"/>
                </a:ext>
              </a:extLst>
            </p:cNvPr>
            <p:cNvSpPr/>
            <p:nvPr/>
          </p:nvSpPr>
          <p:spPr bwMode="gray">
            <a:xfrm>
              <a:off x="2921317" y="3526059"/>
              <a:ext cx="87344" cy="80962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022944E8-2D17-4A09-9CB7-25CCD9F5D398}"/>
                </a:ext>
              </a:extLst>
            </p:cNvPr>
            <p:cNvSpPr/>
            <p:nvPr/>
          </p:nvSpPr>
          <p:spPr bwMode="gray">
            <a:xfrm>
              <a:off x="2025014" y="3526059"/>
              <a:ext cx="376809" cy="80962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7AE569F-C75B-4FF4-8DD4-D38C3F55FBC5}"/>
                </a:ext>
              </a:extLst>
            </p:cNvPr>
            <p:cNvSpPr/>
            <p:nvPr/>
          </p:nvSpPr>
          <p:spPr bwMode="gray">
            <a:xfrm>
              <a:off x="1924240" y="3389375"/>
              <a:ext cx="770286" cy="80962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F4D2BCF-3327-4B8F-BDBE-24B630E1BDF2}"/>
                </a:ext>
              </a:extLst>
            </p:cNvPr>
            <p:cNvSpPr/>
            <p:nvPr/>
          </p:nvSpPr>
          <p:spPr bwMode="gray">
            <a:xfrm>
              <a:off x="1778698" y="3252691"/>
              <a:ext cx="1298257" cy="8105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1B95F64F-E0D9-4F31-B03C-D8E178226A6E}"/>
                </a:ext>
              </a:extLst>
            </p:cNvPr>
            <p:cNvSpPr/>
            <p:nvPr/>
          </p:nvSpPr>
          <p:spPr bwMode="gray">
            <a:xfrm>
              <a:off x="1655063" y="3116103"/>
              <a:ext cx="1548193" cy="80962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F9B17AAA-120C-407A-B9DF-D97F53435122}"/>
                </a:ext>
              </a:extLst>
            </p:cNvPr>
            <p:cNvSpPr/>
            <p:nvPr/>
          </p:nvSpPr>
          <p:spPr bwMode="gray">
            <a:xfrm>
              <a:off x="1619059" y="2979419"/>
              <a:ext cx="1666589" cy="80962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460CD230-E458-4C48-9341-C068A0C67ED3}"/>
                </a:ext>
              </a:extLst>
            </p:cNvPr>
            <p:cNvSpPr/>
            <p:nvPr/>
          </p:nvSpPr>
          <p:spPr bwMode="gray">
            <a:xfrm>
              <a:off x="1619059" y="2842735"/>
              <a:ext cx="1801082" cy="80962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A2D7136B-FABF-42E5-A667-DE034311FF70}"/>
                </a:ext>
              </a:extLst>
            </p:cNvPr>
            <p:cNvSpPr/>
            <p:nvPr/>
          </p:nvSpPr>
          <p:spPr bwMode="gray">
            <a:xfrm>
              <a:off x="1619059" y="2706052"/>
              <a:ext cx="2164556" cy="8105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C65B25BF-808B-42D0-A861-862F087CC519}"/>
                </a:ext>
              </a:extLst>
            </p:cNvPr>
            <p:cNvSpPr/>
            <p:nvPr/>
          </p:nvSpPr>
          <p:spPr bwMode="gray">
            <a:xfrm>
              <a:off x="1619059" y="2159412"/>
              <a:ext cx="1475898" cy="8105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2BD20E63-40BF-4878-A3D6-C8AB66638452}"/>
                </a:ext>
              </a:extLst>
            </p:cNvPr>
            <p:cNvSpPr/>
            <p:nvPr/>
          </p:nvSpPr>
          <p:spPr bwMode="gray">
            <a:xfrm>
              <a:off x="1619059" y="2022728"/>
              <a:ext cx="1278064" cy="8105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80DCC571-F014-4561-9501-8E5720FB1B6F}"/>
                </a:ext>
              </a:extLst>
            </p:cNvPr>
            <p:cNvSpPr/>
            <p:nvPr/>
          </p:nvSpPr>
          <p:spPr bwMode="gray">
            <a:xfrm>
              <a:off x="1585721" y="1886140"/>
              <a:ext cx="1311402" cy="80962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8EAE9E46-6C1A-4FAA-AC8E-0DD4E8BC0063}"/>
                </a:ext>
              </a:extLst>
            </p:cNvPr>
            <p:cNvSpPr/>
            <p:nvPr/>
          </p:nvSpPr>
          <p:spPr bwMode="gray">
            <a:xfrm>
              <a:off x="1494376" y="1749456"/>
              <a:ext cx="1585626" cy="80962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7181FD5B-4519-4F27-9D46-657D972FF9F2}"/>
                </a:ext>
              </a:extLst>
            </p:cNvPr>
            <p:cNvSpPr/>
            <p:nvPr/>
          </p:nvSpPr>
          <p:spPr bwMode="gray">
            <a:xfrm>
              <a:off x="780382" y="1749456"/>
              <a:ext cx="144399" cy="80962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6A3D8B62-1571-4648-8CC9-D0EB40FE0D38}"/>
                </a:ext>
              </a:extLst>
            </p:cNvPr>
            <p:cNvSpPr/>
            <p:nvPr/>
          </p:nvSpPr>
          <p:spPr bwMode="gray">
            <a:xfrm>
              <a:off x="566737" y="1886140"/>
              <a:ext cx="92678" cy="80962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B5D66215-CFDB-458D-BE6F-2FB5B0F5FC65}"/>
                </a:ext>
              </a:extLst>
            </p:cNvPr>
            <p:cNvSpPr/>
            <p:nvPr/>
          </p:nvSpPr>
          <p:spPr bwMode="gray">
            <a:xfrm>
              <a:off x="818768" y="1612772"/>
              <a:ext cx="463962" cy="80962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B4CD265C-98BD-45E0-B1F6-C2DAAFD913B3}"/>
                </a:ext>
              </a:extLst>
            </p:cNvPr>
            <p:cNvSpPr/>
            <p:nvPr/>
          </p:nvSpPr>
          <p:spPr bwMode="gray">
            <a:xfrm>
              <a:off x="1367599" y="1612772"/>
              <a:ext cx="1986153" cy="80962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9E98A6C8-EFC2-404F-8758-818C274284FD}"/>
                </a:ext>
              </a:extLst>
            </p:cNvPr>
            <p:cNvSpPr/>
            <p:nvPr/>
          </p:nvSpPr>
          <p:spPr bwMode="gray">
            <a:xfrm>
              <a:off x="773239" y="1476088"/>
              <a:ext cx="2668809" cy="8105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489FE4EC-C7AF-408C-944D-F7DAE6834E35}"/>
                </a:ext>
              </a:extLst>
            </p:cNvPr>
            <p:cNvSpPr/>
            <p:nvPr/>
          </p:nvSpPr>
          <p:spPr bwMode="gray">
            <a:xfrm>
              <a:off x="773239" y="1339405"/>
              <a:ext cx="2074735" cy="8105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6E373493-6BF6-4831-B77C-2C2CCEAA80E5}"/>
                </a:ext>
              </a:extLst>
            </p:cNvPr>
            <p:cNvSpPr/>
            <p:nvPr/>
          </p:nvSpPr>
          <p:spPr bwMode="gray">
            <a:xfrm>
              <a:off x="1047368" y="1202816"/>
              <a:ext cx="1906143" cy="80962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9301170D-0C80-4FC3-9730-419F84CE6719}"/>
                </a:ext>
              </a:extLst>
            </p:cNvPr>
            <p:cNvSpPr/>
            <p:nvPr/>
          </p:nvSpPr>
          <p:spPr bwMode="gray">
            <a:xfrm>
              <a:off x="898873" y="1066132"/>
              <a:ext cx="1491138" cy="80962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1D95FC48-F53A-4BD0-BA4C-1A3625D931F5}"/>
                </a:ext>
              </a:extLst>
            </p:cNvPr>
            <p:cNvSpPr/>
            <p:nvPr/>
          </p:nvSpPr>
          <p:spPr bwMode="gray">
            <a:xfrm>
              <a:off x="2531363" y="1066132"/>
              <a:ext cx="408241" cy="80962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A76212C7-EFD8-4D43-92C2-C3504F673403}"/>
                </a:ext>
              </a:extLst>
            </p:cNvPr>
            <p:cNvSpPr/>
            <p:nvPr/>
          </p:nvSpPr>
          <p:spPr bwMode="gray">
            <a:xfrm>
              <a:off x="3072193" y="1066132"/>
              <a:ext cx="183737" cy="80962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5231F17C-658A-4DF7-8496-2B37DC228421}"/>
                </a:ext>
              </a:extLst>
            </p:cNvPr>
            <p:cNvSpPr/>
            <p:nvPr/>
          </p:nvSpPr>
          <p:spPr bwMode="gray">
            <a:xfrm>
              <a:off x="3100196" y="929449"/>
              <a:ext cx="289464" cy="8105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1ADE66D2-76C2-47D6-82DC-AEEB2FA0FA3D}"/>
                </a:ext>
              </a:extLst>
            </p:cNvPr>
            <p:cNvSpPr/>
            <p:nvPr/>
          </p:nvSpPr>
          <p:spPr bwMode="gray">
            <a:xfrm>
              <a:off x="3434333" y="792765"/>
              <a:ext cx="293560" cy="8105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1E0D59AD-FB1D-4718-B157-7FB042433C25}"/>
                </a:ext>
              </a:extLst>
            </p:cNvPr>
            <p:cNvSpPr/>
            <p:nvPr/>
          </p:nvSpPr>
          <p:spPr bwMode="gray">
            <a:xfrm>
              <a:off x="2790253" y="656176"/>
              <a:ext cx="334803" cy="80962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21B16DC4-D379-4234-9FF9-BFE93B914C80}"/>
                </a:ext>
              </a:extLst>
            </p:cNvPr>
            <p:cNvSpPr/>
            <p:nvPr/>
          </p:nvSpPr>
          <p:spPr bwMode="gray">
            <a:xfrm>
              <a:off x="3179349" y="656176"/>
              <a:ext cx="172402" cy="80962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3A9FFDCD-1C79-47FB-9D66-8F0CE5721140}"/>
                </a:ext>
              </a:extLst>
            </p:cNvPr>
            <p:cNvSpPr/>
            <p:nvPr/>
          </p:nvSpPr>
          <p:spPr bwMode="gray">
            <a:xfrm>
              <a:off x="3403091" y="656176"/>
              <a:ext cx="495014" cy="80962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F333ACB4-5A93-4AFF-BB1A-920CC2D53C38}"/>
                </a:ext>
              </a:extLst>
            </p:cNvPr>
            <p:cNvSpPr/>
            <p:nvPr/>
          </p:nvSpPr>
          <p:spPr bwMode="gray">
            <a:xfrm>
              <a:off x="2722244" y="519493"/>
              <a:ext cx="262318" cy="80962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329EA082-CEB4-462D-9A08-78CD46C2F600}"/>
                </a:ext>
              </a:extLst>
            </p:cNvPr>
            <p:cNvSpPr/>
            <p:nvPr/>
          </p:nvSpPr>
          <p:spPr bwMode="gray">
            <a:xfrm>
              <a:off x="3099434" y="382809"/>
              <a:ext cx="108108" cy="80962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55124E39-8354-4A64-9F08-B62C0C321DA6}"/>
                </a:ext>
              </a:extLst>
            </p:cNvPr>
            <p:cNvSpPr/>
            <p:nvPr/>
          </p:nvSpPr>
          <p:spPr bwMode="gray">
            <a:xfrm>
              <a:off x="3310032" y="382809"/>
              <a:ext cx="138969" cy="80962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7035F74-0C7A-4C0D-AC6C-E563CF9EFC31}"/>
                </a:ext>
              </a:extLst>
            </p:cNvPr>
            <p:cNvSpPr/>
            <p:nvPr/>
          </p:nvSpPr>
          <p:spPr bwMode="gray">
            <a:xfrm>
              <a:off x="3565683" y="382809"/>
              <a:ext cx="646938" cy="80962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248F0CFA-DC6B-4165-A7D8-6C520F304768}"/>
                </a:ext>
              </a:extLst>
            </p:cNvPr>
            <p:cNvSpPr/>
            <p:nvPr/>
          </p:nvSpPr>
          <p:spPr bwMode="gray">
            <a:xfrm>
              <a:off x="3662838" y="246125"/>
              <a:ext cx="96297" cy="8105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5784AB30-4E8F-40BA-9997-A05301B7A832}"/>
                </a:ext>
              </a:extLst>
            </p:cNvPr>
            <p:cNvSpPr/>
            <p:nvPr/>
          </p:nvSpPr>
          <p:spPr bwMode="gray">
            <a:xfrm>
              <a:off x="3803712" y="246125"/>
              <a:ext cx="652462" cy="8105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6AAB34C2-463C-4463-BE40-BA5CF369423F}"/>
                </a:ext>
              </a:extLst>
            </p:cNvPr>
            <p:cNvSpPr/>
            <p:nvPr/>
          </p:nvSpPr>
          <p:spPr bwMode="gray">
            <a:xfrm>
              <a:off x="4042219" y="109537"/>
              <a:ext cx="232695" cy="80962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ACB9573D-6C7B-47C7-B088-C87F306B1FEF}"/>
                </a:ext>
              </a:extLst>
            </p:cNvPr>
            <p:cNvSpPr/>
            <p:nvPr/>
          </p:nvSpPr>
          <p:spPr bwMode="gray">
            <a:xfrm>
              <a:off x="3310032" y="519493"/>
              <a:ext cx="187642" cy="80962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1B4F72-CCF3-4DC9-B95C-E5D8C84A2D71}"/>
                </a:ext>
              </a:extLst>
            </p:cNvPr>
            <p:cNvSpPr/>
            <p:nvPr/>
          </p:nvSpPr>
          <p:spPr bwMode="gray">
            <a:xfrm>
              <a:off x="3565683" y="519493"/>
              <a:ext cx="500062" cy="80962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78FACDE-F525-4BA5-8E29-9097D7EEABE2}"/>
                </a:ext>
              </a:extLst>
            </p:cNvPr>
            <p:cNvSpPr/>
            <p:nvPr/>
          </p:nvSpPr>
          <p:spPr bwMode="gray">
            <a:xfrm>
              <a:off x="3604926" y="929449"/>
              <a:ext cx="115824" cy="8105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B10B4D15-9FBF-4CD7-84CA-5FA5013630F0}"/>
                </a:ext>
              </a:extLst>
            </p:cNvPr>
            <p:cNvSpPr/>
            <p:nvPr/>
          </p:nvSpPr>
          <p:spPr bwMode="gray">
            <a:xfrm>
              <a:off x="3072193" y="1202816"/>
              <a:ext cx="183737" cy="80962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E9F005C9-41C1-461E-A1EB-7C510432C011}"/>
                </a:ext>
              </a:extLst>
            </p:cNvPr>
            <p:cNvSpPr/>
            <p:nvPr/>
          </p:nvSpPr>
          <p:spPr bwMode="gray">
            <a:xfrm>
              <a:off x="3311270" y="1202816"/>
              <a:ext cx="497014" cy="80962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87612F5C-0A15-469A-8B97-5E4D45B67BEC}"/>
                </a:ext>
              </a:extLst>
            </p:cNvPr>
            <p:cNvSpPr/>
            <p:nvPr/>
          </p:nvSpPr>
          <p:spPr bwMode="gray">
            <a:xfrm>
              <a:off x="3351751" y="1066132"/>
              <a:ext cx="368998" cy="80962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7A24187F-D2F0-46E5-8994-E1AF0413C4D3}"/>
                </a:ext>
              </a:extLst>
            </p:cNvPr>
            <p:cNvSpPr/>
            <p:nvPr/>
          </p:nvSpPr>
          <p:spPr bwMode="gray">
            <a:xfrm>
              <a:off x="3072193" y="1339405"/>
              <a:ext cx="211264" cy="8105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7D943D4E-F6AE-417E-90D4-E2F329B36EA2}"/>
                </a:ext>
              </a:extLst>
            </p:cNvPr>
            <p:cNvSpPr/>
            <p:nvPr/>
          </p:nvSpPr>
          <p:spPr bwMode="gray">
            <a:xfrm>
              <a:off x="3362515" y="1339405"/>
              <a:ext cx="116300" cy="8105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314DD757-EAB5-42A5-B46A-E3DCEFBEF7AF}"/>
                </a:ext>
              </a:extLst>
            </p:cNvPr>
            <p:cNvSpPr/>
            <p:nvPr/>
          </p:nvSpPr>
          <p:spPr bwMode="gray">
            <a:xfrm>
              <a:off x="3603783" y="1339405"/>
              <a:ext cx="278320" cy="8105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9588021E-54A8-4E89-AB72-751DB262371C}"/>
                </a:ext>
              </a:extLst>
            </p:cNvPr>
            <p:cNvSpPr/>
            <p:nvPr/>
          </p:nvSpPr>
          <p:spPr bwMode="gray">
            <a:xfrm>
              <a:off x="3674363" y="1476088"/>
              <a:ext cx="207740" cy="8105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0C38F1D9-7276-4B4A-94FA-7B0481E0918F}"/>
                </a:ext>
              </a:extLst>
            </p:cNvPr>
            <p:cNvSpPr/>
            <p:nvPr/>
          </p:nvSpPr>
          <p:spPr bwMode="gray">
            <a:xfrm>
              <a:off x="3591115" y="1749456"/>
              <a:ext cx="246316" cy="80962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0B699DF3-A6D4-4EC9-8A61-EE0C6E3214BF}"/>
                </a:ext>
              </a:extLst>
            </p:cNvPr>
            <p:cNvSpPr/>
            <p:nvPr/>
          </p:nvSpPr>
          <p:spPr bwMode="gray">
            <a:xfrm>
              <a:off x="3592067" y="1612772"/>
              <a:ext cx="384619" cy="80962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4FE9938B-B879-449D-BF40-D78D499F7EFE}"/>
                </a:ext>
              </a:extLst>
            </p:cNvPr>
            <p:cNvSpPr/>
            <p:nvPr/>
          </p:nvSpPr>
          <p:spPr bwMode="gray">
            <a:xfrm>
              <a:off x="2531363" y="929449"/>
              <a:ext cx="408241" cy="8105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06CA3205-961B-4959-9069-517BAAF081F4}"/>
                </a:ext>
              </a:extLst>
            </p:cNvPr>
            <p:cNvSpPr/>
            <p:nvPr/>
          </p:nvSpPr>
          <p:spPr bwMode="gray">
            <a:xfrm>
              <a:off x="2458497" y="792765"/>
              <a:ext cx="299370" cy="8105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A2196D48-06D1-40F3-9C0A-F93109A3BC71}"/>
                </a:ext>
              </a:extLst>
            </p:cNvPr>
            <p:cNvSpPr/>
            <p:nvPr/>
          </p:nvSpPr>
          <p:spPr bwMode="gray">
            <a:xfrm>
              <a:off x="1116139" y="929449"/>
              <a:ext cx="777240" cy="8105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381F9DF6-C44E-4043-8A3B-F1074534488E}"/>
                </a:ext>
              </a:extLst>
            </p:cNvPr>
            <p:cNvSpPr/>
            <p:nvPr/>
          </p:nvSpPr>
          <p:spPr bwMode="gray">
            <a:xfrm>
              <a:off x="1116139" y="792765"/>
              <a:ext cx="629793" cy="8105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25B0E70E-DCFC-4D83-814C-F2C4A4297A51}"/>
                </a:ext>
              </a:extLst>
            </p:cNvPr>
            <p:cNvSpPr/>
            <p:nvPr/>
          </p:nvSpPr>
          <p:spPr bwMode="gray">
            <a:xfrm>
              <a:off x="1340548" y="656176"/>
              <a:ext cx="302609" cy="80962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68798D03-0CD9-4674-A2C5-5C8B462C32E4}"/>
                </a:ext>
              </a:extLst>
            </p:cNvPr>
            <p:cNvSpPr/>
            <p:nvPr/>
          </p:nvSpPr>
          <p:spPr bwMode="gray">
            <a:xfrm>
              <a:off x="3338988" y="2159412"/>
              <a:ext cx="505777" cy="8105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79740E8D-6435-48CA-9A51-F4C029AB5AF6}"/>
                </a:ext>
              </a:extLst>
            </p:cNvPr>
            <p:cNvSpPr/>
            <p:nvPr/>
          </p:nvSpPr>
          <p:spPr bwMode="gray">
            <a:xfrm>
              <a:off x="3338988" y="2022728"/>
              <a:ext cx="297942" cy="8105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FA9E8937-D1DF-46E3-8E53-6DCAF49EC846}"/>
                </a:ext>
              </a:extLst>
            </p:cNvPr>
            <p:cNvSpPr/>
            <p:nvPr/>
          </p:nvSpPr>
          <p:spPr bwMode="gray">
            <a:xfrm>
              <a:off x="3393566" y="1886140"/>
              <a:ext cx="243363" cy="80962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DAE54218-34D7-4D06-9741-DA8AE637B322}"/>
                </a:ext>
              </a:extLst>
            </p:cNvPr>
            <p:cNvSpPr/>
            <p:nvPr/>
          </p:nvSpPr>
          <p:spPr bwMode="gray">
            <a:xfrm>
              <a:off x="4229671" y="1886140"/>
              <a:ext cx="243363" cy="80962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BF411E93-5B59-41AA-B239-F2E5AFAF39F4}"/>
                </a:ext>
              </a:extLst>
            </p:cNvPr>
            <p:cNvSpPr/>
            <p:nvPr/>
          </p:nvSpPr>
          <p:spPr bwMode="gray">
            <a:xfrm>
              <a:off x="4200334" y="1749456"/>
              <a:ext cx="386334" cy="80962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F7C7B368-6A3B-4488-9E1B-486FBFC256A4}"/>
                </a:ext>
              </a:extLst>
            </p:cNvPr>
            <p:cNvSpPr/>
            <p:nvPr/>
          </p:nvSpPr>
          <p:spPr bwMode="gray">
            <a:xfrm>
              <a:off x="5002434" y="1749456"/>
              <a:ext cx="288702" cy="80962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7A0ABB6B-4836-45AA-BDAE-45C3C9D82284}"/>
                </a:ext>
              </a:extLst>
            </p:cNvPr>
            <p:cNvSpPr/>
            <p:nvPr/>
          </p:nvSpPr>
          <p:spPr bwMode="gray">
            <a:xfrm>
              <a:off x="4200334" y="1612772"/>
              <a:ext cx="610743" cy="80962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7AD7E258-F3D9-4814-AB4A-5F122EC6308B}"/>
                </a:ext>
              </a:extLst>
            </p:cNvPr>
            <p:cNvSpPr/>
            <p:nvPr/>
          </p:nvSpPr>
          <p:spPr bwMode="gray">
            <a:xfrm>
              <a:off x="4200334" y="1476088"/>
              <a:ext cx="914400" cy="8105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086F8C48-4224-4649-B75D-BACCCCD21704}"/>
                </a:ext>
              </a:extLst>
            </p:cNvPr>
            <p:cNvSpPr/>
            <p:nvPr/>
          </p:nvSpPr>
          <p:spPr bwMode="gray">
            <a:xfrm>
              <a:off x="4200334" y="1557146"/>
              <a:ext cx="914400" cy="5810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3B7B2ABA-E327-4F6F-AE16-59255BEB9285}"/>
                </a:ext>
              </a:extLst>
            </p:cNvPr>
            <p:cNvSpPr/>
            <p:nvPr/>
          </p:nvSpPr>
          <p:spPr bwMode="gray">
            <a:xfrm>
              <a:off x="4200334" y="1339405"/>
              <a:ext cx="914400" cy="8105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2E34F3C2-1D88-490E-864F-EC8C514A82AD}"/>
                </a:ext>
              </a:extLst>
            </p:cNvPr>
            <p:cNvSpPr/>
            <p:nvPr/>
          </p:nvSpPr>
          <p:spPr bwMode="gray">
            <a:xfrm>
              <a:off x="4239862" y="1202816"/>
              <a:ext cx="965930" cy="80962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96E05B9D-9D42-480C-97FF-17F7828DD559}"/>
                </a:ext>
              </a:extLst>
            </p:cNvPr>
            <p:cNvSpPr/>
            <p:nvPr/>
          </p:nvSpPr>
          <p:spPr bwMode="gray">
            <a:xfrm>
              <a:off x="3995451" y="792765"/>
              <a:ext cx="1267682" cy="8105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AFE10606-E970-492F-81DA-5511049D2A4A}"/>
                </a:ext>
              </a:extLst>
            </p:cNvPr>
            <p:cNvSpPr/>
            <p:nvPr/>
          </p:nvSpPr>
          <p:spPr bwMode="gray">
            <a:xfrm>
              <a:off x="5900260" y="792765"/>
              <a:ext cx="301561" cy="8105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FBF576E0-13B0-41CA-B263-A8AF824ADF7F}"/>
                </a:ext>
              </a:extLst>
            </p:cNvPr>
            <p:cNvSpPr/>
            <p:nvPr/>
          </p:nvSpPr>
          <p:spPr bwMode="gray">
            <a:xfrm>
              <a:off x="6062090" y="656176"/>
              <a:ext cx="213836" cy="80962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E84037C6-6A38-4F78-ADA5-A733A11B1B6D}"/>
                </a:ext>
              </a:extLst>
            </p:cNvPr>
            <p:cNvSpPr/>
            <p:nvPr/>
          </p:nvSpPr>
          <p:spPr bwMode="gray">
            <a:xfrm>
              <a:off x="5993605" y="929449"/>
              <a:ext cx="110108" cy="8105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CCC34BBE-55F3-4C51-9D82-5650DD30B960}"/>
                </a:ext>
              </a:extLst>
            </p:cNvPr>
            <p:cNvSpPr/>
            <p:nvPr/>
          </p:nvSpPr>
          <p:spPr bwMode="gray">
            <a:xfrm>
              <a:off x="3995451" y="656176"/>
              <a:ext cx="1317402" cy="80962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36B63A7D-3AFA-4928-8D21-016DBBD2296C}"/>
                </a:ext>
              </a:extLst>
            </p:cNvPr>
            <p:cNvSpPr/>
            <p:nvPr/>
          </p:nvSpPr>
          <p:spPr bwMode="gray">
            <a:xfrm>
              <a:off x="4222336" y="519493"/>
              <a:ext cx="1213580" cy="80962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76E35198-5605-4A00-AB86-3A7A4262F01C}"/>
                </a:ext>
              </a:extLst>
            </p:cNvPr>
            <p:cNvSpPr/>
            <p:nvPr/>
          </p:nvSpPr>
          <p:spPr bwMode="gray">
            <a:xfrm>
              <a:off x="4302632" y="382809"/>
              <a:ext cx="977074" cy="80962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A4B32D78-7904-4FC1-B208-7FDA2A8005E1}"/>
                </a:ext>
              </a:extLst>
            </p:cNvPr>
            <p:cNvSpPr/>
            <p:nvPr/>
          </p:nvSpPr>
          <p:spPr bwMode="gray">
            <a:xfrm>
              <a:off x="4801171" y="246125"/>
              <a:ext cx="369950" cy="8105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1589C1C9-9927-41B5-AD68-AA503954C8B6}"/>
                </a:ext>
              </a:extLst>
            </p:cNvPr>
            <p:cNvSpPr/>
            <p:nvPr/>
          </p:nvSpPr>
          <p:spPr bwMode="gray">
            <a:xfrm>
              <a:off x="4239862" y="929449"/>
              <a:ext cx="965930" cy="8105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DE7BE91C-7BC3-4B9A-8A7B-909E52F9623A}"/>
                </a:ext>
              </a:extLst>
            </p:cNvPr>
            <p:cNvSpPr/>
            <p:nvPr/>
          </p:nvSpPr>
          <p:spPr bwMode="gray">
            <a:xfrm>
              <a:off x="4239862" y="1066132"/>
              <a:ext cx="965930" cy="80962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7544818D-55D7-47D4-9A8B-BB8887D6F696}"/>
                </a:ext>
              </a:extLst>
            </p:cNvPr>
            <p:cNvSpPr/>
            <p:nvPr/>
          </p:nvSpPr>
          <p:spPr bwMode="gray">
            <a:xfrm>
              <a:off x="4334065" y="2022728"/>
              <a:ext cx="104393" cy="8105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FEAC4502-18CA-4101-94F1-68A3F0CE90C2}"/>
                </a:ext>
              </a:extLst>
            </p:cNvPr>
            <p:cNvSpPr/>
            <p:nvPr/>
          </p:nvSpPr>
          <p:spPr bwMode="gray">
            <a:xfrm>
              <a:off x="3705224" y="2022728"/>
              <a:ext cx="92963" cy="8105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D229F470-9CC7-480D-8373-74204011B2EA}"/>
                </a:ext>
              </a:extLst>
            </p:cNvPr>
            <p:cNvSpPr/>
            <p:nvPr/>
          </p:nvSpPr>
          <p:spPr bwMode="gray">
            <a:xfrm>
              <a:off x="1694401" y="2569368"/>
              <a:ext cx="1969579" cy="8105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5505C212-757B-4234-81BE-925063A5A6C9}"/>
                </a:ext>
              </a:extLst>
            </p:cNvPr>
            <p:cNvSpPr/>
            <p:nvPr/>
          </p:nvSpPr>
          <p:spPr bwMode="gray">
            <a:xfrm>
              <a:off x="3817524" y="2569368"/>
              <a:ext cx="199739" cy="8105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94D7F5F3-FAC8-4CE9-8836-342E19258A71}"/>
                </a:ext>
              </a:extLst>
            </p:cNvPr>
            <p:cNvSpPr/>
            <p:nvPr/>
          </p:nvSpPr>
          <p:spPr bwMode="gray">
            <a:xfrm>
              <a:off x="1694401" y="2432779"/>
              <a:ext cx="2273522" cy="80962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B7466B9F-C830-42DE-8A63-0A37F20B05D5}"/>
                </a:ext>
              </a:extLst>
            </p:cNvPr>
            <p:cNvSpPr/>
            <p:nvPr/>
          </p:nvSpPr>
          <p:spPr bwMode="gray">
            <a:xfrm>
              <a:off x="3241642" y="2296096"/>
              <a:ext cx="726281" cy="80962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EA8AB319-F967-4F56-88BD-17312C304A05}"/>
                </a:ext>
              </a:extLst>
            </p:cNvPr>
            <p:cNvSpPr/>
            <p:nvPr/>
          </p:nvSpPr>
          <p:spPr bwMode="gray">
            <a:xfrm>
              <a:off x="1694401" y="2296096"/>
              <a:ext cx="1470279" cy="80962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1382F5B3-EBB1-4D0D-81EB-2552F4C51344}"/>
                </a:ext>
              </a:extLst>
            </p:cNvPr>
            <p:cNvSpPr/>
            <p:nvPr/>
          </p:nvSpPr>
          <p:spPr bwMode="gray">
            <a:xfrm>
              <a:off x="1835562" y="3389375"/>
              <a:ext cx="55054" cy="80962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E6D91FDA-C0F4-4D2A-9161-51FFE1001521}"/>
                </a:ext>
              </a:extLst>
            </p:cNvPr>
            <p:cNvSpPr/>
            <p:nvPr/>
          </p:nvSpPr>
          <p:spPr bwMode="gray">
            <a:xfrm>
              <a:off x="2921317" y="3389375"/>
              <a:ext cx="80390" cy="80962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8A39F869-EC8C-4EF2-869C-E672EBE42842}"/>
                </a:ext>
              </a:extLst>
            </p:cNvPr>
            <p:cNvSpPr/>
            <p:nvPr/>
          </p:nvSpPr>
          <p:spPr bwMode="gray">
            <a:xfrm>
              <a:off x="1900237" y="3526059"/>
              <a:ext cx="48005" cy="80962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D41414C9-2854-4116-B1A1-C65D28D3BE00}"/>
                </a:ext>
              </a:extLst>
            </p:cNvPr>
            <p:cNvSpPr/>
            <p:nvPr/>
          </p:nvSpPr>
          <p:spPr bwMode="gray">
            <a:xfrm>
              <a:off x="8275414" y="4072699"/>
              <a:ext cx="160591" cy="80962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35345DFB-7458-4833-BCFF-108FBD5A730B}"/>
                </a:ext>
              </a:extLst>
            </p:cNvPr>
            <p:cNvSpPr/>
            <p:nvPr/>
          </p:nvSpPr>
          <p:spPr bwMode="gray">
            <a:xfrm>
              <a:off x="8209597" y="3936015"/>
              <a:ext cx="226409" cy="8105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F1A3B9BC-6843-42A9-BFED-A196B06334A6}"/>
                </a:ext>
              </a:extLst>
            </p:cNvPr>
            <p:cNvSpPr/>
            <p:nvPr/>
          </p:nvSpPr>
          <p:spPr bwMode="gray">
            <a:xfrm>
              <a:off x="7141558" y="3936015"/>
              <a:ext cx="270986" cy="8105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0B68A416-53E7-4B12-92AA-577EB23955B9}"/>
                </a:ext>
              </a:extLst>
            </p:cNvPr>
            <p:cNvSpPr/>
            <p:nvPr/>
          </p:nvSpPr>
          <p:spPr bwMode="gray">
            <a:xfrm>
              <a:off x="8164638" y="3799331"/>
              <a:ext cx="425291" cy="8105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AA4FA2BB-802C-470C-A2D8-1FA7A4C6EC4A}"/>
                </a:ext>
              </a:extLst>
            </p:cNvPr>
            <p:cNvSpPr/>
            <p:nvPr/>
          </p:nvSpPr>
          <p:spPr bwMode="gray">
            <a:xfrm>
              <a:off x="7074883" y="3799331"/>
              <a:ext cx="595788" cy="8105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7A8BEBF7-BAEF-46B7-9AA8-A2AA58DAE9EC}"/>
                </a:ext>
              </a:extLst>
            </p:cNvPr>
            <p:cNvSpPr/>
            <p:nvPr/>
          </p:nvSpPr>
          <p:spPr bwMode="gray">
            <a:xfrm>
              <a:off x="6986301" y="3662743"/>
              <a:ext cx="728948" cy="80962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76EE264C-FA53-4CF4-BBF3-C2E831127418}"/>
                </a:ext>
              </a:extLst>
            </p:cNvPr>
            <p:cNvSpPr/>
            <p:nvPr/>
          </p:nvSpPr>
          <p:spPr bwMode="gray">
            <a:xfrm>
              <a:off x="6894194" y="3526059"/>
              <a:ext cx="518350" cy="80962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128CBDCD-5932-4FAB-813E-96FE6F2C5AB4}"/>
                </a:ext>
              </a:extLst>
            </p:cNvPr>
            <p:cNvSpPr/>
            <p:nvPr/>
          </p:nvSpPr>
          <p:spPr bwMode="gray">
            <a:xfrm>
              <a:off x="6849045" y="3252691"/>
              <a:ext cx="2935414" cy="8105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11B9643A-9B9C-4BC4-9C1B-555CFBE46FC1}"/>
                </a:ext>
              </a:extLst>
            </p:cNvPr>
            <p:cNvSpPr/>
            <p:nvPr/>
          </p:nvSpPr>
          <p:spPr bwMode="gray">
            <a:xfrm>
              <a:off x="6544627" y="3116103"/>
              <a:ext cx="3162871" cy="80962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5CFB988A-B866-49F8-AE12-E49909B07925}"/>
                </a:ext>
              </a:extLst>
            </p:cNvPr>
            <p:cNvSpPr/>
            <p:nvPr/>
          </p:nvSpPr>
          <p:spPr bwMode="gray">
            <a:xfrm>
              <a:off x="10034587" y="3116103"/>
              <a:ext cx="235934" cy="80962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7A1681E7-0635-4298-9CE9-02896244F644}"/>
                </a:ext>
              </a:extLst>
            </p:cNvPr>
            <p:cNvSpPr/>
            <p:nvPr/>
          </p:nvSpPr>
          <p:spPr bwMode="gray">
            <a:xfrm>
              <a:off x="8896349" y="3799331"/>
              <a:ext cx="432720" cy="8105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ACC85C67-56C0-416E-84D5-F2507A0ACB76}"/>
                </a:ext>
              </a:extLst>
            </p:cNvPr>
            <p:cNvSpPr/>
            <p:nvPr/>
          </p:nvSpPr>
          <p:spPr bwMode="gray">
            <a:xfrm>
              <a:off x="9397840" y="3799331"/>
              <a:ext cx="82200" cy="8105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783D51BB-0B6F-4C7D-941C-BDF3DB051E8D}"/>
                </a:ext>
              </a:extLst>
            </p:cNvPr>
            <p:cNvSpPr/>
            <p:nvPr/>
          </p:nvSpPr>
          <p:spPr bwMode="gray">
            <a:xfrm>
              <a:off x="9042082" y="3936015"/>
              <a:ext cx="385762" cy="8105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70F24631-19AC-41AF-8355-704556E1BE37}"/>
                </a:ext>
              </a:extLst>
            </p:cNvPr>
            <p:cNvSpPr/>
            <p:nvPr/>
          </p:nvSpPr>
          <p:spPr bwMode="gray">
            <a:xfrm>
              <a:off x="9239725" y="4072699"/>
              <a:ext cx="188118" cy="80962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CFA7B4D7-0F8C-4B00-B4D8-65C30308633D}"/>
                </a:ext>
              </a:extLst>
            </p:cNvPr>
            <p:cNvSpPr/>
            <p:nvPr/>
          </p:nvSpPr>
          <p:spPr bwMode="gray">
            <a:xfrm>
              <a:off x="9066085" y="4072699"/>
              <a:ext cx="57816" cy="80962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53C3D00D-5DC7-4130-9C7C-D36193398049}"/>
                </a:ext>
              </a:extLst>
            </p:cNvPr>
            <p:cNvSpPr/>
            <p:nvPr/>
          </p:nvSpPr>
          <p:spPr bwMode="gray">
            <a:xfrm>
              <a:off x="9116186" y="4209382"/>
              <a:ext cx="57816" cy="80962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F6DB5831-2FCF-4CDF-B9FE-C9D34FEEA192}"/>
                </a:ext>
              </a:extLst>
            </p:cNvPr>
            <p:cNvSpPr/>
            <p:nvPr/>
          </p:nvSpPr>
          <p:spPr bwMode="gray">
            <a:xfrm>
              <a:off x="9206102" y="4346066"/>
              <a:ext cx="57816" cy="80962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7AB6B326-C554-4940-A915-938C30B828B7}"/>
                </a:ext>
              </a:extLst>
            </p:cNvPr>
            <p:cNvSpPr/>
            <p:nvPr/>
          </p:nvSpPr>
          <p:spPr bwMode="gray">
            <a:xfrm>
              <a:off x="9560813" y="4346066"/>
              <a:ext cx="192214" cy="80962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9A670364-C170-4913-AA0A-4BA71D806B96}"/>
                </a:ext>
              </a:extLst>
            </p:cNvPr>
            <p:cNvSpPr/>
            <p:nvPr/>
          </p:nvSpPr>
          <p:spPr bwMode="gray">
            <a:xfrm>
              <a:off x="9442798" y="4482655"/>
              <a:ext cx="310229" cy="8105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1C3B1CCF-D303-4B98-B1EF-943F67E4A7B7}"/>
                </a:ext>
              </a:extLst>
            </p:cNvPr>
            <p:cNvSpPr/>
            <p:nvPr/>
          </p:nvSpPr>
          <p:spPr bwMode="gray">
            <a:xfrm>
              <a:off x="9579863" y="4619338"/>
              <a:ext cx="108775" cy="80962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660F275C-C465-4FD1-B36A-DA11FE593FB6}"/>
                </a:ext>
              </a:extLst>
            </p:cNvPr>
            <p:cNvSpPr/>
            <p:nvPr/>
          </p:nvSpPr>
          <p:spPr bwMode="gray">
            <a:xfrm>
              <a:off x="9775602" y="4619338"/>
              <a:ext cx="156686" cy="80962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AC5146E3-B693-4913-BC39-7CD4EAF2C8ED}"/>
                </a:ext>
              </a:extLst>
            </p:cNvPr>
            <p:cNvSpPr/>
            <p:nvPr/>
          </p:nvSpPr>
          <p:spPr bwMode="gray">
            <a:xfrm>
              <a:off x="10311097" y="4619338"/>
              <a:ext cx="408813" cy="80962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19CD3814-40A3-460E-8841-84DDFF766111}"/>
                </a:ext>
              </a:extLst>
            </p:cNvPr>
            <p:cNvSpPr/>
            <p:nvPr/>
          </p:nvSpPr>
          <p:spPr bwMode="gray">
            <a:xfrm>
              <a:off x="10444066" y="4756022"/>
              <a:ext cx="180022" cy="80962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A06011AF-D652-4C1F-89DC-DD2FFB66F5C9}"/>
                </a:ext>
              </a:extLst>
            </p:cNvPr>
            <p:cNvSpPr/>
            <p:nvPr/>
          </p:nvSpPr>
          <p:spPr bwMode="gray">
            <a:xfrm>
              <a:off x="10732388" y="4756022"/>
              <a:ext cx="90011" cy="80962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98815418-067F-48BA-8E05-A017B88865A3}"/>
                </a:ext>
              </a:extLst>
            </p:cNvPr>
            <p:cNvSpPr/>
            <p:nvPr/>
          </p:nvSpPr>
          <p:spPr bwMode="gray">
            <a:xfrm>
              <a:off x="10918030" y="4619338"/>
              <a:ext cx="51911" cy="80962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883A6A87-C8AE-462F-BAE6-5ABDBAE01468}"/>
                </a:ext>
              </a:extLst>
            </p:cNvPr>
            <p:cNvSpPr/>
            <p:nvPr/>
          </p:nvSpPr>
          <p:spPr bwMode="gray">
            <a:xfrm>
              <a:off x="10197274" y="4482655"/>
              <a:ext cx="119157" cy="8105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DD795BFF-B38B-416E-9C2E-F112CFAB681B}"/>
                </a:ext>
              </a:extLst>
            </p:cNvPr>
            <p:cNvSpPr/>
            <p:nvPr/>
          </p:nvSpPr>
          <p:spPr bwMode="gray">
            <a:xfrm>
              <a:off x="10197274" y="4480178"/>
              <a:ext cx="119157" cy="2476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6C3CA4F1-71B4-4070-B6C4-2DED5CF7D286}"/>
                </a:ext>
              </a:extLst>
            </p:cNvPr>
            <p:cNvSpPr/>
            <p:nvPr/>
          </p:nvSpPr>
          <p:spPr bwMode="gray">
            <a:xfrm>
              <a:off x="9798748" y="4482655"/>
              <a:ext cx="69627" cy="8105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5DA7E789-1DE7-4C14-BE16-2F7F63FF0FB1}"/>
                </a:ext>
              </a:extLst>
            </p:cNvPr>
            <p:cNvSpPr/>
            <p:nvPr/>
          </p:nvSpPr>
          <p:spPr bwMode="gray">
            <a:xfrm>
              <a:off x="9191243" y="4619338"/>
              <a:ext cx="162401" cy="80962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6767DF3-F27E-4716-9FE8-8CCC8C947C6A}"/>
                </a:ext>
              </a:extLst>
            </p:cNvPr>
            <p:cNvSpPr/>
            <p:nvPr/>
          </p:nvSpPr>
          <p:spPr bwMode="gray">
            <a:xfrm>
              <a:off x="9124854" y="4482655"/>
              <a:ext cx="147542" cy="8105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13A7A064-CC38-40BF-B74B-E5B7686A4963}"/>
                </a:ext>
              </a:extLst>
            </p:cNvPr>
            <p:cNvSpPr/>
            <p:nvPr/>
          </p:nvSpPr>
          <p:spPr bwMode="gray">
            <a:xfrm>
              <a:off x="9691591" y="4209382"/>
              <a:ext cx="51911" cy="80962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8CA6995F-19CF-4F72-8087-CFE22AA5E093}"/>
                </a:ext>
              </a:extLst>
            </p:cNvPr>
            <p:cNvSpPr/>
            <p:nvPr/>
          </p:nvSpPr>
          <p:spPr bwMode="gray">
            <a:xfrm>
              <a:off x="9919429" y="4209382"/>
              <a:ext cx="123539" cy="80962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E1914DC5-9C83-4BAC-9B5D-05C0DA8B8D98}"/>
                </a:ext>
              </a:extLst>
            </p:cNvPr>
            <p:cNvSpPr/>
            <p:nvPr/>
          </p:nvSpPr>
          <p:spPr bwMode="gray">
            <a:xfrm>
              <a:off x="9887235" y="4072699"/>
              <a:ext cx="120395" cy="80962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22FB001-77C1-4D33-B847-65DA20E1C2F6}"/>
                </a:ext>
              </a:extLst>
            </p:cNvPr>
            <p:cNvSpPr/>
            <p:nvPr/>
          </p:nvSpPr>
          <p:spPr bwMode="gray">
            <a:xfrm>
              <a:off x="9807701" y="3936015"/>
              <a:ext cx="85820" cy="8105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C1B2FD49-6768-4487-A418-C8BB5CCF4B02}"/>
                </a:ext>
              </a:extLst>
            </p:cNvPr>
            <p:cNvSpPr/>
            <p:nvPr/>
          </p:nvSpPr>
          <p:spPr bwMode="gray">
            <a:xfrm>
              <a:off x="9807701" y="3799331"/>
              <a:ext cx="85820" cy="8105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5AF12EDC-D322-4C42-A099-807BD87F2485}"/>
                </a:ext>
              </a:extLst>
            </p:cNvPr>
            <p:cNvSpPr/>
            <p:nvPr/>
          </p:nvSpPr>
          <p:spPr bwMode="gray">
            <a:xfrm>
              <a:off x="9764743" y="3526059"/>
              <a:ext cx="85820" cy="80962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51CDD686-91D1-4309-B699-AB26405BA46E}"/>
                </a:ext>
              </a:extLst>
            </p:cNvPr>
            <p:cNvSpPr/>
            <p:nvPr/>
          </p:nvSpPr>
          <p:spPr bwMode="gray">
            <a:xfrm>
              <a:off x="7478458" y="3526059"/>
              <a:ext cx="2262568" cy="80962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B9F31DC1-FF1D-42D0-AD47-5A23B168CF8B}"/>
                </a:ext>
              </a:extLst>
            </p:cNvPr>
            <p:cNvSpPr/>
            <p:nvPr/>
          </p:nvSpPr>
          <p:spPr bwMode="gray">
            <a:xfrm>
              <a:off x="7388065" y="3389375"/>
              <a:ext cx="2396394" cy="80962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A07DB2F6-9B23-412B-833F-3A1BECD3FF11}"/>
                </a:ext>
              </a:extLst>
            </p:cNvPr>
            <p:cNvSpPr/>
            <p:nvPr/>
          </p:nvSpPr>
          <p:spPr bwMode="gray">
            <a:xfrm>
              <a:off x="9046177" y="4346066"/>
              <a:ext cx="57816" cy="80962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78DA6449-B188-42CF-B4EC-E5314E2495B7}"/>
                </a:ext>
              </a:extLst>
            </p:cNvPr>
            <p:cNvSpPr/>
            <p:nvPr/>
          </p:nvSpPr>
          <p:spPr bwMode="gray">
            <a:xfrm>
              <a:off x="8809576" y="3662743"/>
              <a:ext cx="761619" cy="80962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8F950ADB-C8EE-4D0F-BCDC-06350A37CA6C}"/>
                </a:ext>
              </a:extLst>
            </p:cNvPr>
            <p:cNvSpPr/>
            <p:nvPr/>
          </p:nvSpPr>
          <p:spPr bwMode="gray">
            <a:xfrm>
              <a:off x="8023954" y="3662743"/>
              <a:ext cx="627792" cy="80962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75349D4A-3E92-4599-B745-62BBEB4D598D}"/>
                </a:ext>
              </a:extLst>
            </p:cNvPr>
            <p:cNvSpPr/>
            <p:nvPr/>
          </p:nvSpPr>
          <p:spPr bwMode="gray">
            <a:xfrm>
              <a:off x="8434863" y="4209382"/>
              <a:ext cx="71437" cy="80962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E69BC693-AD9A-43E4-90C8-0A6C738A758C}"/>
                </a:ext>
              </a:extLst>
            </p:cNvPr>
            <p:cNvSpPr/>
            <p:nvPr/>
          </p:nvSpPr>
          <p:spPr bwMode="gray">
            <a:xfrm>
              <a:off x="6628828" y="519493"/>
              <a:ext cx="115919" cy="80962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07E0E058-662B-4D6C-91D6-4B8CB0804581}"/>
                </a:ext>
              </a:extLst>
            </p:cNvPr>
            <p:cNvSpPr/>
            <p:nvPr/>
          </p:nvSpPr>
          <p:spPr bwMode="gray">
            <a:xfrm>
              <a:off x="6818756" y="519493"/>
              <a:ext cx="83724" cy="80962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713C98C3-62F4-4963-88DC-864DBA573BF3}"/>
                </a:ext>
              </a:extLst>
            </p:cNvPr>
            <p:cNvSpPr/>
            <p:nvPr/>
          </p:nvSpPr>
          <p:spPr bwMode="gray">
            <a:xfrm>
              <a:off x="6944867" y="382809"/>
              <a:ext cx="83724" cy="80962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744BB8F-3BB6-409B-BF08-F26AAEACAB89}"/>
                </a:ext>
              </a:extLst>
            </p:cNvPr>
            <p:cNvSpPr/>
            <p:nvPr/>
          </p:nvSpPr>
          <p:spPr bwMode="gray">
            <a:xfrm>
              <a:off x="7634477" y="382809"/>
              <a:ext cx="224599" cy="80962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8BB459DD-85EA-4013-ACFD-FAF5A3CDC458}"/>
                </a:ext>
              </a:extLst>
            </p:cNvPr>
            <p:cNvSpPr/>
            <p:nvPr/>
          </p:nvSpPr>
          <p:spPr bwMode="gray">
            <a:xfrm>
              <a:off x="7914798" y="382809"/>
              <a:ext cx="122872" cy="80962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AB03418B-78A4-4291-AAF7-F78EE6767835}"/>
                </a:ext>
              </a:extLst>
            </p:cNvPr>
            <p:cNvSpPr/>
            <p:nvPr/>
          </p:nvSpPr>
          <p:spPr bwMode="gray">
            <a:xfrm>
              <a:off x="7914798" y="519493"/>
              <a:ext cx="66103" cy="80962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0C490FBA-F441-42CF-86C4-DDB166B982B7}"/>
                </a:ext>
              </a:extLst>
            </p:cNvPr>
            <p:cNvSpPr/>
            <p:nvPr/>
          </p:nvSpPr>
          <p:spPr bwMode="gray">
            <a:xfrm>
              <a:off x="8041957" y="656176"/>
              <a:ext cx="406812" cy="80962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560B570C-1C65-43F4-956E-F6D45E62ABF9}"/>
                </a:ext>
              </a:extLst>
            </p:cNvPr>
            <p:cNvSpPr/>
            <p:nvPr/>
          </p:nvSpPr>
          <p:spPr bwMode="gray">
            <a:xfrm>
              <a:off x="7859077" y="792765"/>
              <a:ext cx="559784" cy="8105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F2B8804E-4FD4-437E-B8D5-E62599DBCE18}"/>
                </a:ext>
              </a:extLst>
            </p:cNvPr>
            <p:cNvSpPr/>
            <p:nvPr/>
          </p:nvSpPr>
          <p:spPr bwMode="gray">
            <a:xfrm>
              <a:off x="7787068" y="929449"/>
              <a:ext cx="3000375" cy="8105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87E1BC9C-CFDC-42DA-9B09-F0FE2EDA15F3}"/>
                </a:ext>
              </a:extLst>
            </p:cNvPr>
            <p:cNvSpPr/>
            <p:nvPr/>
          </p:nvSpPr>
          <p:spPr bwMode="gray">
            <a:xfrm>
              <a:off x="7720964" y="1066132"/>
              <a:ext cx="3107340" cy="80962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4C6FA3E7-5BA2-494F-B811-4AF3F8C03833}"/>
                </a:ext>
              </a:extLst>
            </p:cNvPr>
            <p:cNvSpPr/>
            <p:nvPr/>
          </p:nvSpPr>
          <p:spPr bwMode="gray">
            <a:xfrm>
              <a:off x="7588090" y="1202816"/>
              <a:ext cx="3322796" cy="80962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A52660EF-8E6F-42CA-992C-7F646ECE4490}"/>
                </a:ext>
              </a:extLst>
            </p:cNvPr>
            <p:cNvSpPr/>
            <p:nvPr/>
          </p:nvSpPr>
          <p:spPr bwMode="gray">
            <a:xfrm>
              <a:off x="7442644" y="1202816"/>
              <a:ext cx="95440" cy="80962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93EB3E51-E5AD-419F-8118-97E72EA27815}"/>
                </a:ext>
              </a:extLst>
            </p:cNvPr>
            <p:cNvSpPr/>
            <p:nvPr/>
          </p:nvSpPr>
          <p:spPr bwMode="gray">
            <a:xfrm>
              <a:off x="7019353" y="1202816"/>
              <a:ext cx="95440" cy="80962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8110DB-9BE9-4BAC-B528-A8AAFDDC3E3F}"/>
                </a:ext>
              </a:extLst>
            </p:cNvPr>
            <p:cNvSpPr/>
            <p:nvPr/>
          </p:nvSpPr>
          <p:spPr bwMode="gray">
            <a:xfrm>
              <a:off x="7067073" y="1339405"/>
              <a:ext cx="131730" cy="8105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6507B538-A64D-45C2-B882-22CAAAAD0A27}"/>
                </a:ext>
              </a:extLst>
            </p:cNvPr>
            <p:cNvSpPr/>
            <p:nvPr/>
          </p:nvSpPr>
          <p:spPr bwMode="gray">
            <a:xfrm>
              <a:off x="7019353" y="1066132"/>
              <a:ext cx="95440" cy="80962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0E65C34B-E554-43F2-A3E5-42B9029B6E7A}"/>
                </a:ext>
              </a:extLst>
            </p:cNvPr>
            <p:cNvSpPr/>
            <p:nvPr/>
          </p:nvSpPr>
          <p:spPr bwMode="gray">
            <a:xfrm>
              <a:off x="7106887" y="929449"/>
              <a:ext cx="95440" cy="8105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52361E18-CFE8-4A0E-9F82-50E8400113A2}"/>
                </a:ext>
              </a:extLst>
            </p:cNvPr>
            <p:cNvSpPr/>
            <p:nvPr/>
          </p:nvSpPr>
          <p:spPr bwMode="gray">
            <a:xfrm>
              <a:off x="7230045" y="792765"/>
              <a:ext cx="95345" cy="8105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1A8F278D-F320-42D5-ABF6-DE675531FE08}"/>
                </a:ext>
              </a:extLst>
            </p:cNvPr>
            <p:cNvSpPr/>
            <p:nvPr/>
          </p:nvSpPr>
          <p:spPr bwMode="gray">
            <a:xfrm>
              <a:off x="10502550" y="1339405"/>
              <a:ext cx="284892" cy="8105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8F06C4EF-15E8-4151-8971-C9804AC4A0DB}"/>
                </a:ext>
              </a:extLst>
            </p:cNvPr>
            <p:cNvSpPr/>
            <p:nvPr/>
          </p:nvSpPr>
          <p:spPr bwMode="gray">
            <a:xfrm>
              <a:off x="7652860" y="1339405"/>
              <a:ext cx="2796063" cy="8105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B5D3DFFA-8843-435C-97F7-CCFF5E09FC1D}"/>
                </a:ext>
              </a:extLst>
            </p:cNvPr>
            <p:cNvSpPr/>
            <p:nvPr/>
          </p:nvSpPr>
          <p:spPr bwMode="gray">
            <a:xfrm>
              <a:off x="7729441" y="1476088"/>
              <a:ext cx="2570892" cy="8105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7ABB3A48-7977-423F-9BBB-353948D492BA}"/>
                </a:ext>
              </a:extLst>
            </p:cNvPr>
            <p:cNvSpPr/>
            <p:nvPr/>
          </p:nvSpPr>
          <p:spPr bwMode="gray">
            <a:xfrm>
              <a:off x="10492072" y="1476088"/>
              <a:ext cx="161829" cy="8105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D4514A99-5175-4050-8F32-EE3ECA7DA840}"/>
                </a:ext>
              </a:extLst>
            </p:cNvPr>
            <p:cNvSpPr/>
            <p:nvPr/>
          </p:nvSpPr>
          <p:spPr bwMode="gray">
            <a:xfrm>
              <a:off x="10438637" y="1749456"/>
              <a:ext cx="246792" cy="80962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5D6D2F6A-4E05-40F5-969A-9DFFE488F7AC}"/>
                </a:ext>
              </a:extLst>
            </p:cNvPr>
            <p:cNvSpPr/>
            <p:nvPr/>
          </p:nvSpPr>
          <p:spPr bwMode="gray">
            <a:xfrm>
              <a:off x="6800659" y="1749456"/>
              <a:ext cx="3157251" cy="80962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E256821E-049C-438C-AA73-26D04908C82E}"/>
                </a:ext>
              </a:extLst>
            </p:cNvPr>
            <p:cNvSpPr/>
            <p:nvPr/>
          </p:nvSpPr>
          <p:spPr bwMode="gray">
            <a:xfrm>
              <a:off x="10438637" y="1886140"/>
              <a:ext cx="246792" cy="80962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8844EA23-4592-4AEA-AFF0-0E5EF2295423}"/>
                </a:ext>
              </a:extLst>
            </p:cNvPr>
            <p:cNvSpPr/>
            <p:nvPr/>
          </p:nvSpPr>
          <p:spPr bwMode="gray">
            <a:xfrm>
              <a:off x="10537507" y="2022728"/>
              <a:ext cx="147923" cy="8105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C6518727-34AC-4E27-AB34-3E41B144969F}"/>
                </a:ext>
              </a:extLst>
            </p:cNvPr>
            <p:cNvSpPr/>
            <p:nvPr/>
          </p:nvSpPr>
          <p:spPr bwMode="gray">
            <a:xfrm>
              <a:off x="10492072" y="1612772"/>
              <a:ext cx="90868" cy="80962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70C04330-5089-4BAE-9C9C-90C8F3C279E5}"/>
                </a:ext>
              </a:extLst>
            </p:cNvPr>
            <p:cNvSpPr/>
            <p:nvPr/>
          </p:nvSpPr>
          <p:spPr bwMode="gray">
            <a:xfrm>
              <a:off x="7007351" y="1612772"/>
              <a:ext cx="3291459" cy="80962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3EDD6B24-C22B-4F2B-9813-1F2C0882E8EE}"/>
                </a:ext>
              </a:extLst>
            </p:cNvPr>
            <p:cNvSpPr/>
            <p:nvPr/>
          </p:nvSpPr>
          <p:spPr bwMode="gray">
            <a:xfrm>
              <a:off x="6861428" y="1612772"/>
              <a:ext cx="74009" cy="80962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ED013927-7F9A-443E-BC95-8A255D472577}"/>
                </a:ext>
              </a:extLst>
            </p:cNvPr>
            <p:cNvSpPr/>
            <p:nvPr/>
          </p:nvSpPr>
          <p:spPr bwMode="gray">
            <a:xfrm>
              <a:off x="6089903" y="1612772"/>
              <a:ext cx="713422" cy="80962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1F182AF1-7277-491C-8E57-2D6F4CC161D7}"/>
                </a:ext>
              </a:extLst>
            </p:cNvPr>
            <p:cNvSpPr/>
            <p:nvPr/>
          </p:nvSpPr>
          <p:spPr bwMode="gray">
            <a:xfrm>
              <a:off x="6015799" y="1749456"/>
              <a:ext cx="260127" cy="80962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BFD1FC22-F9BE-4CBE-9E12-856338D25CC7}"/>
                </a:ext>
              </a:extLst>
            </p:cNvPr>
            <p:cNvSpPr/>
            <p:nvPr/>
          </p:nvSpPr>
          <p:spPr bwMode="gray">
            <a:xfrm>
              <a:off x="5928359" y="1886140"/>
              <a:ext cx="299847" cy="80962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235B476A-874C-41CF-9787-28164CF51A51}"/>
                </a:ext>
              </a:extLst>
            </p:cNvPr>
            <p:cNvSpPr/>
            <p:nvPr/>
          </p:nvSpPr>
          <p:spPr bwMode="gray">
            <a:xfrm>
              <a:off x="5807677" y="2022728"/>
              <a:ext cx="379856" cy="8105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5B50D71E-89AE-4F5C-9C38-66221630829F}"/>
                </a:ext>
              </a:extLst>
            </p:cNvPr>
            <p:cNvSpPr/>
            <p:nvPr/>
          </p:nvSpPr>
          <p:spPr bwMode="gray">
            <a:xfrm>
              <a:off x="5807677" y="2159412"/>
              <a:ext cx="137159" cy="8105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FB0B3E9C-20ED-4578-8DAD-F5377C44DFC1}"/>
                </a:ext>
              </a:extLst>
            </p:cNvPr>
            <p:cNvSpPr/>
            <p:nvPr/>
          </p:nvSpPr>
          <p:spPr bwMode="gray">
            <a:xfrm>
              <a:off x="5474302" y="2159412"/>
              <a:ext cx="137255" cy="8105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8EAE6D2C-9BA1-40A2-A1B6-6620388A2984}"/>
                </a:ext>
              </a:extLst>
            </p:cNvPr>
            <p:cNvSpPr/>
            <p:nvPr/>
          </p:nvSpPr>
          <p:spPr bwMode="gray">
            <a:xfrm>
              <a:off x="5424106" y="2296096"/>
              <a:ext cx="187452" cy="80962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5473FA4E-639F-46D0-8D17-4314DF0A4D27}"/>
                </a:ext>
              </a:extLst>
            </p:cNvPr>
            <p:cNvSpPr/>
            <p:nvPr/>
          </p:nvSpPr>
          <p:spPr bwMode="gray">
            <a:xfrm>
              <a:off x="5916738" y="2296096"/>
              <a:ext cx="80867" cy="80962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3BA561EE-EA9C-4CF4-9946-FF64F1CAED15}"/>
                </a:ext>
              </a:extLst>
            </p:cNvPr>
            <p:cNvSpPr/>
            <p:nvPr/>
          </p:nvSpPr>
          <p:spPr bwMode="gray">
            <a:xfrm>
              <a:off x="6054661" y="2296096"/>
              <a:ext cx="132873" cy="80962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CC8C2E8-2A7B-49D7-B842-594E8AD199DA}"/>
                </a:ext>
              </a:extLst>
            </p:cNvPr>
            <p:cNvSpPr/>
            <p:nvPr/>
          </p:nvSpPr>
          <p:spPr bwMode="gray">
            <a:xfrm>
              <a:off x="5533072" y="2432779"/>
              <a:ext cx="202406" cy="80962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8D00851E-D2AB-4919-938F-D27DD758C190}"/>
                </a:ext>
              </a:extLst>
            </p:cNvPr>
            <p:cNvSpPr/>
            <p:nvPr/>
          </p:nvSpPr>
          <p:spPr bwMode="gray">
            <a:xfrm>
              <a:off x="5360098" y="2432779"/>
              <a:ext cx="128016" cy="80962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B7AAF925-506F-4E2E-8F62-82C35F0DCCD0}"/>
                </a:ext>
              </a:extLst>
            </p:cNvPr>
            <p:cNvSpPr/>
            <p:nvPr/>
          </p:nvSpPr>
          <p:spPr bwMode="gray">
            <a:xfrm>
              <a:off x="5996082" y="2159412"/>
              <a:ext cx="212979" cy="8105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1B100709-A12C-4088-9308-96A106393172}"/>
                </a:ext>
              </a:extLst>
            </p:cNvPr>
            <p:cNvSpPr/>
            <p:nvPr/>
          </p:nvSpPr>
          <p:spPr bwMode="gray">
            <a:xfrm>
              <a:off x="6284785" y="1886140"/>
              <a:ext cx="3635216" cy="80962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36ED058E-038F-49F1-809B-4E4341018C0B}"/>
                </a:ext>
              </a:extLst>
            </p:cNvPr>
            <p:cNvSpPr/>
            <p:nvPr/>
          </p:nvSpPr>
          <p:spPr bwMode="gray">
            <a:xfrm>
              <a:off x="6284785" y="2022728"/>
              <a:ext cx="3635216" cy="8105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D4E13F11-4E47-4D56-BB48-F46A778C0449}"/>
                </a:ext>
              </a:extLst>
            </p:cNvPr>
            <p:cNvSpPr/>
            <p:nvPr/>
          </p:nvSpPr>
          <p:spPr bwMode="gray">
            <a:xfrm>
              <a:off x="6365652" y="2159412"/>
              <a:ext cx="3823144" cy="8105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DD088F96-1512-4E11-89D6-C105239FC9B9}"/>
                </a:ext>
              </a:extLst>
            </p:cNvPr>
            <p:cNvSpPr/>
            <p:nvPr/>
          </p:nvSpPr>
          <p:spPr bwMode="gray">
            <a:xfrm>
              <a:off x="6302596" y="2296095"/>
              <a:ext cx="3850005" cy="80962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E8B1008C-7D3C-429E-B048-0F1C767FADA3}"/>
                </a:ext>
              </a:extLst>
            </p:cNvPr>
            <p:cNvSpPr/>
            <p:nvPr/>
          </p:nvSpPr>
          <p:spPr bwMode="gray">
            <a:xfrm>
              <a:off x="5813107" y="2432779"/>
              <a:ext cx="4339494" cy="80962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9CA10337-AC0C-4A40-BBD7-B80DC5BDBAD5}"/>
                </a:ext>
              </a:extLst>
            </p:cNvPr>
            <p:cNvSpPr/>
            <p:nvPr/>
          </p:nvSpPr>
          <p:spPr bwMode="gray">
            <a:xfrm>
              <a:off x="5706236" y="2569368"/>
              <a:ext cx="4418647" cy="8105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A6011814-BB09-48FA-B4BA-6D17BA8AD03A}"/>
                </a:ext>
              </a:extLst>
            </p:cNvPr>
            <p:cNvSpPr/>
            <p:nvPr/>
          </p:nvSpPr>
          <p:spPr bwMode="gray">
            <a:xfrm>
              <a:off x="7366920" y="2706052"/>
              <a:ext cx="2658618" cy="8105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EC96B432-A552-449B-827B-12321A25DCD0}"/>
                </a:ext>
              </a:extLst>
            </p:cNvPr>
            <p:cNvSpPr/>
            <p:nvPr/>
          </p:nvSpPr>
          <p:spPr bwMode="gray">
            <a:xfrm>
              <a:off x="6886288" y="2706052"/>
              <a:ext cx="343090" cy="8105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C24C8754-A835-486A-B8C3-E151276A2973}"/>
                </a:ext>
              </a:extLst>
            </p:cNvPr>
            <p:cNvSpPr/>
            <p:nvPr/>
          </p:nvSpPr>
          <p:spPr bwMode="gray">
            <a:xfrm>
              <a:off x="5606033" y="2706052"/>
              <a:ext cx="1070609" cy="8105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05EB98B9-0FF5-442B-850D-C6F85165520D}"/>
                </a:ext>
              </a:extLst>
            </p:cNvPr>
            <p:cNvSpPr/>
            <p:nvPr/>
          </p:nvSpPr>
          <p:spPr bwMode="gray">
            <a:xfrm>
              <a:off x="5390387" y="2842735"/>
              <a:ext cx="495490" cy="80962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8C64DCA0-AB0D-42A3-8292-E5E295B89E00}"/>
                </a:ext>
              </a:extLst>
            </p:cNvPr>
            <p:cNvSpPr/>
            <p:nvPr/>
          </p:nvSpPr>
          <p:spPr bwMode="gray">
            <a:xfrm>
              <a:off x="6001320" y="2842735"/>
              <a:ext cx="102488" cy="80962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74A279F3-B713-453D-A18E-41E08DC063E7}"/>
                </a:ext>
              </a:extLst>
            </p:cNvPr>
            <p:cNvSpPr/>
            <p:nvPr/>
          </p:nvSpPr>
          <p:spPr bwMode="gray">
            <a:xfrm>
              <a:off x="6190868" y="2842735"/>
              <a:ext cx="410241" cy="80962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1F6EEF22-5CAC-4BB9-B9A2-7F6044646D03}"/>
                </a:ext>
              </a:extLst>
            </p:cNvPr>
            <p:cNvSpPr/>
            <p:nvPr/>
          </p:nvSpPr>
          <p:spPr bwMode="gray">
            <a:xfrm>
              <a:off x="6975823" y="2842735"/>
              <a:ext cx="253555" cy="80962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A75C2523-012F-418D-B00C-65091E060671}"/>
                </a:ext>
              </a:extLst>
            </p:cNvPr>
            <p:cNvSpPr/>
            <p:nvPr/>
          </p:nvSpPr>
          <p:spPr bwMode="gray">
            <a:xfrm>
              <a:off x="7366920" y="2842735"/>
              <a:ext cx="2262854" cy="80962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D05D2A3-5CC7-422E-AF34-910D72577826}"/>
                </a:ext>
              </a:extLst>
            </p:cNvPr>
            <p:cNvSpPr/>
            <p:nvPr/>
          </p:nvSpPr>
          <p:spPr bwMode="gray">
            <a:xfrm>
              <a:off x="7399114" y="2979419"/>
              <a:ext cx="2308383" cy="80962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F4DEF90-25B9-49ED-9C27-05885A38BFFC}"/>
                </a:ext>
              </a:extLst>
            </p:cNvPr>
            <p:cNvSpPr/>
            <p:nvPr/>
          </p:nvSpPr>
          <p:spPr bwMode="gray">
            <a:xfrm>
              <a:off x="5390387" y="2979419"/>
              <a:ext cx="337946" cy="80962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5D13B83B-D319-4FD5-A28B-3C6CC20F4300}"/>
                </a:ext>
              </a:extLst>
            </p:cNvPr>
            <p:cNvSpPr/>
            <p:nvPr/>
          </p:nvSpPr>
          <p:spPr bwMode="gray">
            <a:xfrm>
              <a:off x="5941408" y="2979419"/>
              <a:ext cx="53244" cy="80962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C51A887F-F53E-4339-8C7F-9D71543466BD}"/>
                </a:ext>
              </a:extLst>
            </p:cNvPr>
            <p:cNvSpPr/>
            <p:nvPr/>
          </p:nvSpPr>
          <p:spPr bwMode="gray">
            <a:xfrm>
              <a:off x="6146291" y="2979419"/>
              <a:ext cx="122872" cy="80962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A08D9038-73F1-407B-A280-1D081434C580}"/>
                </a:ext>
              </a:extLst>
            </p:cNvPr>
            <p:cNvSpPr/>
            <p:nvPr/>
          </p:nvSpPr>
          <p:spPr bwMode="gray">
            <a:xfrm>
              <a:off x="6320599" y="2979419"/>
              <a:ext cx="122872" cy="80962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76D958C8-AB6F-451E-8F85-CCCC645BF867}"/>
                </a:ext>
              </a:extLst>
            </p:cNvPr>
            <p:cNvSpPr/>
            <p:nvPr/>
          </p:nvSpPr>
          <p:spPr bwMode="gray">
            <a:xfrm>
              <a:off x="6546151" y="2979419"/>
              <a:ext cx="750284" cy="80962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FC00F09D-619B-4AC8-81C8-520B41CCE1C6}"/>
                </a:ext>
              </a:extLst>
            </p:cNvPr>
            <p:cNvSpPr/>
            <p:nvPr/>
          </p:nvSpPr>
          <p:spPr bwMode="gray">
            <a:xfrm>
              <a:off x="10210228" y="2296096"/>
              <a:ext cx="98869" cy="80962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714F10F1-8FCA-45EC-8C29-2BF45132FDA1}"/>
                </a:ext>
              </a:extLst>
            </p:cNvPr>
            <p:cNvSpPr/>
            <p:nvPr/>
          </p:nvSpPr>
          <p:spPr bwMode="gray">
            <a:xfrm>
              <a:off x="10210228" y="2284666"/>
              <a:ext cx="98869" cy="11429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020D9A91-1002-493F-9FA6-CD841BC18E5E}"/>
                </a:ext>
              </a:extLst>
            </p:cNvPr>
            <p:cNvSpPr/>
            <p:nvPr/>
          </p:nvSpPr>
          <p:spPr bwMode="gray">
            <a:xfrm>
              <a:off x="10210228" y="2432779"/>
              <a:ext cx="98869" cy="80962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958BB3E1-2691-44E4-94F3-B7702AF73022}"/>
                </a:ext>
              </a:extLst>
            </p:cNvPr>
            <p:cNvSpPr/>
            <p:nvPr/>
          </p:nvSpPr>
          <p:spPr bwMode="gray">
            <a:xfrm>
              <a:off x="10263663" y="2569368"/>
              <a:ext cx="182117" cy="8105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9C27651F-517E-4D32-8452-AD8182EE7E1A}"/>
                </a:ext>
              </a:extLst>
            </p:cNvPr>
            <p:cNvSpPr/>
            <p:nvPr/>
          </p:nvSpPr>
          <p:spPr bwMode="gray">
            <a:xfrm>
              <a:off x="10263663" y="2559938"/>
              <a:ext cx="182117" cy="9429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A1DBFF2A-46A6-43BB-8F81-08FC29726641}"/>
                </a:ext>
              </a:extLst>
            </p:cNvPr>
            <p:cNvSpPr/>
            <p:nvPr/>
          </p:nvSpPr>
          <p:spPr bwMode="gray">
            <a:xfrm>
              <a:off x="10243851" y="2706052"/>
              <a:ext cx="110871" cy="8105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BC61F891-DCF9-4633-BA57-21C065F721C9}"/>
                </a:ext>
              </a:extLst>
            </p:cNvPr>
            <p:cNvSpPr/>
            <p:nvPr/>
          </p:nvSpPr>
          <p:spPr bwMode="gray">
            <a:xfrm>
              <a:off x="10272426" y="2842735"/>
              <a:ext cx="110871" cy="80962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C0F12DCF-E6D1-421B-98F6-C882F5DE483C}"/>
                </a:ext>
              </a:extLst>
            </p:cNvPr>
            <p:cNvSpPr/>
            <p:nvPr/>
          </p:nvSpPr>
          <p:spPr bwMode="gray">
            <a:xfrm>
              <a:off x="10210228" y="2979419"/>
              <a:ext cx="173069" cy="80962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6433505A-018D-463D-B589-CE22FF71769F}"/>
                </a:ext>
              </a:extLst>
            </p:cNvPr>
            <p:cNvSpPr/>
            <p:nvPr/>
          </p:nvSpPr>
          <p:spPr bwMode="gray">
            <a:xfrm>
              <a:off x="9878472" y="2979419"/>
              <a:ext cx="103251" cy="80962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AAC00416-8440-4A69-B577-23A5E36F556F}"/>
                </a:ext>
              </a:extLst>
            </p:cNvPr>
            <p:cNvSpPr/>
            <p:nvPr/>
          </p:nvSpPr>
          <p:spPr bwMode="gray">
            <a:xfrm>
              <a:off x="9707498" y="2842735"/>
              <a:ext cx="225361" cy="80962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9E40A16C-B011-40F9-B35D-C641A8E91AA1}"/>
                </a:ext>
              </a:extLst>
            </p:cNvPr>
            <p:cNvSpPr/>
            <p:nvPr/>
          </p:nvSpPr>
          <p:spPr bwMode="gray">
            <a:xfrm>
              <a:off x="6375367" y="1749456"/>
              <a:ext cx="278891" cy="80962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8B466B41-78F2-44B0-B7EA-2C63E8A8B668}"/>
                </a:ext>
              </a:extLst>
            </p:cNvPr>
            <p:cNvSpPr/>
            <p:nvPr/>
          </p:nvSpPr>
          <p:spPr bwMode="gray">
            <a:xfrm>
              <a:off x="7299673" y="1476088"/>
              <a:ext cx="372998" cy="8105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298C6A0A-A10E-4B82-AB9A-08F7D1F61BD0}"/>
                </a:ext>
              </a:extLst>
            </p:cNvPr>
            <p:cNvSpPr/>
            <p:nvPr/>
          </p:nvSpPr>
          <p:spPr bwMode="gray">
            <a:xfrm>
              <a:off x="6168961" y="1476088"/>
              <a:ext cx="318515" cy="8105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14D54459-858E-4089-9488-76B3D4AB550C}"/>
                </a:ext>
              </a:extLst>
            </p:cNvPr>
            <p:cNvSpPr/>
            <p:nvPr/>
          </p:nvSpPr>
          <p:spPr bwMode="gray">
            <a:xfrm>
              <a:off x="7442644" y="1339405"/>
              <a:ext cx="160496" cy="8105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B7726C2F-9038-459D-9ACA-EC67D7F5AB2E}"/>
                </a:ext>
              </a:extLst>
            </p:cNvPr>
            <p:cNvSpPr/>
            <p:nvPr/>
          </p:nvSpPr>
          <p:spPr bwMode="gray">
            <a:xfrm>
              <a:off x="9255918" y="656176"/>
              <a:ext cx="318420" cy="80962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6F9FC8EA-C075-4F6E-B2D1-797FD1C891AB}"/>
                </a:ext>
              </a:extLst>
            </p:cNvPr>
            <p:cNvSpPr/>
            <p:nvPr/>
          </p:nvSpPr>
          <p:spPr bwMode="gray">
            <a:xfrm>
              <a:off x="8790145" y="792765"/>
              <a:ext cx="228219" cy="8105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09F47BC8-CCBA-4EEF-A63D-2771111D446A}"/>
                </a:ext>
              </a:extLst>
            </p:cNvPr>
            <p:cNvSpPr/>
            <p:nvPr/>
          </p:nvSpPr>
          <p:spPr bwMode="gray">
            <a:xfrm>
              <a:off x="8549925" y="792765"/>
              <a:ext cx="122872" cy="8105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CA04B369-2A86-453E-9EE6-8925D7E9E9E9}"/>
                </a:ext>
              </a:extLst>
            </p:cNvPr>
            <p:cNvSpPr/>
            <p:nvPr/>
          </p:nvSpPr>
          <p:spPr bwMode="gray">
            <a:xfrm>
              <a:off x="9769792" y="656176"/>
              <a:ext cx="134302" cy="80962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64ADAB57-4E94-4366-A36D-D1A830EC4DB3}"/>
                </a:ext>
              </a:extLst>
            </p:cNvPr>
            <p:cNvSpPr/>
            <p:nvPr/>
          </p:nvSpPr>
          <p:spPr bwMode="gray">
            <a:xfrm>
              <a:off x="10157745" y="656176"/>
              <a:ext cx="759047" cy="80962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02AA499C-3F8C-4871-A706-4FD7457E4A5E}"/>
                </a:ext>
              </a:extLst>
            </p:cNvPr>
            <p:cNvSpPr/>
            <p:nvPr/>
          </p:nvSpPr>
          <p:spPr bwMode="gray">
            <a:xfrm>
              <a:off x="9255918" y="792765"/>
              <a:ext cx="1703832" cy="8105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D0062A6A-DEFD-4F13-B3D7-48AD23769E2D}"/>
                </a:ext>
              </a:extLst>
            </p:cNvPr>
            <p:cNvSpPr/>
            <p:nvPr/>
          </p:nvSpPr>
          <p:spPr bwMode="gray">
            <a:xfrm>
              <a:off x="8041957" y="519493"/>
              <a:ext cx="159353" cy="80962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388D4AB6-DC60-4D10-85C2-BA5AD5443138}"/>
                </a:ext>
              </a:extLst>
            </p:cNvPr>
            <p:cNvSpPr/>
            <p:nvPr/>
          </p:nvSpPr>
          <p:spPr bwMode="gray">
            <a:xfrm>
              <a:off x="8954547" y="382809"/>
              <a:ext cx="231266" cy="80962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312DDC0A-7428-433D-8FAC-B46F9CD2B9F8}"/>
                </a:ext>
              </a:extLst>
            </p:cNvPr>
            <p:cNvSpPr/>
            <p:nvPr/>
          </p:nvSpPr>
          <p:spPr bwMode="gray">
            <a:xfrm>
              <a:off x="9241630" y="382809"/>
              <a:ext cx="101345" cy="80962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938507A0-4F5A-4A33-80B0-43F3EC1E89F2}"/>
                </a:ext>
              </a:extLst>
            </p:cNvPr>
            <p:cNvSpPr/>
            <p:nvPr/>
          </p:nvSpPr>
          <p:spPr bwMode="gray">
            <a:xfrm>
              <a:off x="7598187" y="246125"/>
              <a:ext cx="122777" cy="8105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CBE1A043-42D9-4197-A530-3E5B35C34F52}"/>
                </a:ext>
              </a:extLst>
            </p:cNvPr>
            <p:cNvSpPr/>
            <p:nvPr/>
          </p:nvSpPr>
          <p:spPr bwMode="gray">
            <a:xfrm>
              <a:off x="6818756" y="382809"/>
              <a:ext cx="83724" cy="80962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15604356"/>
      </p:ext>
    </p:extLst>
  </p:cSld>
  <p:clrMapOvr>
    <a:masterClrMapping/>
  </p:clrMapOvr>
  <p:transition spd="slow"/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7F1E7A-F7CB-4075-9914-1C2DFCBD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America highlighted</a:t>
            </a:r>
            <a:endParaRPr lang="en-US" dirty="0"/>
          </a:p>
        </p:txBody>
      </p:sp>
      <p:sp>
        <p:nvSpPr>
          <p:cNvPr id="546" name="Text Placeholder 54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51" name="Date Placeholder 55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52" name="Footer Placeholder 55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553" name="Slide Number Placeholder 55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3</a:t>
            </a:fld>
            <a:endParaRPr lang="en-US" dirty="0"/>
          </a:p>
        </p:txBody>
      </p:sp>
      <p:grpSp>
        <p:nvGrpSpPr>
          <p:cNvPr id="572" name="Gruppieren 571">
            <a:extLst>
              <a:ext uri="{FF2B5EF4-FFF2-40B4-BE49-F238E27FC236}">
                <a16:creationId xmlns:a16="http://schemas.microsoft.com/office/drawing/2014/main" id="{88B16C69-48F2-4B7F-B9CF-B6EBD25C72D0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1299607" y="261288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9890A74E-B3FB-4110-AC0E-3B4FA241B571}"/>
                </a:ext>
              </a:extLst>
            </p:cNvPr>
            <p:cNvSpPr/>
            <p:nvPr/>
          </p:nvSpPr>
          <p:spPr>
            <a:xfrm>
              <a:off x="4068611" y="379761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0D33C97-DAA0-4CD1-809B-2D7C6B52AF29}"/>
                </a:ext>
              </a:extLst>
            </p:cNvPr>
            <p:cNvSpPr/>
            <p:nvPr/>
          </p:nvSpPr>
          <p:spPr>
            <a:xfrm>
              <a:off x="3511109" y="3698832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CBD6012A-C565-4309-A2EE-DD6B6BD278F2}"/>
                </a:ext>
              </a:extLst>
            </p:cNvPr>
            <p:cNvSpPr/>
            <p:nvPr/>
          </p:nvSpPr>
          <p:spPr>
            <a:xfrm>
              <a:off x="3346369" y="4054417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2012F616-46F9-4404-BA69-702E18F7AD92}"/>
                </a:ext>
              </a:extLst>
            </p:cNvPr>
            <p:cNvSpPr/>
            <p:nvPr/>
          </p:nvSpPr>
          <p:spPr>
            <a:xfrm>
              <a:off x="3337199" y="4172972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C89F9E6-7B05-4DD6-AF39-D8997FC8195F}"/>
                </a:ext>
              </a:extLst>
            </p:cNvPr>
            <p:cNvSpPr/>
            <p:nvPr/>
          </p:nvSpPr>
          <p:spPr>
            <a:xfrm>
              <a:off x="3448897" y="4410084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368E6B1-8305-4454-8B59-B8BDF9C7A447}"/>
                </a:ext>
              </a:extLst>
            </p:cNvPr>
            <p:cNvSpPr/>
            <p:nvPr/>
          </p:nvSpPr>
          <p:spPr>
            <a:xfrm>
              <a:off x="3542668" y="4528557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9758490-AD58-408D-A244-5EF1553B8445}"/>
                </a:ext>
              </a:extLst>
            </p:cNvPr>
            <p:cNvSpPr/>
            <p:nvPr/>
          </p:nvSpPr>
          <p:spPr>
            <a:xfrm>
              <a:off x="3666429" y="4765670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A7B6E95-7D48-429B-9676-5416A11BE29B}"/>
                </a:ext>
              </a:extLst>
            </p:cNvPr>
            <p:cNvSpPr/>
            <p:nvPr/>
          </p:nvSpPr>
          <p:spPr>
            <a:xfrm>
              <a:off x="3666429" y="5002699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8A248BF3-19BA-44BE-B7DB-DBEFBCB7AFEF}"/>
                </a:ext>
              </a:extLst>
            </p:cNvPr>
            <p:cNvSpPr/>
            <p:nvPr/>
          </p:nvSpPr>
          <p:spPr>
            <a:xfrm>
              <a:off x="3666429" y="5239811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D5FD6A8-B6AE-448E-95AF-15B3781FAFF3}"/>
                </a:ext>
              </a:extLst>
            </p:cNvPr>
            <p:cNvSpPr/>
            <p:nvPr/>
          </p:nvSpPr>
          <p:spPr>
            <a:xfrm>
              <a:off x="3666429" y="5595396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B27A502-DDF7-4575-BA86-B8F4C2FC880E}"/>
                </a:ext>
              </a:extLst>
            </p:cNvPr>
            <p:cNvSpPr/>
            <p:nvPr/>
          </p:nvSpPr>
          <p:spPr>
            <a:xfrm>
              <a:off x="3666429" y="5476922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6151293-2170-4609-99F7-A37F05835F51}"/>
                </a:ext>
              </a:extLst>
            </p:cNvPr>
            <p:cNvSpPr/>
            <p:nvPr/>
          </p:nvSpPr>
          <p:spPr>
            <a:xfrm>
              <a:off x="3666429" y="4884225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028E43D3-FEE6-4D11-A01C-D3A4044C939C}"/>
                </a:ext>
              </a:extLst>
            </p:cNvPr>
            <p:cNvSpPr/>
            <p:nvPr/>
          </p:nvSpPr>
          <p:spPr>
            <a:xfrm>
              <a:off x="3666429" y="5121255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EBDE70E-6D57-4F59-ADC7-F706F27A70B3}"/>
                </a:ext>
              </a:extLst>
            </p:cNvPr>
            <p:cNvSpPr/>
            <p:nvPr/>
          </p:nvSpPr>
          <p:spPr>
            <a:xfrm>
              <a:off x="3666429" y="5358366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66A95939-A8BB-4621-AE35-01E11D0DBB59}"/>
                </a:ext>
              </a:extLst>
            </p:cNvPr>
            <p:cNvSpPr/>
            <p:nvPr/>
          </p:nvSpPr>
          <p:spPr>
            <a:xfrm>
              <a:off x="3666429" y="4647113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C53C9626-9E6E-4468-8BA9-23FB0ACB1F9F}"/>
                </a:ext>
              </a:extLst>
            </p:cNvPr>
            <p:cNvSpPr/>
            <p:nvPr/>
          </p:nvSpPr>
          <p:spPr>
            <a:xfrm>
              <a:off x="3400814" y="4291528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5957454C-34B0-49F2-8D32-20279F500306}"/>
                </a:ext>
              </a:extLst>
            </p:cNvPr>
            <p:cNvSpPr/>
            <p:nvPr/>
          </p:nvSpPr>
          <p:spPr>
            <a:xfrm>
              <a:off x="3440801" y="3935943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7DE098F-27F8-423E-837C-E9DB43AA355E}"/>
                </a:ext>
              </a:extLst>
            </p:cNvPr>
            <p:cNvSpPr/>
            <p:nvPr/>
          </p:nvSpPr>
          <p:spPr>
            <a:xfrm>
              <a:off x="3440801" y="3817387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A0CC3EB-F873-42AE-A41C-CBAA88A7E79A}"/>
                </a:ext>
              </a:extLst>
            </p:cNvPr>
            <p:cNvSpPr/>
            <p:nvPr/>
          </p:nvSpPr>
          <p:spPr>
            <a:xfrm>
              <a:off x="3838108" y="5951064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540ABF0-4509-4AF7-BF66-D96605CFCCC7}"/>
                </a:ext>
              </a:extLst>
            </p:cNvPr>
            <p:cNvSpPr/>
            <p:nvPr/>
          </p:nvSpPr>
          <p:spPr>
            <a:xfrm>
              <a:off x="3733680" y="5832508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DC5C0C4F-CDFC-4FAA-AB14-FA44E9E0F92F}"/>
                </a:ext>
              </a:extLst>
            </p:cNvPr>
            <p:cNvSpPr/>
            <p:nvPr/>
          </p:nvSpPr>
          <p:spPr>
            <a:xfrm>
              <a:off x="3666429" y="5713951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E7E4B1E1-A6A6-4D72-A629-F01CEC6EAB40}"/>
                </a:ext>
              </a:extLst>
            </p:cNvPr>
            <p:cNvSpPr/>
            <p:nvPr/>
          </p:nvSpPr>
          <p:spPr>
            <a:xfrm>
              <a:off x="10413294" y="5832508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AFA2A6C2-2B21-48A3-AAFA-8871CB6A28E3}"/>
                </a:ext>
              </a:extLst>
            </p:cNvPr>
            <p:cNvSpPr/>
            <p:nvPr/>
          </p:nvSpPr>
          <p:spPr>
            <a:xfrm>
              <a:off x="10527306" y="5713951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2E423BF1-1FBA-43D3-88AE-8FD1BA7BEDD8}"/>
                </a:ext>
              </a:extLst>
            </p:cNvPr>
            <p:cNvSpPr/>
            <p:nvPr/>
          </p:nvSpPr>
          <p:spPr>
            <a:xfrm>
              <a:off x="10634048" y="5595396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7EB7517-D9FD-4775-88C3-23DAA77B40ED}"/>
                </a:ext>
              </a:extLst>
            </p:cNvPr>
            <p:cNvSpPr/>
            <p:nvPr/>
          </p:nvSpPr>
          <p:spPr>
            <a:xfrm>
              <a:off x="10715260" y="5595396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C12C774-F651-45EB-B254-1791083929C9}"/>
                </a:ext>
              </a:extLst>
            </p:cNvPr>
            <p:cNvSpPr/>
            <p:nvPr/>
          </p:nvSpPr>
          <p:spPr>
            <a:xfrm>
              <a:off x="9847778" y="5595396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1601D9F-F616-4C85-9DAD-BAB373FC2FAC}"/>
                </a:ext>
              </a:extLst>
            </p:cNvPr>
            <p:cNvSpPr/>
            <p:nvPr/>
          </p:nvSpPr>
          <p:spPr>
            <a:xfrm>
              <a:off x="9752438" y="5358366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8944031-6ED3-4F91-9CC6-AFA54ED294E8}"/>
                </a:ext>
              </a:extLst>
            </p:cNvPr>
            <p:cNvSpPr/>
            <p:nvPr/>
          </p:nvSpPr>
          <p:spPr>
            <a:xfrm>
              <a:off x="9722696" y="5239811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BDB2F4A-E9F2-4D8D-9DB1-0F71618A5380}"/>
                </a:ext>
              </a:extLst>
            </p:cNvPr>
            <p:cNvSpPr/>
            <p:nvPr/>
          </p:nvSpPr>
          <p:spPr>
            <a:xfrm>
              <a:off x="9629503" y="5121255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9C5ECEC-F8DC-448E-8681-CCF6385DFEAD}"/>
                </a:ext>
              </a:extLst>
            </p:cNvPr>
            <p:cNvSpPr/>
            <p:nvPr/>
          </p:nvSpPr>
          <p:spPr>
            <a:xfrm>
              <a:off x="9063491" y="5121255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5C4E4FC-1159-4CCA-9C8F-7540D24C292E}"/>
                </a:ext>
              </a:extLst>
            </p:cNvPr>
            <p:cNvSpPr/>
            <p:nvPr/>
          </p:nvSpPr>
          <p:spPr>
            <a:xfrm>
              <a:off x="9063491" y="4884225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D69F652-D321-4633-AFBC-8CC37897A156}"/>
                </a:ext>
              </a:extLst>
            </p:cNvPr>
            <p:cNvSpPr/>
            <p:nvPr/>
          </p:nvSpPr>
          <p:spPr>
            <a:xfrm>
              <a:off x="9087698" y="4765670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8A65FC6-4438-49EE-B469-E51DD45C111B}"/>
                </a:ext>
              </a:extLst>
            </p:cNvPr>
            <p:cNvSpPr/>
            <p:nvPr/>
          </p:nvSpPr>
          <p:spPr>
            <a:xfrm>
              <a:off x="9322745" y="4647113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F950E87C-2319-45E9-A64E-82CA1C1D027E}"/>
                </a:ext>
              </a:extLst>
            </p:cNvPr>
            <p:cNvSpPr/>
            <p:nvPr/>
          </p:nvSpPr>
          <p:spPr>
            <a:xfrm>
              <a:off x="9426182" y="4528557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E8A9EA1-9F12-48D8-BE96-4C3FA1E27657}"/>
                </a:ext>
              </a:extLst>
            </p:cNvPr>
            <p:cNvSpPr/>
            <p:nvPr/>
          </p:nvSpPr>
          <p:spPr>
            <a:xfrm>
              <a:off x="9940888" y="4528557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22FA197-E43B-44CA-ADB8-13169701ACF0}"/>
                </a:ext>
              </a:extLst>
            </p:cNvPr>
            <p:cNvSpPr/>
            <p:nvPr/>
          </p:nvSpPr>
          <p:spPr>
            <a:xfrm>
              <a:off x="9940888" y="4410084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0379A8C-D454-44BD-A171-B6E33FC4F338}"/>
                </a:ext>
              </a:extLst>
            </p:cNvPr>
            <p:cNvSpPr/>
            <p:nvPr/>
          </p:nvSpPr>
          <p:spPr>
            <a:xfrm>
              <a:off x="9571589" y="4410084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80B731E-8F9F-4695-B976-79510D5DA661}"/>
                </a:ext>
              </a:extLst>
            </p:cNvPr>
            <p:cNvSpPr/>
            <p:nvPr/>
          </p:nvSpPr>
          <p:spPr>
            <a:xfrm>
              <a:off x="9088029" y="5002699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ECDC043-5880-47CD-B438-366844AC0C87}"/>
                </a:ext>
              </a:extLst>
            </p:cNvPr>
            <p:cNvSpPr/>
            <p:nvPr/>
          </p:nvSpPr>
          <p:spPr>
            <a:xfrm>
              <a:off x="10750951" y="5358366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4F816D7-2C11-4C0B-9923-4DC965514A13}"/>
                </a:ext>
              </a:extLst>
            </p:cNvPr>
            <p:cNvSpPr/>
            <p:nvPr/>
          </p:nvSpPr>
          <p:spPr>
            <a:xfrm>
              <a:off x="10734097" y="5476922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D37E472-4D3A-45D5-8953-0366D8BDF0C0}"/>
                </a:ext>
              </a:extLst>
            </p:cNvPr>
            <p:cNvSpPr/>
            <p:nvPr/>
          </p:nvSpPr>
          <p:spPr>
            <a:xfrm>
              <a:off x="6220711" y="5002699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AC2B4E8-E4B6-422B-B967-B77B8F887A04}"/>
                </a:ext>
              </a:extLst>
            </p:cNvPr>
            <p:cNvSpPr/>
            <p:nvPr/>
          </p:nvSpPr>
          <p:spPr>
            <a:xfrm>
              <a:off x="6173866" y="4884225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AECD562-1A65-4C44-841A-C908896AEC4F}"/>
                </a:ext>
              </a:extLst>
            </p:cNvPr>
            <p:cNvSpPr/>
            <p:nvPr/>
          </p:nvSpPr>
          <p:spPr>
            <a:xfrm>
              <a:off x="6145528" y="4765670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1505AD7-6E01-44AA-BF37-56DC398A71AA}"/>
                </a:ext>
              </a:extLst>
            </p:cNvPr>
            <p:cNvSpPr/>
            <p:nvPr/>
          </p:nvSpPr>
          <p:spPr>
            <a:xfrm>
              <a:off x="6107855" y="4647113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A62645E-9F54-4322-AA47-ED251F561883}"/>
                </a:ext>
              </a:extLst>
            </p:cNvPr>
            <p:cNvSpPr/>
            <p:nvPr/>
          </p:nvSpPr>
          <p:spPr>
            <a:xfrm>
              <a:off x="7030856" y="4647113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E9035773-0639-4FBC-A037-C43A29BFDEE2}"/>
                </a:ext>
              </a:extLst>
            </p:cNvPr>
            <p:cNvSpPr/>
            <p:nvPr/>
          </p:nvSpPr>
          <p:spPr>
            <a:xfrm>
              <a:off x="7030856" y="4528557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761101C1-BE5C-4AF8-86E7-FBF2816A7FA9}"/>
                </a:ext>
              </a:extLst>
            </p:cNvPr>
            <p:cNvSpPr/>
            <p:nvPr/>
          </p:nvSpPr>
          <p:spPr>
            <a:xfrm>
              <a:off x="7165027" y="4410084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6C9E0876-F1B7-41DB-BF27-25C78174EEAB}"/>
                </a:ext>
              </a:extLst>
            </p:cNvPr>
            <p:cNvSpPr/>
            <p:nvPr/>
          </p:nvSpPr>
          <p:spPr>
            <a:xfrm>
              <a:off x="7010036" y="4765670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C3A5EBBD-E702-4BA0-89AD-F991DF3A6B52}"/>
                </a:ext>
              </a:extLst>
            </p:cNvPr>
            <p:cNvSpPr/>
            <p:nvPr/>
          </p:nvSpPr>
          <p:spPr>
            <a:xfrm>
              <a:off x="6075965" y="4528557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0CC1C2D-5BA9-478A-9D2D-CA16BADE8984}"/>
                </a:ext>
              </a:extLst>
            </p:cNvPr>
            <p:cNvSpPr/>
            <p:nvPr/>
          </p:nvSpPr>
          <p:spPr>
            <a:xfrm>
              <a:off x="6115208" y="4291528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930AFFF3-59DD-4C69-BD44-BC5190578B5D}"/>
                </a:ext>
              </a:extLst>
            </p:cNvPr>
            <p:cNvSpPr/>
            <p:nvPr/>
          </p:nvSpPr>
          <p:spPr>
            <a:xfrm>
              <a:off x="6072578" y="4172972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87A305DF-C685-4568-9DC7-6EEB8F5D0018}"/>
                </a:ext>
              </a:extLst>
            </p:cNvPr>
            <p:cNvSpPr/>
            <p:nvPr/>
          </p:nvSpPr>
          <p:spPr>
            <a:xfrm>
              <a:off x="5994421" y="4054417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99B0ED9-0720-4144-A66F-5281B256314C}"/>
                </a:ext>
              </a:extLst>
            </p:cNvPr>
            <p:cNvSpPr/>
            <p:nvPr/>
          </p:nvSpPr>
          <p:spPr>
            <a:xfrm>
              <a:off x="6026890" y="3935943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B9D6C796-7393-4100-84F1-5DE7ECAFDEF0}"/>
                </a:ext>
              </a:extLst>
            </p:cNvPr>
            <p:cNvSpPr/>
            <p:nvPr/>
          </p:nvSpPr>
          <p:spPr>
            <a:xfrm>
              <a:off x="5354220" y="3817387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9E1974FB-48DE-49F2-9C5B-38656160AB1F}"/>
                </a:ext>
              </a:extLst>
            </p:cNvPr>
            <p:cNvSpPr/>
            <p:nvPr/>
          </p:nvSpPr>
          <p:spPr>
            <a:xfrm>
              <a:off x="5250204" y="3698832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4FBE9487-B5C7-4AB7-8F33-8CFABBC71235}"/>
                </a:ext>
              </a:extLst>
            </p:cNvPr>
            <p:cNvSpPr/>
            <p:nvPr/>
          </p:nvSpPr>
          <p:spPr>
            <a:xfrm>
              <a:off x="5225171" y="3580276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8E356174-622E-46C6-B34C-3E12A4B09E91}"/>
                </a:ext>
              </a:extLst>
            </p:cNvPr>
            <p:cNvSpPr/>
            <p:nvPr/>
          </p:nvSpPr>
          <p:spPr>
            <a:xfrm>
              <a:off x="5225171" y="3343246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D2148949-BB7E-4E73-8E98-F530A7E74512}"/>
                </a:ext>
              </a:extLst>
            </p:cNvPr>
            <p:cNvSpPr/>
            <p:nvPr/>
          </p:nvSpPr>
          <p:spPr>
            <a:xfrm>
              <a:off x="5324064" y="3224690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8AE7D5C1-0C47-478C-9000-D2054CA460B5}"/>
                </a:ext>
              </a:extLst>
            </p:cNvPr>
            <p:cNvSpPr/>
            <p:nvPr/>
          </p:nvSpPr>
          <p:spPr>
            <a:xfrm>
              <a:off x="5436506" y="3106134"/>
              <a:ext cx="1710096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AF8E02D5-2339-48F4-953D-2E6623A5187E}"/>
                </a:ext>
              </a:extLst>
            </p:cNvPr>
            <p:cNvSpPr/>
            <p:nvPr/>
          </p:nvSpPr>
          <p:spPr>
            <a:xfrm>
              <a:off x="5542504" y="2987578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E7696B8D-88E8-4C0C-AB0F-5E46E327946E}"/>
                </a:ext>
              </a:extLst>
            </p:cNvPr>
            <p:cNvSpPr/>
            <p:nvPr/>
          </p:nvSpPr>
          <p:spPr>
            <a:xfrm>
              <a:off x="5776642" y="2869105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F4487484-3915-4630-9AA5-5847AB26E629}"/>
                </a:ext>
              </a:extLst>
            </p:cNvPr>
            <p:cNvSpPr/>
            <p:nvPr/>
          </p:nvSpPr>
          <p:spPr>
            <a:xfrm>
              <a:off x="5483764" y="2869105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A077A840-9697-4606-8181-BFB4A5CEC6A7}"/>
                </a:ext>
              </a:extLst>
            </p:cNvPr>
            <p:cNvSpPr/>
            <p:nvPr/>
          </p:nvSpPr>
          <p:spPr>
            <a:xfrm>
              <a:off x="6084309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D46179F-E0F0-46FF-9300-9268348F0D9F}"/>
                </a:ext>
              </a:extLst>
            </p:cNvPr>
            <p:cNvSpPr/>
            <p:nvPr/>
          </p:nvSpPr>
          <p:spPr>
            <a:xfrm>
              <a:off x="6314564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A9403D1-D173-4F00-966E-3A358FA02FF4}"/>
                </a:ext>
              </a:extLst>
            </p:cNvPr>
            <p:cNvSpPr/>
            <p:nvPr/>
          </p:nvSpPr>
          <p:spPr>
            <a:xfrm>
              <a:off x="5260036" y="3461719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AB2946B2-C159-4230-891B-9EB0F3A33227}"/>
                </a:ext>
              </a:extLst>
            </p:cNvPr>
            <p:cNvSpPr/>
            <p:nvPr/>
          </p:nvSpPr>
          <p:spPr>
            <a:xfrm>
              <a:off x="6115208" y="4410084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A43F2372-0693-4164-A880-C1C7C126C626}"/>
                </a:ext>
              </a:extLst>
            </p:cNvPr>
            <p:cNvSpPr/>
            <p:nvPr/>
          </p:nvSpPr>
          <p:spPr>
            <a:xfrm>
              <a:off x="3006647" y="3580276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4A26B960-7037-438F-AFC0-E5F2AC6B30C3}"/>
                </a:ext>
              </a:extLst>
            </p:cNvPr>
            <p:cNvSpPr/>
            <p:nvPr/>
          </p:nvSpPr>
          <p:spPr>
            <a:xfrm>
              <a:off x="3052003" y="3461719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E5F52E48-673E-4E07-AD1F-A82756D7E220}"/>
                </a:ext>
              </a:extLst>
            </p:cNvPr>
            <p:cNvSpPr/>
            <p:nvPr/>
          </p:nvSpPr>
          <p:spPr>
            <a:xfrm>
              <a:off x="3594718" y="3461719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157DB48D-BA16-4DCF-B7D8-EFA15CD60986}"/>
                </a:ext>
              </a:extLst>
            </p:cNvPr>
            <p:cNvSpPr/>
            <p:nvPr/>
          </p:nvSpPr>
          <p:spPr>
            <a:xfrm>
              <a:off x="3766396" y="3461719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894A889E-0D40-4668-A1E8-92E9AF88CCD4}"/>
                </a:ext>
              </a:extLst>
            </p:cNvPr>
            <p:cNvSpPr/>
            <p:nvPr/>
          </p:nvSpPr>
          <p:spPr>
            <a:xfrm>
              <a:off x="2690635" y="3461719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0D1B7AAD-98F2-4155-87EB-B23F90783162}"/>
                </a:ext>
              </a:extLst>
            </p:cNvPr>
            <p:cNvSpPr/>
            <p:nvPr/>
          </p:nvSpPr>
          <p:spPr>
            <a:xfrm>
              <a:off x="2635365" y="3343246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5BB1BF72-0DEF-4216-9E49-10AE7843BFA3}"/>
                </a:ext>
              </a:extLst>
            </p:cNvPr>
            <p:cNvSpPr/>
            <p:nvPr/>
          </p:nvSpPr>
          <p:spPr>
            <a:xfrm>
              <a:off x="3266148" y="3343246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2E9A722-E1E4-48B1-8F4E-5A2006D069A3}"/>
                </a:ext>
              </a:extLst>
            </p:cNvPr>
            <p:cNvSpPr/>
            <p:nvPr/>
          </p:nvSpPr>
          <p:spPr>
            <a:xfrm>
              <a:off x="3341908" y="3224690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8343421E-0232-4E5B-B2C9-6D7398AAE0FF}"/>
                </a:ext>
              </a:extLst>
            </p:cNvPr>
            <p:cNvSpPr/>
            <p:nvPr/>
          </p:nvSpPr>
          <p:spPr>
            <a:xfrm>
              <a:off x="2564479" y="3224690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0FAF54F7-45C6-4DA5-8667-137FA7649345}"/>
                </a:ext>
              </a:extLst>
            </p:cNvPr>
            <p:cNvSpPr/>
            <p:nvPr/>
          </p:nvSpPr>
          <p:spPr>
            <a:xfrm>
              <a:off x="2477070" y="3106134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B3870B16-D87A-47EC-826E-C71AF1F6401E}"/>
                </a:ext>
              </a:extLst>
            </p:cNvPr>
            <p:cNvSpPr/>
            <p:nvPr/>
          </p:nvSpPr>
          <p:spPr>
            <a:xfrm>
              <a:off x="2350830" y="2987578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9714D1AD-0871-4CF3-8FCC-C229424E581D}"/>
                </a:ext>
              </a:extLst>
            </p:cNvPr>
            <p:cNvSpPr/>
            <p:nvPr/>
          </p:nvSpPr>
          <p:spPr>
            <a:xfrm>
              <a:off x="2243593" y="2869105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1D504B02-3CAB-4550-97D4-7B4177994A24}"/>
                </a:ext>
              </a:extLst>
            </p:cNvPr>
            <p:cNvSpPr/>
            <p:nvPr/>
          </p:nvSpPr>
          <p:spPr>
            <a:xfrm>
              <a:off x="2212364" y="2750549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446109E3-BA6C-403A-A586-0C105B23D4C5}"/>
                </a:ext>
              </a:extLst>
            </p:cNvPr>
            <p:cNvSpPr/>
            <p:nvPr/>
          </p:nvSpPr>
          <p:spPr>
            <a:xfrm>
              <a:off x="2212364" y="2631993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B6009A90-87EC-4655-A871-E14F865CF08A}"/>
                </a:ext>
              </a:extLst>
            </p:cNvPr>
            <p:cNvSpPr/>
            <p:nvPr/>
          </p:nvSpPr>
          <p:spPr>
            <a:xfrm>
              <a:off x="2212364" y="2513438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0E453C6C-A2D5-4C95-B009-9311111A2723}"/>
                </a:ext>
              </a:extLst>
            </p:cNvPr>
            <p:cNvSpPr/>
            <p:nvPr/>
          </p:nvSpPr>
          <p:spPr>
            <a:xfrm>
              <a:off x="2212364" y="2039296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A91577B-94A8-49EA-B3FC-204659E211F6}"/>
                </a:ext>
              </a:extLst>
            </p:cNvPr>
            <p:cNvSpPr/>
            <p:nvPr/>
          </p:nvSpPr>
          <p:spPr>
            <a:xfrm>
              <a:off x="2212364" y="1920740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C284C68-BE29-49AD-B04D-7D9E66DAC9E8}"/>
                </a:ext>
              </a:extLst>
            </p:cNvPr>
            <p:cNvSpPr/>
            <p:nvPr/>
          </p:nvSpPr>
          <p:spPr>
            <a:xfrm>
              <a:off x="2183447" y="1802267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99E1418B-2BB0-4042-B699-54F2288B7625}"/>
                </a:ext>
              </a:extLst>
            </p:cNvPr>
            <p:cNvSpPr/>
            <p:nvPr/>
          </p:nvSpPr>
          <p:spPr>
            <a:xfrm>
              <a:off x="2104217" y="1683711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809755A9-EEE1-4A83-ABE9-7D4CED07F54B}"/>
                </a:ext>
              </a:extLst>
            </p:cNvPr>
            <p:cNvSpPr/>
            <p:nvPr/>
          </p:nvSpPr>
          <p:spPr>
            <a:xfrm>
              <a:off x="1484917" y="1683711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9030D072-91D4-475B-932E-974BEB820FC9}"/>
                </a:ext>
              </a:extLst>
            </p:cNvPr>
            <p:cNvSpPr/>
            <p:nvPr/>
          </p:nvSpPr>
          <p:spPr>
            <a:xfrm>
              <a:off x="1299607" y="1802267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E29380AF-16D8-4BB1-B6A9-BFFAAE435D84}"/>
                </a:ext>
              </a:extLst>
            </p:cNvPr>
            <p:cNvSpPr/>
            <p:nvPr/>
          </p:nvSpPr>
          <p:spPr>
            <a:xfrm>
              <a:off x="1518212" y="1565155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AF52819A-445E-4D07-AF86-78FB40A41712}"/>
                </a:ext>
              </a:extLst>
            </p:cNvPr>
            <p:cNvSpPr/>
            <p:nvPr/>
          </p:nvSpPr>
          <p:spPr>
            <a:xfrm>
              <a:off x="1994254" y="1565155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83747102-EAFB-4258-9122-EF0D1DB2D403}"/>
                </a:ext>
              </a:extLst>
            </p:cNvPr>
            <p:cNvSpPr/>
            <p:nvPr/>
          </p:nvSpPr>
          <p:spPr>
            <a:xfrm>
              <a:off x="1478721" y="1446599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7E23588E-F21A-45BC-A9B5-04EF9629AE70}"/>
                </a:ext>
              </a:extLst>
            </p:cNvPr>
            <p:cNvSpPr/>
            <p:nvPr/>
          </p:nvSpPr>
          <p:spPr>
            <a:xfrm>
              <a:off x="1478721" y="1328044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414AF6D1-B8CA-4044-AE98-9DA4E0989253}"/>
                </a:ext>
              </a:extLst>
            </p:cNvPr>
            <p:cNvSpPr/>
            <p:nvPr/>
          </p:nvSpPr>
          <p:spPr>
            <a:xfrm>
              <a:off x="1716494" y="1209570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FF398C23-454D-4A8A-B4C8-735EC545A855}"/>
                </a:ext>
              </a:extLst>
            </p:cNvPr>
            <p:cNvSpPr/>
            <p:nvPr/>
          </p:nvSpPr>
          <p:spPr>
            <a:xfrm>
              <a:off x="1587693" y="1091014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CD4C07C1-573F-4E24-8FC5-51D92D86B85B}"/>
                </a:ext>
              </a:extLst>
            </p:cNvPr>
            <p:cNvSpPr/>
            <p:nvPr/>
          </p:nvSpPr>
          <p:spPr>
            <a:xfrm>
              <a:off x="3003672" y="1091014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ED301C34-84F8-4447-959E-C3165ECDD725}"/>
                </a:ext>
              </a:extLst>
            </p:cNvPr>
            <p:cNvSpPr/>
            <p:nvPr/>
          </p:nvSpPr>
          <p:spPr>
            <a:xfrm>
              <a:off x="3472774" y="1091014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6045F660-EDFA-415F-9B61-C98E0228A1CC}"/>
                </a:ext>
              </a:extLst>
            </p:cNvPr>
            <p:cNvSpPr/>
            <p:nvPr/>
          </p:nvSpPr>
          <p:spPr>
            <a:xfrm>
              <a:off x="3497063" y="972458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4175F4A7-D67E-46E6-8DCD-7195349CE917}"/>
                </a:ext>
              </a:extLst>
            </p:cNvPr>
            <p:cNvSpPr/>
            <p:nvPr/>
          </p:nvSpPr>
          <p:spPr>
            <a:xfrm>
              <a:off x="3786885" y="853902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45B0AE1D-A0FD-44D5-A485-4C023AC557DF}"/>
                </a:ext>
              </a:extLst>
            </p:cNvPr>
            <p:cNvSpPr/>
            <p:nvPr/>
          </p:nvSpPr>
          <p:spPr>
            <a:xfrm>
              <a:off x="3228227" y="735428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A2F13858-61B4-4DC6-AAB3-64ECC2A36A63}"/>
                </a:ext>
              </a:extLst>
            </p:cNvPr>
            <p:cNvSpPr/>
            <p:nvPr/>
          </p:nvSpPr>
          <p:spPr>
            <a:xfrm>
              <a:off x="3565719" y="735428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1ADD79BC-B512-473A-8444-1538BCC50BC4}"/>
                </a:ext>
              </a:extLst>
            </p:cNvPr>
            <p:cNvSpPr/>
            <p:nvPr/>
          </p:nvSpPr>
          <p:spPr>
            <a:xfrm>
              <a:off x="3759787" y="735428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BA2550AE-956E-4913-9E39-49142B1EE589}"/>
                </a:ext>
              </a:extLst>
            </p:cNvPr>
            <p:cNvSpPr/>
            <p:nvPr/>
          </p:nvSpPr>
          <p:spPr>
            <a:xfrm>
              <a:off x="3169238" y="616873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6650C15C-1B0B-4FDF-83A3-29FD7F7D557B}"/>
                </a:ext>
              </a:extLst>
            </p:cNvPr>
            <p:cNvSpPr/>
            <p:nvPr/>
          </p:nvSpPr>
          <p:spPr>
            <a:xfrm>
              <a:off x="3496402" y="498317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DEC38E99-50B4-445B-A6CA-F9B3286E268D}"/>
                </a:ext>
              </a:extLst>
            </p:cNvPr>
            <p:cNvSpPr/>
            <p:nvPr/>
          </p:nvSpPr>
          <p:spPr>
            <a:xfrm>
              <a:off x="3679070" y="498317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33E40A88-9B98-4380-965C-194BD7692519}"/>
                </a:ext>
              </a:extLst>
            </p:cNvPr>
            <p:cNvSpPr/>
            <p:nvPr/>
          </p:nvSpPr>
          <p:spPr>
            <a:xfrm>
              <a:off x="3900815" y="498317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0AD8D8F6-84DA-4E51-849B-1719FD0A824C}"/>
                </a:ext>
              </a:extLst>
            </p:cNvPr>
            <p:cNvSpPr/>
            <p:nvPr/>
          </p:nvSpPr>
          <p:spPr>
            <a:xfrm>
              <a:off x="3985084" y="379761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39BC72A8-8C8C-4B67-9423-271CB48D147C}"/>
                </a:ext>
              </a:extLst>
            </p:cNvPr>
            <p:cNvSpPr/>
            <p:nvPr/>
          </p:nvSpPr>
          <p:spPr>
            <a:xfrm>
              <a:off x="4107275" y="379761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A54E0DBE-91B6-4B44-85A4-F1D062082230}"/>
                </a:ext>
              </a:extLst>
            </p:cNvPr>
            <p:cNvSpPr/>
            <p:nvPr/>
          </p:nvSpPr>
          <p:spPr>
            <a:xfrm>
              <a:off x="4314150" y="261288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F9CF230D-5AFC-4577-BC78-453DB6742682}"/>
                </a:ext>
              </a:extLst>
            </p:cNvPr>
            <p:cNvSpPr/>
            <p:nvPr/>
          </p:nvSpPr>
          <p:spPr>
            <a:xfrm>
              <a:off x="3679070" y="616873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B5385305-A314-47C3-82B1-0E8081B37AA7}"/>
                </a:ext>
              </a:extLst>
            </p:cNvPr>
            <p:cNvSpPr/>
            <p:nvPr/>
          </p:nvSpPr>
          <p:spPr>
            <a:xfrm>
              <a:off x="3900815" y="616873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AD16C95B-0B02-4566-A63B-E1DB2487237A}"/>
                </a:ext>
              </a:extLst>
            </p:cNvPr>
            <p:cNvSpPr/>
            <p:nvPr/>
          </p:nvSpPr>
          <p:spPr>
            <a:xfrm>
              <a:off x="3934853" y="972458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662C1643-0E80-4575-AAC5-AC9C5DC06744}"/>
                </a:ext>
              </a:extLst>
            </p:cNvPr>
            <p:cNvSpPr/>
            <p:nvPr/>
          </p:nvSpPr>
          <p:spPr>
            <a:xfrm>
              <a:off x="3472774" y="1209570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B9DFB201-7399-4804-97D2-F2541F938E3B}"/>
                </a:ext>
              </a:extLst>
            </p:cNvPr>
            <p:cNvSpPr/>
            <p:nvPr/>
          </p:nvSpPr>
          <p:spPr>
            <a:xfrm>
              <a:off x="3680144" y="1209570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227907DF-DE8A-4F60-94EA-41A38ED63B11}"/>
                </a:ext>
              </a:extLst>
            </p:cNvPr>
            <p:cNvSpPr/>
            <p:nvPr/>
          </p:nvSpPr>
          <p:spPr>
            <a:xfrm>
              <a:off x="3715256" y="1091014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3EBF5A25-889C-415B-AAC3-D725FFD019FF}"/>
                </a:ext>
              </a:extLst>
            </p:cNvPr>
            <p:cNvSpPr/>
            <p:nvPr/>
          </p:nvSpPr>
          <p:spPr>
            <a:xfrm>
              <a:off x="3472774" y="1328044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5A521E35-EEEC-4AA3-87CB-093D7E299A08}"/>
                </a:ext>
              </a:extLst>
            </p:cNvPr>
            <p:cNvSpPr/>
            <p:nvPr/>
          </p:nvSpPr>
          <p:spPr>
            <a:xfrm>
              <a:off x="3724592" y="1328044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B6ED6E38-39E2-4061-B136-C27CCDD33CAF}"/>
                </a:ext>
              </a:extLst>
            </p:cNvPr>
            <p:cNvSpPr/>
            <p:nvPr/>
          </p:nvSpPr>
          <p:spPr>
            <a:xfrm>
              <a:off x="3933862" y="1328044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95CA21CC-CFA4-4EEB-AD71-E42B39916878}"/>
                </a:ext>
              </a:extLst>
            </p:cNvPr>
            <p:cNvSpPr/>
            <p:nvPr/>
          </p:nvSpPr>
          <p:spPr>
            <a:xfrm>
              <a:off x="3995081" y="1446599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767083F6-8CE7-4392-865B-18641CC63C4F}"/>
                </a:ext>
              </a:extLst>
            </p:cNvPr>
            <p:cNvSpPr/>
            <p:nvPr/>
          </p:nvSpPr>
          <p:spPr>
            <a:xfrm>
              <a:off x="3922874" y="1683711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A65FFB5B-24C6-4BBC-BB6D-AC187581B8D3}"/>
                </a:ext>
              </a:extLst>
            </p:cNvPr>
            <p:cNvSpPr/>
            <p:nvPr/>
          </p:nvSpPr>
          <p:spPr>
            <a:xfrm>
              <a:off x="3923700" y="1565155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BE41619F-483B-4F65-85F5-EAD1D6200388}"/>
                </a:ext>
              </a:extLst>
            </p:cNvPr>
            <p:cNvSpPr/>
            <p:nvPr/>
          </p:nvSpPr>
          <p:spPr>
            <a:xfrm>
              <a:off x="3003672" y="972458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062A5EA9-C5BD-4715-90C9-499873AAF4D5}"/>
                </a:ext>
              </a:extLst>
            </p:cNvPr>
            <p:cNvSpPr/>
            <p:nvPr/>
          </p:nvSpPr>
          <p:spPr>
            <a:xfrm>
              <a:off x="2940470" y="853902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EDD665F0-A6A8-45FF-96C1-E841C7EC50C5}"/>
                </a:ext>
              </a:extLst>
            </p:cNvPr>
            <p:cNvSpPr/>
            <p:nvPr/>
          </p:nvSpPr>
          <p:spPr>
            <a:xfrm>
              <a:off x="1776144" y="972458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EBFC30E3-8116-42F4-B542-10469CEDDDFA}"/>
                </a:ext>
              </a:extLst>
            </p:cNvPr>
            <p:cNvSpPr/>
            <p:nvPr/>
          </p:nvSpPr>
          <p:spPr>
            <a:xfrm>
              <a:off x="1776144" y="853902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E5831BE1-73F8-4C2F-B3B1-267C4000801D}"/>
                </a:ext>
              </a:extLst>
            </p:cNvPr>
            <p:cNvSpPr/>
            <p:nvPr/>
          </p:nvSpPr>
          <p:spPr>
            <a:xfrm>
              <a:off x="1970791" y="735428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512D4CEF-92AA-4413-A95F-50F9767E73C0}"/>
                </a:ext>
              </a:extLst>
            </p:cNvPr>
            <p:cNvSpPr/>
            <p:nvPr/>
          </p:nvSpPr>
          <p:spPr>
            <a:xfrm>
              <a:off x="3704185" y="2039296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FB91B9AC-3DD9-4244-9B00-25BF262B105F}"/>
                </a:ext>
              </a:extLst>
            </p:cNvPr>
            <p:cNvSpPr/>
            <p:nvPr/>
          </p:nvSpPr>
          <p:spPr>
            <a:xfrm>
              <a:off x="3704185" y="1920740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971A41A7-D5A3-4176-84A0-66BF2FDE9F6A}"/>
                </a:ext>
              </a:extLst>
            </p:cNvPr>
            <p:cNvSpPr/>
            <p:nvPr/>
          </p:nvSpPr>
          <p:spPr>
            <a:xfrm>
              <a:off x="3751525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2DCBD45A-06D4-413D-8D64-668935DE6DC4}"/>
                </a:ext>
              </a:extLst>
            </p:cNvPr>
            <p:cNvSpPr/>
            <p:nvPr/>
          </p:nvSpPr>
          <p:spPr>
            <a:xfrm>
              <a:off x="4476741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94773BD9-D3EB-4659-8E94-57BBBBF6A632}"/>
                </a:ext>
              </a:extLst>
            </p:cNvPr>
            <p:cNvSpPr/>
            <p:nvPr/>
          </p:nvSpPr>
          <p:spPr>
            <a:xfrm>
              <a:off x="4451294" y="1683711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01E044CF-6863-4AF3-A7F0-1017098B4BF7}"/>
                </a:ext>
              </a:extLst>
            </p:cNvPr>
            <p:cNvSpPr/>
            <p:nvPr/>
          </p:nvSpPr>
          <p:spPr>
            <a:xfrm>
              <a:off x="5147015" y="1683711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489F4D7A-E02E-4E22-9D4F-02315FC7CC71}"/>
                </a:ext>
              </a:extLst>
            </p:cNvPr>
            <p:cNvSpPr/>
            <p:nvPr/>
          </p:nvSpPr>
          <p:spPr>
            <a:xfrm>
              <a:off x="4451294" y="1565155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C3214793-E70F-4B8A-AF68-4C36C46FEA25}"/>
                </a:ext>
              </a:extLst>
            </p:cNvPr>
            <p:cNvSpPr/>
            <p:nvPr/>
          </p:nvSpPr>
          <p:spPr>
            <a:xfrm>
              <a:off x="4451294" y="1446599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52AE739C-DE49-4AE3-8B4A-18FF749D4D4A}"/>
                </a:ext>
              </a:extLst>
            </p:cNvPr>
            <p:cNvSpPr/>
            <p:nvPr/>
          </p:nvSpPr>
          <p:spPr>
            <a:xfrm>
              <a:off x="4451294" y="1516906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5A3E9A8F-6E15-4DA2-B602-5586E95CA5DC}"/>
                </a:ext>
              </a:extLst>
            </p:cNvPr>
            <p:cNvSpPr/>
            <p:nvPr/>
          </p:nvSpPr>
          <p:spPr>
            <a:xfrm>
              <a:off x="4451294" y="1328044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EA1429F3-366F-4493-81F2-F408BE02723C}"/>
                </a:ext>
              </a:extLst>
            </p:cNvPr>
            <p:cNvSpPr/>
            <p:nvPr/>
          </p:nvSpPr>
          <p:spPr>
            <a:xfrm>
              <a:off x="4485580" y="1209570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9864B15D-F503-41E2-82F4-74F1A383DFB5}"/>
                </a:ext>
              </a:extLst>
            </p:cNvPr>
            <p:cNvSpPr/>
            <p:nvPr/>
          </p:nvSpPr>
          <p:spPr>
            <a:xfrm>
              <a:off x="4273584" y="853902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8C279915-930E-4141-8580-88D92611BE89}"/>
                </a:ext>
              </a:extLst>
            </p:cNvPr>
            <p:cNvSpPr/>
            <p:nvPr/>
          </p:nvSpPr>
          <p:spPr>
            <a:xfrm>
              <a:off x="5925766" y="853902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46124471-8BB0-4204-8F81-813A3A878AB1}"/>
                </a:ext>
              </a:extLst>
            </p:cNvPr>
            <p:cNvSpPr/>
            <p:nvPr/>
          </p:nvSpPr>
          <p:spPr>
            <a:xfrm>
              <a:off x="6066133" y="735428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4511D823-9016-4FAE-AE94-CDD75BAB6D74}"/>
                </a:ext>
              </a:extLst>
            </p:cNvPr>
            <p:cNvSpPr/>
            <p:nvPr/>
          </p:nvSpPr>
          <p:spPr>
            <a:xfrm>
              <a:off x="6006731" y="972458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30357782-0610-4CF0-8805-406E2622F581}"/>
                </a:ext>
              </a:extLst>
            </p:cNvPr>
            <p:cNvSpPr/>
            <p:nvPr/>
          </p:nvSpPr>
          <p:spPr>
            <a:xfrm>
              <a:off x="4273584" y="735428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16655586-BA86-4047-A58D-1A68E7F6175C}"/>
                </a:ext>
              </a:extLst>
            </p:cNvPr>
            <p:cNvSpPr/>
            <p:nvPr/>
          </p:nvSpPr>
          <p:spPr>
            <a:xfrm>
              <a:off x="4470378" y="616873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91540508-E896-4BE1-AAA7-5620EBA06C99}"/>
                </a:ext>
              </a:extLst>
            </p:cNvPr>
            <p:cNvSpPr/>
            <p:nvPr/>
          </p:nvSpPr>
          <p:spPr>
            <a:xfrm>
              <a:off x="4540025" y="498317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C538827B-7168-48DA-A071-39FD8CD79595}"/>
                </a:ext>
              </a:extLst>
            </p:cNvPr>
            <p:cNvSpPr/>
            <p:nvPr/>
          </p:nvSpPr>
          <p:spPr>
            <a:xfrm>
              <a:off x="4972445" y="379761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506055E3-4892-4229-BC99-57167AA31F8D}"/>
                </a:ext>
              </a:extLst>
            </p:cNvPr>
            <p:cNvSpPr/>
            <p:nvPr/>
          </p:nvSpPr>
          <p:spPr>
            <a:xfrm>
              <a:off x="4485580" y="972458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621BFD46-B509-4F2B-83FC-CA6BF01ACC62}"/>
                </a:ext>
              </a:extLst>
            </p:cNvPr>
            <p:cNvSpPr/>
            <p:nvPr/>
          </p:nvSpPr>
          <p:spPr>
            <a:xfrm>
              <a:off x="4485580" y="1091014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70190041-C03C-474A-AC6F-BFB06C777C2F}"/>
                </a:ext>
              </a:extLst>
            </p:cNvPr>
            <p:cNvSpPr/>
            <p:nvPr/>
          </p:nvSpPr>
          <p:spPr>
            <a:xfrm>
              <a:off x="4567289" y="1920740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74B2D94B-EE46-48C3-8441-592EBDCDC725}"/>
                </a:ext>
              </a:extLst>
            </p:cNvPr>
            <p:cNvSpPr/>
            <p:nvPr/>
          </p:nvSpPr>
          <p:spPr>
            <a:xfrm>
              <a:off x="4021849" y="1920740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E8D9B573-5287-47D6-A0CD-E7EAA0A3441E}"/>
                </a:ext>
              </a:extLst>
            </p:cNvPr>
            <p:cNvSpPr/>
            <p:nvPr/>
          </p:nvSpPr>
          <p:spPr>
            <a:xfrm>
              <a:off x="2277713" y="2394881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36661ADB-A906-4024-87F9-F8AA38C30510}"/>
                </a:ext>
              </a:extLst>
            </p:cNvPr>
            <p:cNvSpPr/>
            <p:nvPr/>
          </p:nvSpPr>
          <p:spPr>
            <a:xfrm>
              <a:off x="4119255" y="2394881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B8F0CECC-4A9D-4D45-9269-00DAB5CE8FDB}"/>
                </a:ext>
              </a:extLst>
            </p:cNvPr>
            <p:cNvSpPr/>
            <p:nvPr/>
          </p:nvSpPr>
          <p:spPr>
            <a:xfrm>
              <a:off x="2277713" y="2276408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97230778-80C3-468B-8EE4-F52262D80037}"/>
                </a:ext>
              </a:extLst>
            </p:cNvPr>
            <p:cNvSpPr/>
            <p:nvPr/>
          </p:nvSpPr>
          <p:spPr>
            <a:xfrm>
              <a:off x="3619750" y="2157852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13ADC9C4-5CDB-46AE-AF9C-A134966B4608}"/>
                </a:ext>
              </a:extLst>
            </p:cNvPr>
            <p:cNvSpPr/>
            <p:nvPr/>
          </p:nvSpPr>
          <p:spPr>
            <a:xfrm>
              <a:off x="2277713" y="2157852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CB60FF47-661D-4F49-9BC1-FFA8F04FF3D8}"/>
                </a:ext>
              </a:extLst>
            </p:cNvPr>
            <p:cNvSpPr/>
            <p:nvPr/>
          </p:nvSpPr>
          <p:spPr>
            <a:xfrm>
              <a:off x="2400153" y="3106134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54175E7E-0BDE-4D22-8E32-12371019A32C}"/>
                </a:ext>
              </a:extLst>
            </p:cNvPr>
            <p:cNvSpPr/>
            <p:nvPr/>
          </p:nvSpPr>
          <p:spPr>
            <a:xfrm>
              <a:off x="3341908" y="3106134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59865BCF-CD8E-464B-9CC4-0C3F3669B367}"/>
                </a:ext>
              </a:extLst>
            </p:cNvPr>
            <p:cNvSpPr/>
            <p:nvPr/>
          </p:nvSpPr>
          <p:spPr>
            <a:xfrm>
              <a:off x="2456250" y="3224690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E5898966-5E5A-4772-B6D6-4EBFE4D06CFE}"/>
                </a:ext>
              </a:extLst>
            </p:cNvPr>
            <p:cNvSpPr/>
            <p:nvPr/>
          </p:nvSpPr>
          <p:spPr>
            <a:xfrm>
              <a:off x="7985913" y="3698832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4BBFDC6B-79BF-4312-B2A2-CB918CCF5BE5}"/>
                </a:ext>
              </a:extLst>
            </p:cNvPr>
            <p:cNvSpPr/>
            <p:nvPr/>
          </p:nvSpPr>
          <p:spPr>
            <a:xfrm>
              <a:off x="7928825" y="3580276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C4E4D737-55D0-4F19-892B-564B86EC113B}"/>
                </a:ext>
              </a:extLst>
            </p:cNvPr>
            <p:cNvSpPr/>
            <p:nvPr/>
          </p:nvSpPr>
          <p:spPr>
            <a:xfrm>
              <a:off x="7002436" y="3580276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27A3B559-60C6-4D7F-92FC-5A1AC352D34B}"/>
                </a:ext>
              </a:extLst>
            </p:cNvPr>
            <p:cNvSpPr/>
            <p:nvPr/>
          </p:nvSpPr>
          <p:spPr>
            <a:xfrm>
              <a:off x="7889829" y="3461719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3404C6DD-50F4-4825-BF5E-53A3F0E824C4}"/>
                </a:ext>
              </a:extLst>
            </p:cNvPr>
            <p:cNvSpPr/>
            <p:nvPr/>
          </p:nvSpPr>
          <p:spPr>
            <a:xfrm>
              <a:off x="6944604" y="3461719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B2B26534-10F2-4D2F-BFB7-131FDC13F7DE}"/>
                </a:ext>
              </a:extLst>
            </p:cNvPr>
            <p:cNvSpPr/>
            <p:nvPr/>
          </p:nvSpPr>
          <p:spPr>
            <a:xfrm>
              <a:off x="6867770" y="3343246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8E5DB9C0-F0F1-4A79-B530-016A03909BEF}"/>
                </a:ext>
              </a:extLst>
            </p:cNvPr>
            <p:cNvSpPr/>
            <p:nvPr/>
          </p:nvSpPr>
          <p:spPr>
            <a:xfrm>
              <a:off x="6787879" y="3224690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337E5528-08D9-4717-9AFF-7FE16ED7F8C3}"/>
                </a:ext>
              </a:extLst>
            </p:cNvPr>
            <p:cNvSpPr/>
            <p:nvPr/>
          </p:nvSpPr>
          <p:spPr>
            <a:xfrm>
              <a:off x="6748718" y="2987578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5599FEC9-623A-46B7-89C3-9BDCBB5A319E}"/>
                </a:ext>
              </a:extLst>
            </p:cNvPr>
            <p:cNvSpPr/>
            <p:nvPr/>
          </p:nvSpPr>
          <p:spPr>
            <a:xfrm>
              <a:off x="6484673" y="2869105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EA947825-D2F9-4A16-9DD4-FF6148AFF7DE}"/>
                </a:ext>
              </a:extLst>
            </p:cNvPr>
            <p:cNvSpPr/>
            <p:nvPr/>
          </p:nvSpPr>
          <p:spPr>
            <a:xfrm>
              <a:off x="9511774" y="2869105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EFF1498B-77AA-4338-A281-9FB62136A30D}"/>
                </a:ext>
              </a:extLst>
            </p:cNvPr>
            <p:cNvSpPr/>
            <p:nvPr/>
          </p:nvSpPr>
          <p:spPr>
            <a:xfrm>
              <a:off x="8524496" y="3461719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3EF378CB-B6AB-4A19-8524-F191F4D22AD1}"/>
                </a:ext>
              </a:extLst>
            </p:cNvPr>
            <p:cNvSpPr/>
            <p:nvPr/>
          </p:nvSpPr>
          <p:spPr>
            <a:xfrm>
              <a:off x="8959476" y="3461719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084994A7-F140-4B04-AF97-35DF6D50949A}"/>
                </a:ext>
              </a:extLst>
            </p:cNvPr>
            <p:cNvSpPr/>
            <p:nvPr/>
          </p:nvSpPr>
          <p:spPr>
            <a:xfrm>
              <a:off x="8650901" y="3580276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5CAAF4FD-8510-4A4E-858C-4ACDBB3FFFC2}"/>
                </a:ext>
              </a:extLst>
            </p:cNvPr>
            <p:cNvSpPr/>
            <p:nvPr/>
          </p:nvSpPr>
          <p:spPr>
            <a:xfrm>
              <a:off x="8822331" y="3698832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73550E85-D0E1-4632-ACAD-13A8FB81271E}"/>
                </a:ext>
              </a:extLst>
            </p:cNvPr>
            <p:cNvSpPr/>
            <p:nvPr/>
          </p:nvSpPr>
          <p:spPr>
            <a:xfrm>
              <a:off x="8671720" y="369883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0E5F8A45-8E93-4AB8-BF12-28072D21DCFD}"/>
                </a:ext>
              </a:extLst>
            </p:cNvPr>
            <p:cNvSpPr/>
            <p:nvPr/>
          </p:nvSpPr>
          <p:spPr>
            <a:xfrm>
              <a:off x="8715177" y="3817387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1FC37F0F-9B05-49A4-81AE-13BA3D12CA97}"/>
                </a:ext>
              </a:extLst>
            </p:cNvPr>
            <p:cNvSpPr/>
            <p:nvPr/>
          </p:nvSpPr>
          <p:spPr>
            <a:xfrm>
              <a:off x="8793167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44597B1C-C63A-4F3B-ADCD-3EEA5BA955ED}"/>
                </a:ext>
              </a:extLst>
            </p:cNvPr>
            <p:cNvSpPr/>
            <p:nvPr/>
          </p:nvSpPr>
          <p:spPr>
            <a:xfrm>
              <a:off x="9100835" y="3935943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36B9B3AB-4A81-45DF-8CB8-F6F95D612305}"/>
                </a:ext>
              </a:extLst>
            </p:cNvPr>
            <p:cNvSpPr/>
            <p:nvPr/>
          </p:nvSpPr>
          <p:spPr>
            <a:xfrm>
              <a:off x="8998471" y="4054417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223B0AF6-F4F2-4A5F-8938-644F83E0C282}"/>
                </a:ext>
              </a:extLst>
            </p:cNvPr>
            <p:cNvSpPr/>
            <p:nvPr/>
          </p:nvSpPr>
          <p:spPr>
            <a:xfrm>
              <a:off x="9117358" y="4172972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AF302C45-0D68-4CCC-8082-C4C7DD800DE2}"/>
                </a:ext>
              </a:extLst>
            </p:cNvPr>
            <p:cNvSpPr/>
            <p:nvPr/>
          </p:nvSpPr>
          <p:spPr>
            <a:xfrm>
              <a:off x="9287137" y="4172972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A41DA8DE-25CA-42FC-889B-AE7FEF383CDB}"/>
                </a:ext>
              </a:extLst>
            </p:cNvPr>
            <p:cNvSpPr/>
            <p:nvPr/>
          </p:nvSpPr>
          <p:spPr>
            <a:xfrm>
              <a:off x="9751611" y="4172972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2FB04398-7C44-40FA-9C3E-1975814E97E6}"/>
                </a:ext>
              </a:extLst>
            </p:cNvPr>
            <p:cNvSpPr/>
            <p:nvPr/>
          </p:nvSpPr>
          <p:spPr>
            <a:xfrm>
              <a:off x="9866945" y="4291528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6FE8D261-D43F-449C-A2B3-3459A96DCB79}"/>
                </a:ext>
              </a:extLst>
            </p:cNvPr>
            <p:cNvSpPr/>
            <p:nvPr/>
          </p:nvSpPr>
          <p:spPr>
            <a:xfrm>
              <a:off x="10117028" y="4291528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DB9303B7-959C-4611-BFDD-E2E38A095DA7}"/>
                </a:ext>
              </a:extLst>
            </p:cNvPr>
            <p:cNvSpPr/>
            <p:nvPr/>
          </p:nvSpPr>
          <p:spPr>
            <a:xfrm>
              <a:off x="10278049" y="4172972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6EBF618A-9783-4BFA-AF5B-3E46A5EBC10A}"/>
                </a:ext>
              </a:extLst>
            </p:cNvPr>
            <p:cNvSpPr/>
            <p:nvPr/>
          </p:nvSpPr>
          <p:spPr>
            <a:xfrm>
              <a:off x="9652884" y="4054417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8BE2A7C9-3E76-450D-90AA-351C4A501246}"/>
                </a:ext>
              </a:extLst>
            </p:cNvPr>
            <p:cNvSpPr/>
            <p:nvPr/>
          </p:nvSpPr>
          <p:spPr>
            <a:xfrm>
              <a:off x="9652884" y="4052268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D16B6353-3035-4634-8FE9-79A68D568E57}"/>
                </a:ext>
              </a:extLst>
            </p:cNvPr>
            <p:cNvSpPr/>
            <p:nvPr/>
          </p:nvSpPr>
          <p:spPr>
            <a:xfrm>
              <a:off x="9307213" y="4054417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457E954E-E0B1-40A7-A3B8-2E670A524D98}"/>
                </a:ext>
              </a:extLst>
            </p:cNvPr>
            <p:cNvSpPr/>
            <p:nvPr/>
          </p:nvSpPr>
          <p:spPr>
            <a:xfrm>
              <a:off x="8780279" y="4172972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C54021B3-96B4-4B6A-A1ED-8B22D5F719A9}"/>
                </a:ext>
              </a:extLst>
            </p:cNvPr>
            <p:cNvSpPr/>
            <p:nvPr/>
          </p:nvSpPr>
          <p:spPr>
            <a:xfrm>
              <a:off x="8722695" y="4054417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19F1331E-507F-4C9D-B50A-4BF59D7F8390}"/>
                </a:ext>
              </a:extLst>
            </p:cNvPr>
            <p:cNvSpPr/>
            <p:nvPr/>
          </p:nvSpPr>
          <p:spPr>
            <a:xfrm>
              <a:off x="9214268" y="3817387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544624C1-1200-4072-91C1-82EA0DC3AEB3}"/>
                </a:ext>
              </a:extLst>
            </p:cNvPr>
            <p:cNvSpPr/>
            <p:nvPr/>
          </p:nvSpPr>
          <p:spPr>
            <a:xfrm>
              <a:off x="9411889" y="3817387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4B53EA99-DD79-4430-BBF0-19D3C494A158}"/>
                </a:ext>
              </a:extLst>
            </p:cNvPr>
            <p:cNvSpPr/>
            <p:nvPr/>
          </p:nvSpPr>
          <p:spPr>
            <a:xfrm>
              <a:off x="9383964" y="3698832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8E86D706-972E-4DC7-864D-FAD54CEB38FF}"/>
                </a:ext>
              </a:extLst>
            </p:cNvPr>
            <p:cNvSpPr/>
            <p:nvPr/>
          </p:nvSpPr>
          <p:spPr>
            <a:xfrm>
              <a:off x="9314979" y="3580276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D838B42F-2C6E-440F-AC67-C04BAD335605}"/>
                </a:ext>
              </a:extLst>
            </p:cNvPr>
            <p:cNvSpPr/>
            <p:nvPr/>
          </p:nvSpPr>
          <p:spPr>
            <a:xfrm>
              <a:off x="9314979" y="3461719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62264D80-5F59-42EF-95B4-58E80F099EF8}"/>
                </a:ext>
              </a:extLst>
            </p:cNvPr>
            <p:cNvSpPr/>
            <p:nvPr/>
          </p:nvSpPr>
          <p:spPr>
            <a:xfrm>
              <a:off x="9277718" y="3224690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A1671E5-8250-4F76-9849-4ECFA314B41A}"/>
                </a:ext>
              </a:extLst>
            </p:cNvPr>
            <p:cNvSpPr/>
            <p:nvPr/>
          </p:nvSpPr>
          <p:spPr>
            <a:xfrm>
              <a:off x="7294654" y="3224690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151B5798-4AA7-4181-9163-4459588714C2}"/>
                </a:ext>
              </a:extLst>
            </p:cNvPr>
            <p:cNvSpPr/>
            <p:nvPr/>
          </p:nvSpPr>
          <p:spPr>
            <a:xfrm>
              <a:off x="7216249" y="3106134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55F59BDC-A040-44C1-AC7E-A5F46593DE6C}"/>
                </a:ext>
              </a:extLst>
            </p:cNvPr>
            <p:cNvSpPr/>
            <p:nvPr/>
          </p:nvSpPr>
          <p:spPr>
            <a:xfrm>
              <a:off x="8654453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CD1AC5B2-97B2-4E50-A0EF-878E50E6BE6A}"/>
                </a:ext>
              </a:extLst>
            </p:cNvPr>
            <p:cNvSpPr/>
            <p:nvPr/>
          </p:nvSpPr>
          <p:spPr>
            <a:xfrm>
              <a:off x="8449231" y="3343246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E148F5E6-A89B-42FF-BB69-6F8FD85578B9}"/>
                </a:ext>
              </a:extLst>
            </p:cNvPr>
            <p:cNvSpPr/>
            <p:nvPr/>
          </p:nvSpPr>
          <p:spPr>
            <a:xfrm>
              <a:off x="7767803" y="3343246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C89E8B45-EE17-4CA0-B327-88F5CE4C4E63}"/>
                </a:ext>
              </a:extLst>
            </p:cNvPr>
            <p:cNvSpPr/>
            <p:nvPr/>
          </p:nvSpPr>
          <p:spPr>
            <a:xfrm>
              <a:off x="8124215" y="3817387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1241096E-9D57-44C6-89B2-7FF56CB480F2}"/>
                </a:ext>
              </a:extLst>
            </p:cNvPr>
            <p:cNvSpPr/>
            <p:nvPr/>
          </p:nvSpPr>
          <p:spPr>
            <a:xfrm>
              <a:off x="6557707" y="616873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AEEF3499-6579-42F2-8436-58D9C73C8A1E}"/>
                </a:ext>
              </a:extLst>
            </p:cNvPr>
            <p:cNvSpPr/>
            <p:nvPr/>
          </p:nvSpPr>
          <p:spPr>
            <a:xfrm>
              <a:off x="6722446" y="616873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D96181C2-B219-4029-A75A-4EE2D2B68030}"/>
                </a:ext>
              </a:extLst>
            </p:cNvPr>
            <p:cNvSpPr/>
            <p:nvPr/>
          </p:nvSpPr>
          <p:spPr>
            <a:xfrm>
              <a:off x="6831831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77C6B3B8-A36F-448B-B6AF-860D38223215}"/>
                </a:ext>
              </a:extLst>
            </p:cNvPr>
            <p:cNvSpPr/>
            <p:nvPr/>
          </p:nvSpPr>
          <p:spPr>
            <a:xfrm>
              <a:off x="7429981" y="498317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49993F80-0EE0-4A62-8137-72E9B336134C}"/>
                </a:ext>
              </a:extLst>
            </p:cNvPr>
            <p:cNvSpPr/>
            <p:nvPr/>
          </p:nvSpPr>
          <p:spPr>
            <a:xfrm>
              <a:off x="7673124" y="498317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190C93D-23D1-4CEA-8EDF-954184ED0C65}"/>
                </a:ext>
              </a:extLst>
            </p:cNvPr>
            <p:cNvSpPr/>
            <p:nvPr/>
          </p:nvSpPr>
          <p:spPr>
            <a:xfrm>
              <a:off x="7673124" y="616873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C1ED0D9-0144-44CF-BFBD-C9A5D39A1B9E}"/>
                </a:ext>
              </a:extLst>
            </p:cNvPr>
            <p:cNvSpPr/>
            <p:nvPr/>
          </p:nvSpPr>
          <p:spPr>
            <a:xfrm>
              <a:off x="7783418" y="735428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3018030C-F5E4-4C6C-91DD-F4075DBC90CD}"/>
                </a:ext>
              </a:extLst>
            </p:cNvPr>
            <p:cNvSpPr/>
            <p:nvPr/>
          </p:nvSpPr>
          <p:spPr>
            <a:xfrm>
              <a:off x="7624793" y="853902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E1E3EDBC-811D-4597-AC9E-5FC8AE2CA104}"/>
                </a:ext>
              </a:extLst>
            </p:cNvPr>
            <p:cNvSpPr/>
            <p:nvPr/>
          </p:nvSpPr>
          <p:spPr>
            <a:xfrm>
              <a:off x="7562334" y="972458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9E7540C1-9E1E-47FC-A075-0C96FA91BA97}"/>
                </a:ext>
              </a:extLst>
            </p:cNvPr>
            <p:cNvSpPr/>
            <p:nvPr/>
          </p:nvSpPr>
          <p:spPr>
            <a:xfrm>
              <a:off x="7504997" y="1091014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22F91219-7E22-45CA-AC3A-D09DB8AD649F}"/>
                </a:ext>
              </a:extLst>
            </p:cNvPr>
            <p:cNvSpPr/>
            <p:nvPr/>
          </p:nvSpPr>
          <p:spPr>
            <a:xfrm>
              <a:off x="7389746" y="1209570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96B767B1-AA9C-4103-95A0-8BD88916A5C6}"/>
                </a:ext>
              </a:extLst>
            </p:cNvPr>
            <p:cNvSpPr/>
            <p:nvPr/>
          </p:nvSpPr>
          <p:spPr>
            <a:xfrm>
              <a:off x="7263590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CB32DFE7-2594-43DC-9AF8-5C3183F71B8D}"/>
                </a:ext>
              </a:extLst>
            </p:cNvPr>
            <p:cNvSpPr/>
            <p:nvPr/>
          </p:nvSpPr>
          <p:spPr>
            <a:xfrm>
              <a:off x="6896438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12FC653D-4CD4-409D-B3A3-1C353EE88BA7}"/>
                </a:ext>
              </a:extLst>
            </p:cNvPr>
            <p:cNvSpPr/>
            <p:nvPr/>
          </p:nvSpPr>
          <p:spPr>
            <a:xfrm>
              <a:off x="6937829" y="1328044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E789AFEE-ADAE-4AE9-A415-631EFD146936}"/>
                </a:ext>
              </a:extLst>
            </p:cNvPr>
            <p:cNvSpPr/>
            <p:nvPr/>
          </p:nvSpPr>
          <p:spPr>
            <a:xfrm>
              <a:off x="6896438" y="1091014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C95B7F38-D01A-475F-BA76-6EE88E1B9361}"/>
                </a:ext>
              </a:extLst>
            </p:cNvPr>
            <p:cNvSpPr/>
            <p:nvPr/>
          </p:nvSpPr>
          <p:spPr>
            <a:xfrm>
              <a:off x="6972363" y="972458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D251DEC8-D10A-4B30-9D24-88766D0F2B97}"/>
                </a:ext>
              </a:extLst>
            </p:cNvPr>
            <p:cNvSpPr/>
            <p:nvPr/>
          </p:nvSpPr>
          <p:spPr>
            <a:xfrm>
              <a:off x="7079187" y="853902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90E41C8B-8BCD-4E21-8B19-C3A9D60E3772}"/>
                </a:ext>
              </a:extLst>
            </p:cNvPr>
            <p:cNvSpPr/>
            <p:nvPr/>
          </p:nvSpPr>
          <p:spPr>
            <a:xfrm>
              <a:off x="9917673" y="1328044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2ECF22D-66FD-447D-97D6-A89F41A1306E}"/>
                </a:ext>
              </a:extLst>
            </p:cNvPr>
            <p:cNvSpPr/>
            <p:nvPr/>
          </p:nvSpPr>
          <p:spPr>
            <a:xfrm>
              <a:off x="7445926" y="1328044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8D109E12-2744-4D48-B71A-0021548A0B65}"/>
                </a:ext>
              </a:extLst>
            </p:cNvPr>
            <p:cNvSpPr/>
            <p:nvPr/>
          </p:nvSpPr>
          <p:spPr>
            <a:xfrm>
              <a:off x="7512350" y="1446599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7575E6DB-2BA6-46F0-86FD-281EA27EFAE5}"/>
                </a:ext>
              </a:extLst>
            </p:cNvPr>
            <p:cNvSpPr/>
            <p:nvPr/>
          </p:nvSpPr>
          <p:spPr>
            <a:xfrm>
              <a:off x="9908584" y="1446599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37A850B5-D501-4D75-BCB0-0B0EE9AB98ED}"/>
                </a:ext>
              </a:extLst>
            </p:cNvPr>
            <p:cNvSpPr/>
            <p:nvPr/>
          </p:nvSpPr>
          <p:spPr>
            <a:xfrm>
              <a:off x="9862236" y="1683711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47DF7EF5-642F-46E1-9B02-BB9FE2D79F6E}"/>
                </a:ext>
              </a:extLst>
            </p:cNvPr>
            <p:cNvSpPr/>
            <p:nvPr/>
          </p:nvSpPr>
          <p:spPr>
            <a:xfrm>
              <a:off x="6706749" y="1683711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770ABA74-34CA-4DB8-AADC-202077337818}"/>
                </a:ext>
              </a:extLst>
            </p:cNvPr>
            <p:cNvSpPr/>
            <p:nvPr/>
          </p:nvSpPr>
          <p:spPr>
            <a:xfrm>
              <a:off x="9862236" y="1802267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8828F853-FF59-4054-A56E-2FDBADC6EDC5}"/>
                </a:ext>
              </a:extLst>
            </p:cNvPr>
            <p:cNvSpPr/>
            <p:nvPr/>
          </p:nvSpPr>
          <p:spPr>
            <a:xfrm>
              <a:off x="9947993" y="1920740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1B163207-735B-4216-ABE5-1C8E4C3F31A4}"/>
                </a:ext>
              </a:extLst>
            </p:cNvPr>
            <p:cNvSpPr/>
            <p:nvPr/>
          </p:nvSpPr>
          <p:spPr>
            <a:xfrm>
              <a:off x="9908584" y="1565155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5DD30E0D-84E9-43B9-A529-A39A97FAFB73}"/>
                </a:ext>
              </a:extLst>
            </p:cNvPr>
            <p:cNvSpPr/>
            <p:nvPr/>
          </p:nvSpPr>
          <p:spPr>
            <a:xfrm>
              <a:off x="6886028" y="1565155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3F5E8788-0934-41EA-BF9A-B1F6B9054B8A}"/>
                </a:ext>
              </a:extLst>
            </p:cNvPr>
            <p:cNvSpPr/>
            <p:nvPr/>
          </p:nvSpPr>
          <p:spPr>
            <a:xfrm>
              <a:off x="6759458" y="1565155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BC268E7D-5C7E-4D44-9C03-E9E8564CCB01}"/>
                </a:ext>
              </a:extLst>
            </p:cNvPr>
            <p:cNvSpPr/>
            <p:nvPr/>
          </p:nvSpPr>
          <p:spPr>
            <a:xfrm>
              <a:off x="6090257" y="1565155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4C2B3D8B-AB04-4E11-9FAC-38A371422D45}"/>
                </a:ext>
              </a:extLst>
            </p:cNvPr>
            <p:cNvSpPr/>
            <p:nvPr/>
          </p:nvSpPr>
          <p:spPr>
            <a:xfrm>
              <a:off x="6025982" y="1683711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8975ACA8-178C-4AC8-A4C1-1CCD59A46820}"/>
                </a:ext>
              </a:extLst>
            </p:cNvPr>
            <p:cNvSpPr/>
            <p:nvPr/>
          </p:nvSpPr>
          <p:spPr>
            <a:xfrm>
              <a:off x="5950138" y="1802267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60B01A1F-D2E5-44E7-A15E-DC0C7EEB2D23}"/>
                </a:ext>
              </a:extLst>
            </p:cNvPr>
            <p:cNvSpPr/>
            <p:nvPr/>
          </p:nvSpPr>
          <p:spPr>
            <a:xfrm>
              <a:off x="5845462" y="1920740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62DCC062-BFB3-4E32-87F5-1DB48EDF4686}"/>
                </a:ext>
              </a:extLst>
            </p:cNvPr>
            <p:cNvSpPr/>
            <p:nvPr/>
          </p:nvSpPr>
          <p:spPr>
            <a:xfrm>
              <a:off x="5845462" y="2039296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32A33B78-E273-465C-BE31-BF71BEB3500E}"/>
                </a:ext>
              </a:extLst>
            </p:cNvPr>
            <p:cNvSpPr/>
            <p:nvPr/>
          </p:nvSpPr>
          <p:spPr>
            <a:xfrm>
              <a:off x="5556301" y="2039296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D169B4BC-B78E-4896-84FA-5448597C0043}"/>
                </a:ext>
              </a:extLst>
            </p:cNvPr>
            <p:cNvSpPr/>
            <p:nvPr/>
          </p:nvSpPr>
          <p:spPr>
            <a:xfrm>
              <a:off x="5512762" y="2157852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01D50A94-86F3-47A3-A691-5B2746B40113}"/>
                </a:ext>
              </a:extLst>
            </p:cNvPr>
            <p:cNvSpPr/>
            <p:nvPr/>
          </p:nvSpPr>
          <p:spPr>
            <a:xfrm>
              <a:off x="5940059" y="2157852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8D9FB73C-777B-40F4-B054-43FEE61A1583}"/>
                </a:ext>
              </a:extLst>
            </p:cNvPr>
            <p:cNvSpPr/>
            <p:nvPr/>
          </p:nvSpPr>
          <p:spPr>
            <a:xfrm>
              <a:off x="6059689" y="2157852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4A35F351-8398-4F06-A10B-F51D994A4C52}"/>
                </a:ext>
              </a:extLst>
            </p:cNvPr>
            <p:cNvSpPr/>
            <p:nvPr/>
          </p:nvSpPr>
          <p:spPr>
            <a:xfrm>
              <a:off x="5607277" y="2276408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CB17751A-F65A-4136-B23B-60F5F18BAF0C}"/>
                </a:ext>
              </a:extLst>
            </p:cNvPr>
            <p:cNvSpPr/>
            <p:nvPr/>
          </p:nvSpPr>
          <p:spPr>
            <a:xfrm>
              <a:off x="5457244" y="2276408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777FA179-4D80-4207-B079-0F11ADE5FFB7}"/>
                </a:ext>
              </a:extLst>
            </p:cNvPr>
            <p:cNvSpPr/>
            <p:nvPr/>
          </p:nvSpPr>
          <p:spPr>
            <a:xfrm>
              <a:off x="6008880" y="2039296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7B22C429-F7C2-4957-A552-A63083E57969}"/>
                </a:ext>
              </a:extLst>
            </p:cNvPr>
            <p:cNvSpPr/>
            <p:nvPr/>
          </p:nvSpPr>
          <p:spPr>
            <a:xfrm>
              <a:off x="6259293" y="1802267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5FBE3B05-0E11-4FB3-8637-E0B9C161D8D1}"/>
                </a:ext>
              </a:extLst>
            </p:cNvPr>
            <p:cNvSpPr/>
            <p:nvPr/>
          </p:nvSpPr>
          <p:spPr>
            <a:xfrm>
              <a:off x="6259293" y="1920740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0847BCF5-A478-416B-90FF-467670628BA5}"/>
                </a:ext>
              </a:extLst>
            </p:cNvPr>
            <p:cNvSpPr/>
            <p:nvPr/>
          </p:nvSpPr>
          <p:spPr>
            <a:xfrm>
              <a:off x="6329435" y="2039296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86DF8129-3E42-4CBC-8CF0-AC4CAF27EA46}"/>
                </a:ext>
              </a:extLst>
            </p:cNvPr>
            <p:cNvSpPr/>
            <p:nvPr/>
          </p:nvSpPr>
          <p:spPr>
            <a:xfrm>
              <a:off x="6274742" y="2157852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17D117B2-EB38-4D8D-A2E7-62276F01C0E2}"/>
                </a:ext>
              </a:extLst>
            </p:cNvPr>
            <p:cNvSpPr/>
            <p:nvPr/>
          </p:nvSpPr>
          <p:spPr>
            <a:xfrm>
              <a:off x="5850172" y="2276408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7C02FED0-D868-49DA-8BD1-1B54877DD7E4}"/>
                </a:ext>
              </a:extLst>
            </p:cNvPr>
            <p:cNvSpPr/>
            <p:nvPr/>
          </p:nvSpPr>
          <p:spPr>
            <a:xfrm>
              <a:off x="5757475" y="2394881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4F5D1842-6FAD-4EFB-8D4A-31CFF7EE3FDF}"/>
                </a:ext>
              </a:extLst>
            </p:cNvPr>
            <p:cNvSpPr/>
            <p:nvPr/>
          </p:nvSpPr>
          <p:spPr>
            <a:xfrm>
              <a:off x="7197909" y="2513438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49742284-BC98-4F46-974F-D3CCB0C3D38D}"/>
                </a:ext>
              </a:extLst>
            </p:cNvPr>
            <p:cNvSpPr/>
            <p:nvPr/>
          </p:nvSpPr>
          <p:spPr>
            <a:xfrm>
              <a:off x="6781021" y="2513438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F23D0B09-E16C-4E45-AF56-BE60018B7E84}"/>
                </a:ext>
              </a:extLst>
            </p:cNvPr>
            <p:cNvSpPr/>
            <p:nvPr/>
          </p:nvSpPr>
          <p:spPr>
            <a:xfrm>
              <a:off x="5670561" y="251343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1A3CDB61-299A-4210-844E-519759C408CA}"/>
                </a:ext>
              </a:extLst>
            </p:cNvPr>
            <p:cNvSpPr/>
            <p:nvPr/>
          </p:nvSpPr>
          <p:spPr>
            <a:xfrm>
              <a:off x="5483516" y="2631993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2DC737CA-6B74-42F9-B4D0-B2D5E60363FE}"/>
                </a:ext>
              </a:extLst>
            </p:cNvPr>
            <p:cNvSpPr/>
            <p:nvPr/>
          </p:nvSpPr>
          <p:spPr>
            <a:xfrm>
              <a:off x="6013423" y="2631993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57ABB879-8ABB-4BB2-A0DB-AF0C555B8A7D}"/>
                </a:ext>
              </a:extLst>
            </p:cNvPr>
            <p:cNvSpPr/>
            <p:nvPr/>
          </p:nvSpPr>
          <p:spPr>
            <a:xfrm>
              <a:off x="6177832" y="2631993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343D6116-36BF-421D-95A5-BBC9FCCC46AB}"/>
                </a:ext>
              </a:extLst>
            </p:cNvPr>
            <p:cNvSpPr/>
            <p:nvPr/>
          </p:nvSpPr>
          <p:spPr>
            <a:xfrm>
              <a:off x="6858681" y="2631993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2791757B-A438-4DB3-A9ED-7C47CEBEB019}"/>
                </a:ext>
              </a:extLst>
            </p:cNvPr>
            <p:cNvSpPr/>
            <p:nvPr/>
          </p:nvSpPr>
          <p:spPr>
            <a:xfrm>
              <a:off x="7197909" y="2631993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21CC5389-7EDD-418D-940B-028901733AE8}"/>
                </a:ext>
              </a:extLst>
            </p:cNvPr>
            <p:cNvSpPr/>
            <p:nvPr/>
          </p:nvSpPr>
          <p:spPr>
            <a:xfrm>
              <a:off x="7225833" y="2750549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8046CADE-AAE0-403F-8125-5AEC8397EFC0}"/>
                </a:ext>
              </a:extLst>
            </p:cNvPr>
            <p:cNvSpPr/>
            <p:nvPr/>
          </p:nvSpPr>
          <p:spPr>
            <a:xfrm>
              <a:off x="5483516" y="2750549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A9C88705-665E-46F4-8E2C-AAC94F49285E}"/>
                </a:ext>
              </a:extLst>
            </p:cNvPr>
            <p:cNvSpPr/>
            <p:nvPr/>
          </p:nvSpPr>
          <p:spPr>
            <a:xfrm>
              <a:off x="5961457" y="2750549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CDC75E34-C689-4007-A9BA-3B3A5FC6F8D1}"/>
                </a:ext>
              </a:extLst>
            </p:cNvPr>
            <p:cNvSpPr/>
            <p:nvPr/>
          </p:nvSpPr>
          <p:spPr>
            <a:xfrm>
              <a:off x="613916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75967F31-CE0F-437C-BAE9-96D2BEDEEE4E}"/>
                </a:ext>
              </a:extLst>
            </p:cNvPr>
            <p:cNvSpPr/>
            <p:nvPr/>
          </p:nvSpPr>
          <p:spPr>
            <a:xfrm>
              <a:off x="629035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AC211E59-1CF2-497F-B1E9-4FC828D18EAD}"/>
                </a:ext>
              </a:extLst>
            </p:cNvPr>
            <p:cNvSpPr/>
            <p:nvPr/>
          </p:nvSpPr>
          <p:spPr>
            <a:xfrm>
              <a:off x="6485995" y="2750549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5D567AF5-37E1-489C-A89D-50D558B30BDE}"/>
                </a:ext>
              </a:extLst>
            </p:cNvPr>
            <p:cNvSpPr/>
            <p:nvPr/>
          </p:nvSpPr>
          <p:spPr>
            <a:xfrm>
              <a:off x="9664120" y="2157852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03577A1E-6813-40FB-918C-6C8EA1CCBC6C}"/>
                </a:ext>
              </a:extLst>
            </p:cNvPr>
            <p:cNvSpPr/>
            <p:nvPr/>
          </p:nvSpPr>
          <p:spPr>
            <a:xfrm>
              <a:off x="9664120" y="2147938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A9D42EC8-5965-4361-9871-893053BE8E47}"/>
                </a:ext>
              </a:extLst>
            </p:cNvPr>
            <p:cNvSpPr/>
            <p:nvPr/>
          </p:nvSpPr>
          <p:spPr>
            <a:xfrm>
              <a:off x="9664120" y="2276408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13DF1252-3D7A-4DD1-A635-57969B765142}"/>
                </a:ext>
              </a:extLst>
            </p:cNvPr>
            <p:cNvSpPr/>
            <p:nvPr/>
          </p:nvSpPr>
          <p:spPr>
            <a:xfrm>
              <a:off x="9710468" y="2394881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4678AF50-1DEC-4172-8BF0-AE962D5C2186}"/>
                </a:ext>
              </a:extLst>
            </p:cNvPr>
            <p:cNvSpPr/>
            <p:nvPr/>
          </p:nvSpPr>
          <p:spPr>
            <a:xfrm>
              <a:off x="9710468" y="2386702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569F0A96-07F3-4297-B626-A85E1AA6EF25}"/>
                </a:ext>
              </a:extLst>
            </p:cNvPr>
            <p:cNvSpPr/>
            <p:nvPr/>
          </p:nvSpPr>
          <p:spPr>
            <a:xfrm>
              <a:off x="9693284" y="2513438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69C6D12F-32D1-4FDC-A0B9-6F5A837FD9AB}"/>
                </a:ext>
              </a:extLst>
            </p:cNvPr>
            <p:cNvSpPr/>
            <p:nvPr/>
          </p:nvSpPr>
          <p:spPr>
            <a:xfrm>
              <a:off x="9718069" y="2631993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D02787CC-5BA1-43D8-A06F-D1D5D05A7AC4}"/>
                </a:ext>
              </a:extLst>
            </p:cNvPr>
            <p:cNvSpPr/>
            <p:nvPr/>
          </p:nvSpPr>
          <p:spPr>
            <a:xfrm>
              <a:off x="9664120" y="2750549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10BC4CE9-DE6E-4E5D-97C3-92240696D5E7}"/>
                </a:ext>
              </a:extLst>
            </p:cNvPr>
            <p:cNvSpPr/>
            <p:nvPr/>
          </p:nvSpPr>
          <p:spPr>
            <a:xfrm>
              <a:off x="9376364" y="2750549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0D5125AB-A7A0-4454-AD68-2DECE2EED4FA}"/>
                </a:ext>
              </a:extLst>
            </p:cNvPr>
            <p:cNvSpPr/>
            <p:nvPr/>
          </p:nvSpPr>
          <p:spPr>
            <a:xfrm>
              <a:off x="9228065" y="2631993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CEE09ABB-1E5A-46AE-895E-AFC957725ADE}"/>
                </a:ext>
              </a:extLst>
            </p:cNvPr>
            <p:cNvSpPr/>
            <p:nvPr/>
          </p:nvSpPr>
          <p:spPr>
            <a:xfrm>
              <a:off x="6337862" y="1683711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699AB967-2F68-4AFD-B48A-F9D8E69C08A2}"/>
                </a:ext>
              </a:extLst>
            </p:cNvPr>
            <p:cNvSpPr/>
            <p:nvPr/>
          </p:nvSpPr>
          <p:spPr>
            <a:xfrm>
              <a:off x="7139581" y="1446599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2B44C328-16FE-40C7-97EE-527B1E793B44}"/>
                </a:ext>
              </a:extLst>
            </p:cNvPr>
            <p:cNvSpPr/>
            <p:nvPr/>
          </p:nvSpPr>
          <p:spPr>
            <a:xfrm>
              <a:off x="6158830" y="1446599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ABCB6B72-7489-48AC-87EF-95C917AADC64}"/>
                </a:ext>
              </a:extLst>
            </p:cNvPr>
            <p:cNvSpPr/>
            <p:nvPr/>
          </p:nvSpPr>
          <p:spPr>
            <a:xfrm>
              <a:off x="7263590" y="1328044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ABAD8DCF-9307-49E7-8661-5FAD2B75B86F}"/>
                </a:ext>
              </a:extLst>
            </p:cNvPr>
            <p:cNvSpPr/>
            <p:nvPr/>
          </p:nvSpPr>
          <p:spPr>
            <a:xfrm>
              <a:off x="8836377" y="735428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F3F8A0B4-958F-4DB3-8060-03C919CFFEF9}"/>
                </a:ext>
              </a:extLst>
            </p:cNvPr>
            <p:cNvSpPr/>
            <p:nvPr/>
          </p:nvSpPr>
          <p:spPr>
            <a:xfrm>
              <a:off x="8432377" y="853902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0863673D-F4E9-4C08-87B3-439E87C7EE58}"/>
                </a:ext>
              </a:extLst>
            </p:cNvPr>
            <p:cNvSpPr/>
            <p:nvPr/>
          </p:nvSpPr>
          <p:spPr>
            <a:xfrm>
              <a:off x="8224017" y="853902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984E94FA-87F3-4E4B-9F07-F8BC171998C1}"/>
                </a:ext>
              </a:extLst>
            </p:cNvPr>
            <p:cNvSpPr/>
            <p:nvPr/>
          </p:nvSpPr>
          <p:spPr>
            <a:xfrm>
              <a:off x="9282097" y="735428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D229C772-6DCC-4FA3-BB23-B08BD899A96F}"/>
                </a:ext>
              </a:extLst>
            </p:cNvPr>
            <p:cNvSpPr/>
            <p:nvPr/>
          </p:nvSpPr>
          <p:spPr>
            <a:xfrm>
              <a:off x="9618598" y="735428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2F3387F5-63AF-40B5-93C2-5B5B880A4360}"/>
                </a:ext>
              </a:extLst>
            </p:cNvPr>
            <p:cNvSpPr/>
            <p:nvPr/>
          </p:nvSpPr>
          <p:spPr>
            <a:xfrm>
              <a:off x="8836377" y="853902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4B669A35-5452-4701-B0EB-2B5070E011E8}"/>
                </a:ext>
              </a:extLst>
            </p:cNvPr>
            <p:cNvSpPr/>
            <p:nvPr/>
          </p:nvSpPr>
          <p:spPr>
            <a:xfrm>
              <a:off x="7783418" y="616873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03876FEF-499C-4553-A14A-A3360AD81955}"/>
                </a:ext>
              </a:extLst>
            </p:cNvPr>
            <p:cNvSpPr/>
            <p:nvPr/>
          </p:nvSpPr>
          <p:spPr>
            <a:xfrm>
              <a:off x="8574975" y="498317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92E3F15D-3E32-43F9-BB0B-E8FCABDBE2AB}"/>
                </a:ext>
              </a:extLst>
            </p:cNvPr>
            <p:cNvSpPr/>
            <p:nvPr/>
          </p:nvSpPr>
          <p:spPr>
            <a:xfrm>
              <a:off x="8823983" y="498317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B385C76D-63C9-41C1-882F-3A1F3BC6092E}"/>
                </a:ext>
              </a:extLst>
            </p:cNvPr>
            <p:cNvSpPr/>
            <p:nvPr/>
          </p:nvSpPr>
          <p:spPr>
            <a:xfrm>
              <a:off x="7398504" y="379761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2CF555C1-0DA2-48AA-A314-F6F1FC128349}"/>
                </a:ext>
              </a:extLst>
            </p:cNvPr>
            <p:cNvSpPr/>
            <p:nvPr/>
          </p:nvSpPr>
          <p:spPr>
            <a:xfrm>
              <a:off x="6722446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64057116"/>
      </p:ext>
    </p:extLst>
  </p:cSld>
  <p:clrMapOvr>
    <a:masterClrMapping/>
  </p:clrMapOvr>
  <p:transition spd="slow"/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FB9AD87-EABA-448B-A8D5-4D4C32574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North America highlighted</a:t>
            </a:r>
            <a:endParaRPr lang="en-US" dirty="0"/>
          </a:p>
        </p:txBody>
      </p:sp>
      <p:sp>
        <p:nvSpPr>
          <p:cNvPr id="546" name="Text Placeholder 54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52" name="Date Placeholder 55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53" name="Footer Placeholder 55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554" name="Slide Number Placeholder 55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4</a:t>
            </a:fld>
            <a:endParaRPr lang="en-US" dirty="0"/>
          </a:p>
        </p:txBody>
      </p:sp>
      <p:grpSp>
        <p:nvGrpSpPr>
          <p:cNvPr id="571" name="Gruppieren 570">
            <a:extLst>
              <a:ext uri="{FF2B5EF4-FFF2-40B4-BE49-F238E27FC236}">
                <a16:creationId xmlns:a16="http://schemas.microsoft.com/office/drawing/2014/main" id="{FA18A959-8E47-4B5F-AF7A-406E8F2888A8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1299607" y="261288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7E7491B8-7265-42CE-A036-8B593F85AA34}"/>
                </a:ext>
              </a:extLst>
            </p:cNvPr>
            <p:cNvSpPr/>
            <p:nvPr/>
          </p:nvSpPr>
          <p:spPr>
            <a:xfrm>
              <a:off x="4068611" y="379761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BF121EDE-517A-4EB5-AD1C-0534BFFE2BA4}"/>
                </a:ext>
              </a:extLst>
            </p:cNvPr>
            <p:cNvSpPr/>
            <p:nvPr/>
          </p:nvSpPr>
          <p:spPr>
            <a:xfrm>
              <a:off x="3511109" y="3698832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ABE6C517-99B4-4656-8E36-F86A29ACC585}"/>
                </a:ext>
              </a:extLst>
            </p:cNvPr>
            <p:cNvSpPr/>
            <p:nvPr/>
          </p:nvSpPr>
          <p:spPr>
            <a:xfrm>
              <a:off x="3346369" y="4054417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C64169C-3A8D-43F4-8F79-8B5CE59EA383}"/>
                </a:ext>
              </a:extLst>
            </p:cNvPr>
            <p:cNvSpPr/>
            <p:nvPr/>
          </p:nvSpPr>
          <p:spPr>
            <a:xfrm>
              <a:off x="3337199" y="4172972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B3C6E986-926E-4D40-BCA0-BF3A7511E117}"/>
                </a:ext>
              </a:extLst>
            </p:cNvPr>
            <p:cNvSpPr/>
            <p:nvPr/>
          </p:nvSpPr>
          <p:spPr>
            <a:xfrm>
              <a:off x="3448897" y="4410084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C573D40-D5B1-4A49-B197-D67193CD43E3}"/>
                </a:ext>
              </a:extLst>
            </p:cNvPr>
            <p:cNvSpPr/>
            <p:nvPr/>
          </p:nvSpPr>
          <p:spPr>
            <a:xfrm>
              <a:off x="3542668" y="4528557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25344B4-9147-4D00-A621-6AEF1C158E2E}"/>
                </a:ext>
              </a:extLst>
            </p:cNvPr>
            <p:cNvSpPr/>
            <p:nvPr/>
          </p:nvSpPr>
          <p:spPr>
            <a:xfrm>
              <a:off x="3666429" y="4765670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3D3719B-8B2B-4DCF-8A83-76F67AF74661}"/>
                </a:ext>
              </a:extLst>
            </p:cNvPr>
            <p:cNvSpPr/>
            <p:nvPr/>
          </p:nvSpPr>
          <p:spPr>
            <a:xfrm>
              <a:off x="3666429" y="5002699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651FF87B-13B4-4931-99B5-2D28CED7B120}"/>
                </a:ext>
              </a:extLst>
            </p:cNvPr>
            <p:cNvSpPr/>
            <p:nvPr/>
          </p:nvSpPr>
          <p:spPr>
            <a:xfrm>
              <a:off x="3666429" y="5239811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0727CA6-3122-42D2-8DF3-361A87D50B3D}"/>
                </a:ext>
              </a:extLst>
            </p:cNvPr>
            <p:cNvSpPr/>
            <p:nvPr/>
          </p:nvSpPr>
          <p:spPr>
            <a:xfrm>
              <a:off x="3666429" y="5595396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DC4DEBA-43E3-4959-BB62-91FAE8ED3C64}"/>
                </a:ext>
              </a:extLst>
            </p:cNvPr>
            <p:cNvSpPr/>
            <p:nvPr/>
          </p:nvSpPr>
          <p:spPr>
            <a:xfrm>
              <a:off x="3666429" y="5476922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FD08E0B-69ED-4A44-9C70-E579EDD6B8E3}"/>
                </a:ext>
              </a:extLst>
            </p:cNvPr>
            <p:cNvSpPr/>
            <p:nvPr/>
          </p:nvSpPr>
          <p:spPr>
            <a:xfrm>
              <a:off x="3666429" y="4884225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472EDD3E-B9A8-4D18-8115-6F58DBC56FDB}"/>
                </a:ext>
              </a:extLst>
            </p:cNvPr>
            <p:cNvSpPr/>
            <p:nvPr/>
          </p:nvSpPr>
          <p:spPr>
            <a:xfrm>
              <a:off x="3666429" y="5121255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51B785D-D66A-45A8-9F66-31AA8A18B3ED}"/>
                </a:ext>
              </a:extLst>
            </p:cNvPr>
            <p:cNvSpPr/>
            <p:nvPr/>
          </p:nvSpPr>
          <p:spPr>
            <a:xfrm>
              <a:off x="3666429" y="5358366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3B0A710-CC0F-4923-8F3E-F83E2DE82F95}"/>
                </a:ext>
              </a:extLst>
            </p:cNvPr>
            <p:cNvSpPr/>
            <p:nvPr/>
          </p:nvSpPr>
          <p:spPr>
            <a:xfrm>
              <a:off x="3666429" y="4647113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588B2CA-3751-48BE-8A03-6721014EAF11}"/>
                </a:ext>
              </a:extLst>
            </p:cNvPr>
            <p:cNvSpPr/>
            <p:nvPr/>
          </p:nvSpPr>
          <p:spPr>
            <a:xfrm>
              <a:off x="3400814" y="4291528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FAABFAE0-557F-49BA-BBCF-9C7090CF5425}"/>
                </a:ext>
              </a:extLst>
            </p:cNvPr>
            <p:cNvSpPr/>
            <p:nvPr/>
          </p:nvSpPr>
          <p:spPr>
            <a:xfrm>
              <a:off x="3440801" y="3935943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33DC1B14-DC93-4897-B472-CC30EA313BB1}"/>
                </a:ext>
              </a:extLst>
            </p:cNvPr>
            <p:cNvSpPr/>
            <p:nvPr/>
          </p:nvSpPr>
          <p:spPr>
            <a:xfrm>
              <a:off x="3440801" y="3817387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F4F42073-88DF-446C-93AC-A720012EC646}"/>
                </a:ext>
              </a:extLst>
            </p:cNvPr>
            <p:cNvSpPr/>
            <p:nvPr/>
          </p:nvSpPr>
          <p:spPr>
            <a:xfrm>
              <a:off x="3838108" y="5951064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1ECE7722-CDAD-4A2C-8C87-4338ACBC5AE3}"/>
                </a:ext>
              </a:extLst>
            </p:cNvPr>
            <p:cNvSpPr/>
            <p:nvPr/>
          </p:nvSpPr>
          <p:spPr>
            <a:xfrm>
              <a:off x="3733680" y="5832508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827D968E-59EF-449C-B082-0D5CCE5C32DF}"/>
                </a:ext>
              </a:extLst>
            </p:cNvPr>
            <p:cNvSpPr/>
            <p:nvPr/>
          </p:nvSpPr>
          <p:spPr>
            <a:xfrm>
              <a:off x="3666429" y="5713951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D8DEAA5-ECA1-4713-8F0F-5793629B7002}"/>
                </a:ext>
              </a:extLst>
            </p:cNvPr>
            <p:cNvSpPr/>
            <p:nvPr/>
          </p:nvSpPr>
          <p:spPr>
            <a:xfrm>
              <a:off x="10413294" y="5832508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4AAB955B-94AA-4B6A-B01B-B81F27C56E7F}"/>
                </a:ext>
              </a:extLst>
            </p:cNvPr>
            <p:cNvSpPr/>
            <p:nvPr/>
          </p:nvSpPr>
          <p:spPr>
            <a:xfrm>
              <a:off x="10527306" y="5713951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F8B1AE38-FD30-49C3-8DDE-476604910B2D}"/>
                </a:ext>
              </a:extLst>
            </p:cNvPr>
            <p:cNvSpPr/>
            <p:nvPr/>
          </p:nvSpPr>
          <p:spPr>
            <a:xfrm>
              <a:off x="10634048" y="5595396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673FEED-52A5-4584-A1FF-67F61811B439}"/>
                </a:ext>
              </a:extLst>
            </p:cNvPr>
            <p:cNvSpPr/>
            <p:nvPr/>
          </p:nvSpPr>
          <p:spPr>
            <a:xfrm>
              <a:off x="10715260" y="5595396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467C32F-5D9A-4BA3-BDEC-4248E89105B0}"/>
                </a:ext>
              </a:extLst>
            </p:cNvPr>
            <p:cNvSpPr/>
            <p:nvPr/>
          </p:nvSpPr>
          <p:spPr>
            <a:xfrm>
              <a:off x="9847778" y="5595396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FD7EEB7-05B3-43C6-80DE-A4A7D2AE2C9A}"/>
                </a:ext>
              </a:extLst>
            </p:cNvPr>
            <p:cNvSpPr/>
            <p:nvPr/>
          </p:nvSpPr>
          <p:spPr>
            <a:xfrm>
              <a:off x="9752438" y="5358366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CA4BE1E5-4BA3-40B8-8E26-4EE98B89694B}"/>
                </a:ext>
              </a:extLst>
            </p:cNvPr>
            <p:cNvSpPr/>
            <p:nvPr/>
          </p:nvSpPr>
          <p:spPr>
            <a:xfrm>
              <a:off x="9722696" y="5239811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0F4BFF0-41EA-439F-8B91-22694F4E5212}"/>
                </a:ext>
              </a:extLst>
            </p:cNvPr>
            <p:cNvSpPr/>
            <p:nvPr/>
          </p:nvSpPr>
          <p:spPr>
            <a:xfrm>
              <a:off x="9629503" y="5121255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6DF6591F-42F1-47F3-BA78-52E27B0DE755}"/>
                </a:ext>
              </a:extLst>
            </p:cNvPr>
            <p:cNvSpPr/>
            <p:nvPr/>
          </p:nvSpPr>
          <p:spPr>
            <a:xfrm>
              <a:off x="9063491" y="5121255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9DE51BC-05FF-4C4E-9FE7-E8626E0FA59A}"/>
                </a:ext>
              </a:extLst>
            </p:cNvPr>
            <p:cNvSpPr/>
            <p:nvPr/>
          </p:nvSpPr>
          <p:spPr>
            <a:xfrm>
              <a:off x="9063491" y="4884225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A5D358C2-B429-4979-80FB-37D7023653AE}"/>
                </a:ext>
              </a:extLst>
            </p:cNvPr>
            <p:cNvSpPr/>
            <p:nvPr/>
          </p:nvSpPr>
          <p:spPr>
            <a:xfrm>
              <a:off x="9087698" y="4765670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6413696-37AB-4A2D-A63A-34435D6871A8}"/>
                </a:ext>
              </a:extLst>
            </p:cNvPr>
            <p:cNvSpPr/>
            <p:nvPr/>
          </p:nvSpPr>
          <p:spPr>
            <a:xfrm>
              <a:off x="9322745" y="4647113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D6937F40-CB59-44BA-9F8D-C66D02A04979}"/>
                </a:ext>
              </a:extLst>
            </p:cNvPr>
            <p:cNvSpPr/>
            <p:nvPr/>
          </p:nvSpPr>
          <p:spPr>
            <a:xfrm>
              <a:off x="9426182" y="4528557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2D52BB-55C0-4135-96B5-217ACDA958EA}"/>
                </a:ext>
              </a:extLst>
            </p:cNvPr>
            <p:cNvSpPr/>
            <p:nvPr/>
          </p:nvSpPr>
          <p:spPr>
            <a:xfrm>
              <a:off x="9940888" y="4528557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5CE6001-2462-4B75-B878-51F6C32AAD46}"/>
                </a:ext>
              </a:extLst>
            </p:cNvPr>
            <p:cNvSpPr/>
            <p:nvPr/>
          </p:nvSpPr>
          <p:spPr>
            <a:xfrm>
              <a:off x="9940888" y="4410084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82B92318-382A-41E7-894A-996B6C76A951}"/>
                </a:ext>
              </a:extLst>
            </p:cNvPr>
            <p:cNvSpPr/>
            <p:nvPr/>
          </p:nvSpPr>
          <p:spPr>
            <a:xfrm>
              <a:off x="9571589" y="4410084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CA06568-BEB9-4731-87DD-6231360443F1}"/>
                </a:ext>
              </a:extLst>
            </p:cNvPr>
            <p:cNvSpPr/>
            <p:nvPr/>
          </p:nvSpPr>
          <p:spPr>
            <a:xfrm>
              <a:off x="9088029" y="5002699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7D22717-BF81-406D-AEF6-0A8DBE6E91B6}"/>
                </a:ext>
              </a:extLst>
            </p:cNvPr>
            <p:cNvSpPr/>
            <p:nvPr/>
          </p:nvSpPr>
          <p:spPr>
            <a:xfrm>
              <a:off x="10750951" y="5358366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8987496-25DA-4FA0-AA5B-C2AEBA4F17FB}"/>
                </a:ext>
              </a:extLst>
            </p:cNvPr>
            <p:cNvSpPr/>
            <p:nvPr/>
          </p:nvSpPr>
          <p:spPr>
            <a:xfrm>
              <a:off x="10734097" y="5476922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5515E4E7-16AA-4A02-95B4-F269D32BAC1F}"/>
                </a:ext>
              </a:extLst>
            </p:cNvPr>
            <p:cNvSpPr/>
            <p:nvPr/>
          </p:nvSpPr>
          <p:spPr>
            <a:xfrm>
              <a:off x="6220711" y="5002699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25A2BC87-D426-48C9-9181-AE9AD7DC9594}"/>
                </a:ext>
              </a:extLst>
            </p:cNvPr>
            <p:cNvSpPr/>
            <p:nvPr/>
          </p:nvSpPr>
          <p:spPr>
            <a:xfrm>
              <a:off x="6173866" y="4884225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66F33EA3-CD5D-4171-958D-018B3638315E}"/>
                </a:ext>
              </a:extLst>
            </p:cNvPr>
            <p:cNvSpPr/>
            <p:nvPr/>
          </p:nvSpPr>
          <p:spPr>
            <a:xfrm>
              <a:off x="6145528" y="4765670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14FD463C-8373-435D-A23B-1D275C7EFCD1}"/>
                </a:ext>
              </a:extLst>
            </p:cNvPr>
            <p:cNvSpPr/>
            <p:nvPr/>
          </p:nvSpPr>
          <p:spPr>
            <a:xfrm>
              <a:off x="6107855" y="4647113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88AE39-4EBF-4027-9B34-0D958C87362C}"/>
                </a:ext>
              </a:extLst>
            </p:cNvPr>
            <p:cNvSpPr/>
            <p:nvPr/>
          </p:nvSpPr>
          <p:spPr>
            <a:xfrm>
              <a:off x="7030856" y="4647113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F7A2AA6-20F6-4212-B30D-8A896F10843F}"/>
                </a:ext>
              </a:extLst>
            </p:cNvPr>
            <p:cNvSpPr/>
            <p:nvPr/>
          </p:nvSpPr>
          <p:spPr>
            <a:xfrm>
              <a:off x="7030856" y="4528557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A37081DE-F701-4717-A2EF-75B58C42F098}"/>
                </a:ext>
              </a:extLst>
            </p:cNvPr>
            <p:cNvSpPr/>
            <p:nvPr/>
          </p:nvSpPr>
          <p:spPr>
            <a:xfrm>
              <a:off x="7165027" y="4410084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F3723A71-F020-442E-B858-64EB8261ADCF}"/>
                </a:ext>
              </a:extLst>
            </p:cNvPr>
            <p:cNvSpPr/>
            <p:nvPr/>
          </p:nvSpPr>
          <p:spPr>
            <a:xfrm>
              <a:off x="7010036" y="4765670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25E253F-08CB-4AB9-AD19-C88494A2D8DE}"/>
                </a:ext>
              </a:extLst>
            </p:cNvPr>
            <p:cNvSpPr/>
            <p:nvPr/>
          </p:nvSpPr>
          <p:spPr>
            <a:xfrm>
              <a:off x="6075965" y="4528557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2746B0B9-4D6D-4437-9658-45B0B9C5862A}"/>
                </a:ext>
              </a:extLst>
            </p:cNvPr>
            <p:cNvSpPr/>
            <p:nvPr/>
          </p:nvSpPr>
          <p:spPr>
            <a:xfrm>
              <a:off x="6115208" y="4291528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14C9DED7-E2AE-4DAF-8EB7-21F5BC9785AD}"/>
                </a:ext>
              </a:extLst>
            </p:cNvPr>
            <p:cNvSpPr/>
            <p:nvPr/>
          </p:nvSpPr>
          <p:spPr>
            <a:xfrm>
              <a:off x="6072578" y="4172972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3C33A895-855A-4B94-9ED5-B929176D9165}"/>
                </a:ext>
              </a:extLst>
            </p:cNvPr>
            <p:cNvSpPr/>
            <p:nvPr/>
          </p:nvSpPr>
          <p:spPr>
            <a:xfrm>
              <a:off x="5994421" y="4054417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EA0F87F-C837-4511-9871-577AC4607421}"/>
                </a:ext>
              </a:extLst>
            </p:cNvPr>
            <p:cNvSpPr/>
            <p:nvPr/>
          </p:nvSpPr>
          <p:spPr>
            <a:xfrm>
              <a:off x="6026890" y="3935943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F50879B5-8869-4848-9C18-61C023FC46FA}"/>
                </a:ext>
              </a:extLst>
            </p:cNvPr>
            <p:cNvSpPr/>
            <p:nvPr/>
          </p:nvSpPr>
          <p:spPr>
            <a:xfrm>
              <a:off x="5354220" y="3817387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1909D9A0-5CDF-4A87-88C1-8FA6341E604C}"/>
                </a:ext>
              </a:extLst>
            </p:cNvPr>
            <p:cNvSpPr/>
            <p:nvPr/>
          </p:nvSpPr>
          <p:spPr>
            <a:xfrm>
              <a:off x="5250204" y="3698832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AFA0631-637D-4D68-B2EF-8A7DC5F7A1C4}"/>
                </a:ext>
              </a:extLst>
            </p:cNvPr>
            <p:cNvSpPr/>
            <p:nvPr/>
          </p:nvSpPr>
          <p:spPr>
            <a:xfrm>
              <a:off x="5225171" y="3580276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695FBFAE-6D30-4634-8255-20FA77B29508}"/>
                </a:ext>
              </a:extLst>
            </p:cNvPr>
            <p:cNvSpPr/>
            <p:nvPr/>
          </p:nvSpPr>
          <p:spPr>
            <a:xfrm>
              <a:off x="5225171" y="3343246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898A758-B616-4591-B2A8-3E6642D4BD1C}"/>
                </a:ext>
              </a:extLst>
            </p:cNvPr>
            <p:cNvSpPr/>
            <p:nvPr/>
          </p:nvSpPr>
          <p:spPr>
            <a:xfrm>
              <a:off x="5324064" y="3224690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CD09297F-B00D-4EEC-B5B0-78FADB5D2680}"/>
                </a:ext>
              </a:extLst>
            </p:cNvPr>
            <p:cNvSpPr/>
            <p:nvPr/>
          </p:nvSpPr>
          <p:spPr>
            <a:xfrm>
              <a:off x="5436506" y="3106134"/>
              <a:ext cx="1710096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177C0B81-E467-4FED-8103-FE1D5F76B116}"/>
                </a:ext>
              </a:extLst>
            </p:cNvPr>
            <p:cNvSpPr/>
            <p:nvPr/>
          </p:nvSpPr>
          <p:spPr>
            <a:xfrm>
              <a:off x="5542504" y="2987578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7D288BA4-7785-4B4C-B753-CB1332482FF6}"/>
                </a:ext>
              </a:extLst>
            </p:cNvPr>
            <p:cNvSpPr/>
            <p:nvPr/>
          </p:nvSpPr>
          <p:spPr>
            <a:xfrm>
              <a:off x="5776642" y="2869105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6124069-4EA1-4097-B6CC-FD0189B324A6}"/>
                </a:ext>
              </a:extLst>
            </p:cNvPr>
            <p:cNvSpPr/>
            <p:nvPr/>
          </p:nvSpPr>
          <p:spPr>
            <a:xfrm>
              <a:off x="5483764" y="2869105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4EB51E1E-5FFA-49F6-8B4E-BC0F6203EE3C}"/>
                </a:ext>
              </a:extLst>
            </p:cNvPr>
            <p:cNvSpPr/>
            <p:nvPr/>
          </p:nvSpPr>
          <p:spPr>
            <a:xfrm>
              <a:off x="6084309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5615FD2E-BC35-4E83-A88C-5A46CA79A646}"/>
                </a:ext>
              </a:extLst>
            </p:cNvPr>
            <p:cNvSpPr/>
            <p:nvPr/>
          </p:nvSpPr>
          <p:spPr>
            <a:xfrm>
              <a:off x="6314564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9AAB22F3-6978-41E7-9DFB-598622991F35}"/>
                </a:ext>
              </a:extLst>
            </p:cNvPr>
            <p:cNvSpPr/>
            <p:nvPr/>
          </p:nvSpPr>
          <p:spPr>
            <a:xfrm>
              <a:off x="5260036" y="3461719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503C9B6-19D0-4C5E-8AC5-3E586FFABCD5}"/>
                </a:ext>
              </a:extLst>
            </p:cNvPr>
            <p:cNvSpPr/>
            <p:nvPr/>
          </p:nvSpPr>
          <p:spPr>
            <a:xfrm>
              <a:off x="6115208" y="4410084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4E8F866-8CD1-42DC-8E8E-0F4AC6E36AC2}"/>
                </a:ext>
              </a:extLst>
            </p:cNvPr>
            <p:cNvSpPr/>
            <p:nvPr/>
          </p:nvSpPr>
          <p:spPr>
            <a:xfrm>
              <a:off x="3006647" y="3580276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0ABDD602-A808-4146-9AE2-6DD95BB1ED3A}"/>
                </a:ext>
              </a:extLst>
            </p:cNvPr>
            <p:cNvSpPr/>
            <p:nvPr/>
          </p:nvSpPr>
          <p:spPr>
            <a:xfrm>
              <a:off x="3052003" y="3461719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E5709025-5137-4E7C-A0E3-8891CF03E73F}"/>
                </a:ext>
              </a:extLst>
            </p:cNvPr>
            <p:cNvSpPr/>
            <p:nvPr/>
          </p:nvSpPr>
          <p:spPr>
            <a:xfrm>
              <a:off x="3594718" y="3461719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6985ECAB-7FC1-4B9F-8999-FB8CB5FD84A5}"/>
                </a:ext>
              </a:extLst>
            </p:cNvPr>
            <p:cNvSpPr/>
            <p:nvPr/>
          </p:nvSpPr>
          <p:spPr>
            <a:xfrm>
              <a:off x="3766396" y="3461719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3A08E3DB-7BA2-4998-AEFE-27500AC54E7D}"/>
                </a:ext>
              </a:extLst>
            </p:cNvPr>
            <p:cNvSpPr/>
            <p:nvPr/>
          </p:nvSpPr>
          <p:spPr>
            <a:xfrm>
              <a:off x="2690635" y="3461719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03F87C88-C44F-4B0B-8023-15EB0B21D817}"/>
                </a:ext>
              </a:extLst>
            </p:cNvPr>
            <p:cNvSpPr/>
            <p:nvPr/>
          </p:nvSpPr>
          <p:spPr>
            <a:xfrm>
              <a:off x="2635365" y="3343246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946E8285-FF81-4ACD-AE1E-EB24B5F7D3F1}"/>
                </a:ext>
              </a:extLst>
            </p:cNvPr>
            <p:cNvSpPr/>
            <p:nvPr/>
          </p:nvSpPr>
          <p:spPr>
            <a:xfrm>
              <a:off x="3266148" y="3343246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AFEB5596-6002-4C63-AB53-645C0BED73C2}"/>
                </a:ext>
              </a:extLst>
            </p:cNvPr>
            <p:cNvSpPr/>
            <p:nvPr/>
          </p:nvSpPr>
          <p:spPr>
            <a:xfrm>
              <a:off x="3341908" y="3224690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40597370-A08C-4433-A069-AEEFD760032F}"/>
                </a:ext>
              </a:extLst>
            </p:cNvPr>
            <p:cNvSpPr/>
            <p:nvPr/>
          </p:nvSpPr>
          <p:spPr>
            <a:xfrm>
              <a:off x="2564479" y="3224690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178A0C5C-2C44-4BAC-81C0-97085EE9E96B}"/>
                </a:ext>
              </a:extLst>
            </p:cNvPr>
            <p:cNvSpPr/>
            <p:nvPr/>
          </p:nvSpPr>
          <p:spPr>
            <a:xfrm>
              <a:off x="2477070" y="3106134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83DD422F-961C-405C-ADCD-38D3FD68CA3E}"/>
                </a:ext>
              </a:extLst>
            </p:cNvPr>
            <p:cNvSpPr/>
            <p:nvPr/>
          </p:nvSpPr>
          <p:spPr>
            <a:xfrm>
              <a:off x="2350830" y="2987578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0FDA227E-6323-4A48-BA94-DA342CCED18F}"/>
                </a:ext>
              </a:extLst>
            </p:cNvPr>
            <p:cNvSpPr/>
            <p:nvPr/>
          </p:nvSpPr>
          <p:spPr>
            <a:xfrm>
              <a:off x="2243593" y="2869105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0F22C00-F48A-494D-8512-5D4F8B34B441}"/>
                </a:ext>
              </a:extLst>
            </p:cNvPr>
            <p:cNvSpPr/>
            <p:nvPr/>
          </p:nvSpPr>
          <p:spPr>
            <a:xfrm>
              <a:off x="2212364" y="2750549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2F28D04-3095-473D-9488-A744CC21BCBD}"/>
                </a:ext>
              </a:extLst>
            </p:cNvPr>
            <p:cNvSpPr/>
            <p:nvPr/>
          </p:nvSpPr>
          <p:spPr>
            <a:xfrm>
              <a:off x="2212364" y="2631993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15DE2AD-7943-4FBF-B702-3CD31B831050}"/>
                </a:ext>
              </a:extLst>
            </p:cNvPr>
            <p:cNvSpPr/>
            <p:nvPr/>
          </p:nvSpPr>
          <p:spPr>
            <a:xfrm>
              <a:off x="2212364" y="2513438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33028C0A-D578-4900-B97F-CAD96CCD95BE}"/>
                </a:ext>
              </a:extLst>
            </p:cNvPr>
            <p:cNvSpPr/>
            <p:nvPr/>
          </p:nvSpPr>
          <p:spPr>
            <a:xfrm>
              <a:off x="2212364" y="2039296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72F2EE19-46A3-47D4-97BD-DE1B47AF8B94}"/>
                </a:ext>
              </a:extLst>
            </p:cNvPr>
            <p:cNvSpPr/>
            <p:nvPr/>
          </p:nvSpPr>
          <p:spPr>
            <a:xfrm>
              <a:off x="2212364" y="1920740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F47651AF-DBDE-408C-ABC1-94480DA63325}"/>
                </a:ext>
              </a:extLst>
            </p:cNvPr>
            <p:cNvSpPr/>
            <p:nvPr/>
          </p:nvSpPr>
          <p:spPr>
            <a:xfrm>
              <a:off x="2183447" y="1802267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A6C09E80-AC4C-4399-9E05-05AE54952C5F}"/>
                </a:ext>
              </a:extLst>
            </p:cNvPr>
            <p:cNvSpPr/>
            <p:nvPr/>
          </p:nvSpPr>
          <p:spPr>
            <a:xfrm>
              <a:off x="2104217" y="1683711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C95F8136-AE3C-4E41-A658-6BA3C39EEE72}"/>
                </a:ext>
              </a:extLst>
            </p:cNvPr>
            <p:cNvSpPr/>
            <p:nvPr/>
          </p:nvSpPr>
          <p:spPr>
            <a:xfrm>
              <a:off x="1484917" y="1683711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4EF3FEBC-9BD7-42C7-90FB-84CDD65289F1}"/>
                </a:ext>
              </a:extLst>
            </p:cNvPr>
            <p:cNvSpPr/>
            <p:nvPr/>
          </p:nvSpPr>
          <p:spPr>
            <a:xfrm>
              <a:off x="1299607" y="1802267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088110CA-877A-4F01-955D-EF0DF3A0BBDC}"/>
                </a:ext>
              </a:extLst>
            </p:cNvPr>
            <p:cNvSpPr/>
            <p:nvPr/>
          </p:nvSpPr>
          <p:spPr>
            <a:xfrm>
              <a:off x="1518212" y="1565155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DA2C69C5-7809-4278-838B-2C9CDF1876B8}"/>
                </a:ext>
              </a:extLst>
            </p:cNvPr>
            <p:cNvSpPr/>
            <p:nvPr/>
          </p:nvSpPr>
          <p:spPr>
            <a:xfrm>
              <a:off x="1994254" y="1565155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17525369-B593-44DE-ACE9-F0913114F794}"/>
                </a:ext>
              </a:extLst>
            </p:cNvPr>
            <p:cNvSpPr/>
            <p:nvPr/>
          </p:nvSpPr>
          <p:spPr>
            <a:xfrm>
              <a:off x="1478721" y="1446599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8AC3910F-E93F-45E4-8F51-7A6020DBBB81}"/>
                </a:ext>
              </a:extLst>
            </p:cNvPr>
            <p:cNvSpPr/>
            <p:nvPr/>
          </p:nvSpPr>
          <p:spPr>
            <a:xfrm>
              <a:off x="1478721" y="1328044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618E4F0E-0167-4E4E-8C66-57075C9CA9F7}"/>
                </a:ext>
              </a:extLst>
            </p:cNvPr>
            <p:cNvSpPr/>
            <p:nvPr/>
          </p:nvSpPr>
          <p:spPr>
            <a:xfrm>
              <a:off x="1716494" y="1209570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5177B2BF-F767-412F-8DD3-B2395C519DB8}"/>
                </a:ext>
              </a:extLst>
            </p:cNvPr>
            <p:cNvSpPr/>
            <p:nvPr/>
          </p:nvSpPr>
          <p:spPr>
            <a:xfrm>
              <a:off x="1587693" y="1091014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C4E8F23B-F278-4670-8A08-72C8D8863CCF}"/>
                </a:ext>
              </a:extLst>
            </p:cNvPr>
            <p:cNvSpPr/>
            <p:nvPr/>
          </p:nvSpPr>
          <p:spPr>
            <a:xfrm>
              <a:off x="3003672" y="1091014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5F57125A-036D-4F44-AE3E-67F9F292AF9D}"/>
                </a:ext>
              </a:extLst>
            </p:cNvPr>
            <p:cNvSpPr/>
            <p:nvPr/>
          </p:nvSpPr>
          <p:spPr>
            <a:xfrm>
              <a:off x="3472774" y="1091014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A2C96C80-C307-4377-868A-C62EB9C425FD}"/>
                </a:ext>
              </a:extLst>
            </p:cNvPr>
            <p:cNvSpPr/>
            <p:nvPr/>
          </p:nvSpPr>
          <p:spPr>
            <a:xfrm>
              <a:off x="3497063" y="972458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71EE86E5-2BCC-43B6-9801-3D283CF66A01}"/>
                </a:ext>
              </a:extLst>
            </p:cNvPr>
            <p:cNvSpPr/>
            <p:nvPr/>
          </p:nvSpPr>
          <p:spPr>
            <a:xfrm>
              <a:off x="3786885" y="853902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A07828B4-6825-4637-BC78-8FD5272C765A}"/>
                </a:ext>
              </a:extLst>
            </p:cNvPr>
            <p:cNvSpPr/>
            <p:nvPr/>
          </p:nvSpPr>
          <p:spPr>
            <a:xfrm>
              <a:off x="3228227" y="735428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C68B778D-D0A8-44DB-AA3A-50552368684E}"/>
                </a:ext>
              </a:extLst>
            </p:cNvPr>
            <p:cNvSpPr/>
            <p:nvPr/>
          </p:nvSpPr>
          <p:spPr>
            <a:xfrm>
              <a:off x="3565719" y="735428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9519228D-C264-4BAB-B1B1-027BC2DF8C4F}"/>
                </a:ext>
              </a:extLst>
            </p:cNvPr>
            <p:cNvSpPr/>
            <p:nvPr/>
          </p:nvSpPr>
          <p:spPr>
            <a:xfrm>
              <a:off x="3759787" y="735428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B46F5DE5-2C22-4764-9CE9-0352D8958F19}"/>
                </a:ext>
              </a:extLst>
            </p:cNvPr>
            <p:cNvSpPr/>
            <p:nvPr/>
          </p:nvSpPr>
          <p:spPr>
            <a:xfrm>
              <a:off x="3169238" y="616873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AE8B00BD-420A-4C62-8908-F6E1C0DB4D00}"/>
                </a:ext>
              </a:extLst>
            </p:cNvPr>
            <p:cNvSpPr/>
            <p:nvPr/>
          </p:nvSpPr>
          <p:spPr>
            <a:xfrm>
              <a:off x="3496402" y="498317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05635C09-E176-4752-B60F-24D4B06D5478}"/>
                </a:ext>
              </a:extLst>
            </p:cNvPr>
            <p:cNvSpPr/>
            <p:nvPr/>
          </p:nvSpPr>
          <p:spPr>
            <a:xfrm>
              <a:off x="3679070" y="498317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6151AE00-C4D9-49A3-BE6F-CDA6FBB4D32B}"/>
                </a:ext>
              </a:extLst>
            </p:cNvPr>
            <p:cNvSpPr/>
            <p:nvPr/>
          </p:nvSpPr>
          <p:spPr>
            <a:xfrm>
              <a:off x="3900815" y="498317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237D35FF-68F9-499B-B51D-49827C8F59D0}"/>
                </a:ext>
              </a:extLst>
            </p:cNvPr>
            <p:cNvSpPr/>
            <p:nvPr/>
          </p:nvSpPr>
          <p:spPr>
            <a:xfrm>
              <a:off x="3985084" y="379761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211DF351-DE69-43BA-AAA8-7AFDB10D05D6}"/>
                </a:ext>
              </a:extLst>
            </p:cNvPr>
            <p:cNvSpPr/>
            <p:nvPr/>
          </p:nvSpPr>
          <p:spPr>
            <a:xfrm>
              <a:off x="4107275" y="379761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6F72D17C-501A-4A53-B524-15AC8A7AC5F9}"/>
                </a:ext>
              </a:extLst>
            </p:cNvPr>
            <p:cNvSpPr/>
            <p:nvPr/>
          </p:nvSpPr>
          <p:spPr>
            <a:xfrm>
              <a:off x="4314150" y="261288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507A3D20-806C-45A6-96A9-80CAC1CBFCEB}"/>
                </a:ext>
              </a:extLst>
            </p:cNvPr>
            <p:cNvSpPr/>
            <p:nvPr/>
          </p:nvSpPr>
          <p:spPr>
            <a:xfrm>
              <a:off x="3679070" y="616873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53842970-7640-4752-A4F5-B776238A324E}"/>
                </a:ext>
              </a:extLst>
            </p:cNvPr>
            <p:cNvSpPr/>
            <p:nvPr/>
          </p:nvSpPr>
          <p:spPr>
            <a:xfrm>
              <a:off x="3900815" y="616873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EA755A01-F452-49CA-B7EF-E7547D56EC49}"/>
                </a:ext>
              </a:extLst>
            </p:cNvPr>
            <p:cNvSpPr/>
            <p:nvPr/>
          </p:nvSpPr>
          <p:spPr>
            <a:xfrm>
              <a:off x="3934853" y="972458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47B5415E-FD1D-4DD4-A686-C6650361E01C}"/>
                </a:ext>
              </a:extLst>
            </p:cNvPr>
            <p:cNvSpPr/>
            <p:nvPr/>
          </p:nvSpPr>
          <p:spPr>
            <a:xfrm>
              <a:off x="3472774" y="1209570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E57DFF5E-ACEA-4AEF-9664-209EA62A111E}"/>
                </a:ext>
              </a:extLst>
            </p:cNvPr>
            <p:cNvSpPr/>
            <p:nvPr/>
          </p:nvSpPr>
          <p:spPr>
            <a:xfrm>
              <a:off x="3680144" y="1209570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2BC93FBB-B5BB-426A-A333-A392C7D44B03}"/>
                </a:ext>
              </a:extLst>
            </p:cNvPr>
            <p:cNvSpPr/>
            <p:nvPr/>
          </p:nvSpPr>
          <p:spPr>
            <a:xfrm>
              <a:off x="3715256" y="1091014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2864B7DB-18F0-4EE5-8C3C-C55D1F8D8EB9}"/>
                </a:ext>
              </a:extLst>
            </p:cNvPr>
            <p:cNvSpPr/>
            <p:nvPr/>
          </p:nvSpPr>
          <p:spPr>
            <a:xfrm>
              <a:off x="3472774" y="1328044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E3A23A72-315E-4DE9-A49A-3041EFAA4149}"/>
                </a:ext>
              </a:extLst>
            </p:cNvPr>
            <p:cNvSpPr/>
            <p:nvPr/>
          </p:nvSpPr>
          <p:spPr>
            <a:xfrm>
              <a:off x="3724592" y="1328044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4F9FDD3F-EE1C-4101-A0B1-676B8779F067}"/>
                </a:ext>
              </a:extLst>
            </p:cNvPr>
            <p:cNvSpPr/>
            <p:nvPr/>
          </p:nvSpPr>
          <p:spPr>
            <a:xfrm>
              <a:off x="3933862" y="1328044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EFE2DAEE-DEF9-486E-B782-6576D865BD08}"/>
                </a:ext>
              </a:extLst>
            </p:cNvPr>
            <p:cNvSpPr/>
            <p:nvPr/>
          </p:nvSpPr>
          <p:spPr>
            <a:xfrm>
              <a:off x="3995081" y="1446599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7C82B86D-D3EA-4AB3-9C6C-665F0948C0BA}"/>
                </a:ext>
              </a:extLst>
            </p:cNvPr>
            <p:cNvSpPr/>
            <p:nvPr/>
          </p:nvSpPr>
          <p:spPr>
            <a:xfrm>
              <a:off x="3922874" y="1683711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B5E1E82F-7388-4DB4-8B03-6C6C3C05FC0D}"/>
                </a:ext>
              </a:extLst>
            </p:cNvPr>
            <p:cNvSpPr/>
            <p:nvPr/>
          </p:nvSpPr>
          <p:spPr>
            <a:xfrm>
              <a:off x="3923700" y="1565155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0ED939BA-F055-429A-BBFD-B269EBAC4F82}"/>
                </a:ext>
              </a:extLst>
            </p:cNvPr>
            <p:cNvSpPr/>
            <p:nvPr/>
          </p:nvSpPr>
          <p:spPr>
            <a:xfrm>
              <a:off x="3003672" y="972458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FD61A0EF-B7D1-4015-931E-CB4874CE6A4D}"/>
                </a:ext>
              </a:extLst>
            </p:cNvPr>
            <p:cNvSpPr/>
            <p:nvPr/>
          </p:nvSpPr>
          <p:spPr>
            <a:xfrm>
              <a:off x="2940470" y="853902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820BA50F-BB9B-45BD-88B0-2CD20C675B42}"/>
                </a:ext>
              </a:extLst>
            </p:cNvPr>
            <p:cNvSpPr/>
            <p:nvPr/>
          </p:nvSpPr>
          <p:spPr>
            <a:xfrm>
              <a:off x="1776144" y="972458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84BE5950-A68A-4444-AFFE-0FAE50E7B1C4}"/>
                </a:ext>
              </a:extLst>
            </p:cNvPr>
            <p:cNvSpPr/>
            <p:nvPr/>
          </p:nvSpPr>
          <p:spPr>
            <a:xfrm>
              <a:off x="1776144" y="853902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77548012-4D9E-4936-A06E-E757FC4FB576}"/>
                </a:ext>
              </a:extLst>
            </p:cNvPr>
            <p:cNvSpPr/>
            <p:nvPr/>
          </p:nvSpPr>
          <p:spPr>
            <a:xfrm>
              <a:off x="1970791" y="735428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5C4BBA57-3A88-4A30-BB6E-8D3C2B1EF137}"/>
                </a:ext>
              </a:extLst>
            </p:cNvPr>
            <p:cNvSpPr/>
            <p:nvPr/>
          </p:nvSpPr>
          <p:spPr>
            <a:xfrm>
              <a:off x="3704185" y="2039296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58BE1B3E-FEBD-4F81-A22C-3B546B489CCE}"/>
                </a:ext>
              </a:extLst>
            </p:cNvPr>
            <p:cNvSpPr/>
            <p:nvPr/>
          </p:nvSpPr>
          <p:spPr>
            <a:xfrm>
              <a:off x="3704185" y="1920740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90622DEB-F24B-4478-8448-EA6D16C716A2}"/>
                </a:ext>
              </a:extLst>
            </p:cNvPr>
            <p:cNvSpPr/>
            <p:nvPr/>
          </p:nvSpPr>
          <p:spPr>
            <a:xfrm>
              <a:off x="3751525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10DCEB9A-4B9C-4B74-9E18-3011217692D3}"/>
                </a:ext>
              </a:extLst>
            </p:cNvPr>
            <p:cNvSpPr/>
            <p:nvPr/>
          </p:nvSpPr>
          <p:spPr>
            <a:xfrm>
              <a:off x="4476741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2C5DF2B3-762E-4C3A-80C8-2DA2E52C4E46}"/>
                </a:ext>
              </a:extLst>
            </p:cNvPr>
            <p:cNvSpPr/>
            <p:nvPr/>
          </p:nvSpPr>
          <p:spPr>
            <a:xfrm>
              <a:off x="4451294" y="1683711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A33AB36B-CC8A-4444-B229-BAE28D5E9A40}"/>
                </a:ext>
              </a:extLst>
            </p:cNvPr>
            <p:cNvSpPr/>
            <p:nvPr/>
          </p:nvSpPr>
          <p:spPr>
            <a:xfrm>
              <a:off x="5147015" y="1683711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BC974355-3F33-4C72-AE46-5C58A1402785}"/>
                </a:ext>
              </a:extLst>
            </p:cNvPr>
            <p:cNvSpPr/>
            <p:nvPr/>
          </p:nvSpPr>
          <p:spPr>
            <a:xfrm>
              <a:off x="4451294" y="1565155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54FA3F6E-E316-4518-9309-A8D1CB5D6AD5}"/>
                </a:ext>
              </a:extLst>
            </p:cNvPr>
            <p:cNvSpPr/>
            <p:nvPr/>
          </p:nvSpPr>
          <p:spPr>
            <a:xfrm>
              <a:off x="4451294" y="1446599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2FAE3AF7-785D-4EED-B707-76CBEDD112A4}"/>
                </a:ext>
              </a:extLst>
            </p:cNvPr>
            <p:cNvSpPr/>
            <p:nvPr/>
          </p:nvSpPr>
          <p:spPr>
            <a:xfrm>
              <a:off x="4451294" y="1516906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B732F3EE-83BE-4F21-A423-B5FB02DC3DAE}"/>
                </a:ext>
              </a:extLst>
            </p:cNvPr>
            <p:cNvSpPr/>
            <p:nvPr/>
          </p:nvSpPr>
          <p:spPr>
            <a:xfrm>
              <a:off x="4451294" y="1328044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8066A995-1A55-4B42-8178-919AD1F9A85D}"/>
                </a:ext>
              </a:extLst>
            </p:cNvPr>
            <p:cNvSpPr/>
            <p:nvPr/>
          </p:nvSpPr>
          <p:spPr>
            <a:xfrm>
              <a:off x="4485580" y="1209570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05FA4EE9-B1A0-4C8E-9766-29808678DB79}"/>
                </a:ext>
              </a:extLst>
            </p:cNvPr>
            <p:cNvSpPr/>
            <p:nvPr/>
          </p:nvSpPr>
          <p:spPr>
            <a:xfrm>
              <a:off x="4273584" y="853902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0A82902D-8A43-430D-A69F-CA01987FAB8B}"/>
                </a:ext>
              </a:extLst>
            </p:cNvPr>
            <p:cNvSpPr/>
            <p:nvPr/>
          </p:nvSpPr>
          <p:spPr>
            <a:xfrm>
              <a:off x="5925766" y="853902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6BAEC8CA-5625-4A9C-929B-89765259D662}"/>
                </a:ext>
              </a:extLst>
            </p:cNvPr>
            <p:cNvSpPr/>
            <p:nvPr/>
          </p:nvSpPr>
          <p:spPr>
            <a:xfrm>
              <a:off x="6066133" y="735428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534437E9-7AEC-4EEC-AFC6-6AE26A96ECAA}"/>
                </a:ext>
              </a:extLst>
            </p:cNvPr>
            <p:cNvSpPr/>
            <p:nvPr/>
          </p:nvSpPr>
          <p:spPr>
            <a:xfrm>
              <a:off x="6006731" y="972458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432F3B9E-D7A1-4764-8C82-D8A002C75232}"/>
                </a:ext>
              </a:extLst>
            </p:cNvPr>
            <p:cNvSpPr/>
            <p:nvPr/>
          </p:nvSpPr>
          <p:spPr>
            <a:xfrm>
              <a:off x="4273584" y="735428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771F9BAF-3DEC-400D-8F96-239C3A01A89D}"/>
                </a:ext>
              </a:extLst>
            </p:cNvPr>
            <p:cNvSpPr/>
            <p:nvPr/>
          </p:nvSpPr>
          <p:spPr>
            <a:xfrm>
              <a:off x="4470378" y="616873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910D85C7-77D5-4D41-BAED-592609F78DAD}"/>
                </a:ext>
              </a:extLst>
            </p:cNvPr>
            <p:cNvSpPr/>
            <p:nvPr/>
          </p:nvSpPr>
          <p:spPr>
            <a:xfrm>
              <a:off x="4540025" y="498317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9340C64D-CF87-4722-80AE-E510100B485D}"/>
                </a:ext>
              </a:extLst>
            </p:cNvPr>
            <p:cNvSpPr/>
            <p:nvPr/>
          </p:nvSpPr>
          <p:spPr>
            <a:xfrm>
              <a:off x="4972445" y="379761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C913A42A-F97D-440E-89E3-998C57531658}"/>
                </a:ext>
              </a:extLst>
            </p:cNvPr>
            <p:cNvSpPr/>
            <p:nvPr/>
          </p:nvSpPr>
          <p:spPr>
            <a:xfrm>
              <a:off x="4485580" y="972458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3E2B1E23-F40E-4982-9643-55E5F7E94F29}"/>
                </a:ext>
              </a:extLst>
            </p:cNvPr>
            <p:cNvSpPr/>
            <p:nvPr/>
          </p:nvSpPr>
          <p:spPr>
            <a:xfrm>
              <a:off x="4485580" y="1091014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6CD7CF3F-206D-4D6E-9CB6-1F84E57DAE1D}"/>
                </a:ext>
              </a:extLst>
            </p:cNvPr>
            <p:cNvSpPr/>
            <p:nvPr/>
          </p:nvSpPr>
          <p:spPr>
            <a:xfrm>
              <a:off x="4567289" y="1920740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DB6AD095-DB46-45A5-8672-55BD86001E89}"/>
                </a:ext>
              </a:extLst>
            </p:cNvPr>
            <p:cNvSpPr/>
            <p:nvPr/>
          </p:nvSpPr>
          <p:spPr>
            <a:xfrm>
              <a:off x="4021849" y="1920740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9F0B9B7D-8541-4695-8AFA-A863563AFF62}"/>
                </a:ext>
              </a:extLst>
            </p:cNvPr>
            <p:cNvSpPr/>
            <p:nvPr/>
          </p:nvSpPr>
          <p:spPr>
            <a:xfrm>
              <a:off x="2277713" y="2394881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D2ED6185-D197-47B8-83BA-65CCEA6710E2}"/>
                </a:ext>
              </a:extLst>
            </p:cNvPr>
            <p:cNvSpPr/>
            <p:nvPr/>
          </p:nvSpPr>
          <p:spPr>
            <a:xfrm>
              <a:off x="4119255" y="2394881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2EB072FB-530C-483A-9D80-7A99B4A12CF2}"/>
                </a:ext>
              </a:extLst>
            </p:cNvPr>
            <p:cNvSpPr/>
            <p:nvPr/>
          </p:nvSpPr>
          <p:spPr>
            <a:xfrm>
              <a:off x="2277713" y="2276408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B618BAEC-B93E-4951-87ED-FDE885C35785}"/>
                </a:ext>
              </a:extLst>
            </p:cNvPr>
            <p:cNvSpPr/>
            <p:nvPr/>
          </p:nvSpPr>
          <p:spPr>
            <a:xfrm>
              <a:off x="3619750" y="2157852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3EE31BEE-F2D6-4F01-BBD7-EBA31A85B103}"/>
                </a:ext>
              </a:extLst>
            </p:cNvPr>
            <p:cNvSpPr/>
            <p:nvPr/>
          </p:nvSpPr>
          <p:spPr>
            <a:xfrm>
              <a:off x="2277713" y="2157852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F571A1BC-D506-4D53-8E57-39B16C46ADD6}"/>
                </a:ext>
              </a:extLst>
            </p:cNvPr>
            <p:cNvSpPr/>
            <p:nvPr/>
          </p:nvSpPr>
          <p:spPr>
            <a:xfrm>
              <a:off x="2400153" y="3106134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3B2E11FE-D46F-4886-B77E-5279FAE30791}"/>
                </a:ext>
              </a:extLst>
            </p:cNvPr>
            <p:cNvSpPr/>
            <p:nvPr/>
          </p:nvSpPr>
          <p:spPr>
            <a:xfrm>
              <a:off x="3341908" y="3106134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EA8F6422-FBD3-438A-BA55-5AE20218D4FC}"/>
                </a:ext>
              </a:extLst>
            </p:cNvPr>
            <p:cNvSpPr/>
            <p:nvPr/>
          </p:nvSpPr>
          <p:spPr>
            <a:xfrm>
              <a:off x="2456250" y="3224690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07F0A15C-8431-4500-A540-62F7E06471CD}"/>
                </a:ext>
              </a:extLst>
            </p:cNvPr>
            <p:cNvSpPr/>
            <p:nvPr/>
          </p:nvSpPr>
          <p:spPr>
            <a:xfrm>
              <a:off x="7985913" y="3698832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5A32E827-1F3A-4C08-BA2C-321A6D4FC9DB}"/>
                </a:ext>
              </a:extLst>
            </p:cNvPr>
            <p:cNvSpPr/>
            <p:nvPr/>
          </p:nvSpPr>
          <p:spPr>
            <a:xfrm>
              <a:off x="7928825" y="3580276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CD6181BC-F87F-4530-969A-27122FDA21C6}"/>
                </a:ext>
              </a:extLst>
            </p:cNvPr>
            <p:cNvSpPr/>
            <p:nvPr/>
          </p:nvSpPr>
          <p:spPr>
            <a:xfrm>
              <a:off x="7002436" y="3580276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2F707048-307A-4632-A362-7D11C4137AC1}"/>
                </a:ext>
              </a:extLst>
            </p:cNvPr>
            <p:cNvSpPr/>
            <p:nvPr/>
          </p:nvSpPr>
          <p:spPr>
            <a:xfrm>
              <a:off x="7889829" y="3461719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C15EAB21-53D4-4415-BFDC-43B86016C979}"/>
                </a:ext>
              </a:extLst>
            </p:cNvPr>
            <p:cNvSpPr/>
            <p:nvPr/>
          </p:nvSpPr>
          <p:spPr>
            <a:xfrm>
              <a:off x="6944604" y="3461719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C9F52E3B-BBC1-4665-B28F-BB68F5715923}"/>
                </a:ext>
              </a:extLst>
            </p:cNvPr>
            <p:cNvSpPr/>
            <p:nvPr/>
          </p:nvSpPr>
          <p:spPr>
            <a:xfrm>
              <a:off x="6867770" y="3343246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93494FC4-1B78-461B-ADBB-FB17AC235AB5}"/>
                </a:ext>
              </a:extLst>
            </p:cNvPr>
            <p:cNvSpPr/>
            <p:nvPr/>
          </p:nvSpPr>
          <p:spPr>
            <a:xfrm>
              <a:off x="6787879" y="3224690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9DCD9711-7561-442A-861C-8A04632469AC}"/>
                </a:ext>
              </a:extLst>
            </p:cNvPr>
            <p:cNvSpPr/>
            <p:nvPr/>
          </p:nvSpPr>
          <p:spPr>
            <a:xfrm>
              <a:off x="6748718" y="2987578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87681A9B-5D6C-42E7-A3AD-88A028127695}"/>
                </a:ext>
              </a:extLst>
            </p:cNvPr>
            <p:cNvSpPr/>
            <p:nvPr/>
          </p:nvSpPr>
          <p:spPr>
            <a:xfrm>
              <a:off x="6484673" y="2869105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21549E18-91A5-4EE4-82B0-6E64E77F7B75}"/>
                </a:ext>
              </a:extLst>
            </p:cNvPr>
            <p:cNvSpPr/>
            <p:nvPr/>
          </p:nvSpPr>
          <p:spPr>
            <a:xfrm>
              <a:off x="9511774" y="2869105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8CF2270A-0DEB-4C8F-AF83-7089838662C8}"/>
                </a:ext>
              </a:extLst>
            </p:cNvPr>
            <p:cNvSpPr/>
            <p:nvPr/>
          </p:nvSpPr>
          <p:spPr>
            <a:xfrm>
              <a:off x="8524496" y="3461719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5009B123-1AC2-4DAD-B808-FDE49CF48DAD}"/>
                </a:ext>
              </a:extLst>
            </p:cNvPr>
            <p:cNvSpPr/>
            <p:nvPr/>
          </p:nvSpPr>
          <p:spPr>
            <a:xfrm>
              <a:off x="8959476" y="3461719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D1170C50-1186-4A41-9DE3-4CEB282DB40B}"/>
                </a:ext>
              </a:extLst>
            </p:cNvPr>
            <p:cNvSpPr/>
            <p:nvPr/>
          </p:nvSpPr>
          <p:spPr>
            <a:xfrm>
              <a:off x="8650901" y="3580276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0E7C3FD1-EAB7-4AA3-908A-F928C2CF6F74}"/>
                </a:ext>
              </a:extLst>
            </p:cNvPr>
            <p:cNvSpPr/>
            <p:nvPr/>
          </p:nvSpPr>
          <p:spPr>
            <a:xfrm>
              <a:off x="8822331" y="3698832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08130D86-E6CF-4C7D-93F9-308390E9B968}"/>
                </a:ext>
              </a:extLst>
            </p:cNvPr>
            <p:cNvSpPr/>
            <p:nvPr/>
          </p:nvSpPr>
          <p:spPr>
            <a:xfrm>
              <a:off x="8671720" y="369883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B6DF3A9D-BC5C-4ACC-A356-3E8DD92BF9E8}"/>
                </a:ext>
              </a:extLst>
            </p:cNvPr>
            <p:cNvSpPr/>
            <p:nvPr/>
          </p:nvSpPr>
          <p:spPr>
            <a:xfrm>
              <a:off x="8715177" y="3817387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A3571D75-A5FC-4A76-BB4E-3F1778AA1CE0}"/>
                </a:ext>
              </a:extLst>
            </p:cNvPr>
            <p:cNvSpPr/>
            <p:nvPr/>
          </p:nvSpPr>
          <p:spPr>
            <a:xfrm>
              <a:off x="8793167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4D9690C1-285A-4A42-943A-7691DC815185}"/>
                </a:ext>
              </a:extLst>
            </p:cNvPr>
            <p:cNvSpPr/>
            <p:nvPr/>
          </p:nvSpPr>
          <p:spPr>
            <a:xfrm>
              <a:off x="9100835" y="3935943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FE2EA752-9008-4505-A10E-4697C62EE585}"/>
                </a:ext>
              </a:extLst>
            </p:cNvPr>
            <p:cNvSpPr/>
            <p:nvPr/>
          </p:nvSpPr>
          <p:spPr>
            <a:xfrm>
              <a:off x="8998471" y="4054417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31CFE3B1-9AD0-4CB7-932D-248549B8534F}"/>
                </a:ext>
              </a:extLst>
            </p:cNvPr>
            <p:cNvSpPr/>
            <p:nvPr/>
          </p:nvSpPr>
          <p:spPr>
            <a:xfrm>
              <a:off x="9117358" y="4172972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EE715313-1805-49C5-A3AB-6212B32B1030}"/>
                </a:ext>
              </a:extLst>
            </p:cNvPr>
            <p:cNvSpPr/>
            <p:nvPr/>
          </p:nvSpPr>
          <p:spPr>
            <a:xfrm>
              <a:off x="9287137" y="4172972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9902A398-1AD7-45F7-BE21-43EB07088A5B}"/>
                </a:ext>
              </a:extLst>
            </p:cNvPr>
            <p:cNvSpPr/>
            <p:nvPr/>
          </p:nvSpPr>
          <p:spPr>
            <a:xfrm>
              <a:off x="9751611" y="4172972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FE28C82D-9BAE-48A8-8634-F8770696BB5A}"/>
                </a:ext>
              </a:extLst>
            </p:cNvPr>
            <p:cNvSpPr/>
            <p:nvPr/>
          </p:nvSpPr>
          <p:spPr>
            <a:xfrm>
              <a:off x="9866945" y="4291528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E1695E90-3F5C-46BC-B979-88FA3200AF3C}"/>
                </a:ext>
              </a:extLst>
            </p:cNvPr>
            <p:cNvSpPr/>
            <p:nvPr/>
          </p:nvSpPr>
          <p:spPr>
            <a:xfrm>
              <a:off x="10117028" y="4291528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1ADBBB61-61F5-4C5E-9E0D-900576CED5CC}"/>
                </a:ext>
              </a:extLst>
            </p:cNvPr>
            <p:cNvSpPr/>
            <p:nvPr/>
          </p:nvSpPr>
          <p:spPr>
            <a:xfrm>
              <a:off x="10278049" y="4172972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2287AE46-5F3A-40BD-AE42-8AFD6801035F}"/>
                </a:ext>
              </a:extLst>
            </p:cNvPr>
            <p:cNvSpPr/>
            <p:nvPr/>
          </p:nvSpPr>
          <p:spPr>
            <a:xfrm>
              <a:off x="9652884" y="4054417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34DA31A7-E70C-4D77-8456-06F45F6751E3}"/>
                </a:ext>
              </a:extLst>
            </p:cNvPr>
            <p:cNvSpPr/>
            <p:nvPr/>
          </p:nvSpPr>
          <p:spPr>
            <a:xfrm>
              <a:off x="9652884" y="4052268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9D8D162D-9803-4993-8450-8D84F12B2816}"/>
                </a:ext>
              </a:extLst>
            </p:cNvPr>
            <p:cNvSpPr/>
            <p:nvPr/>
          </p:nvSpPr>
          <p:spPr>
            <a:xfrm>
              <a:off x="9307213" y="4054417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11FFCCC8-CCE8-4DFD-AA0B-D4EB46CFC6E1}"/>
                </a:ext>
              </a:extLst>
            </p:cNvPr>
            <p:cNvSpPr/>
            <p:nvPr/>
          </p:nvSpPr>
          <p:spPr>
            <a:xfrm>
              <a:off x="8780279" y="4172972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B9AAC34E-B710-46D0-93ED-690652691D7A}"/>
                </a:ext>
              </a:extLst>
            </p:cNvPr>
            <p:cNvSpPr/>
            <p:nvPr/>
          </p:nvSpPr>
          <p:spPr>
            <a:xfrm>
              <a:off x="8722695" y="4054417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D8362839-24F1-421A-BA34-BAF3D9C8AF5E}"/>
                </a:ext>
              </a:extLst>
            </p:cNvPr>
            <p:cNvSpPr/>
            <p:nvPr/>
          </p:nvSpPr>
          <p:spPr>
            <a:xfrm>
              <a:off x="9214268" y="3817387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F229359D-42AE-4DD1-912A-ECF11D8064D5}"/>
                </a:ext>
              </a:extLst>
            </p:cNvPr>
            <p:cNvSpPr/>
            <p:nvPr/>
          </p:nvSpPr>
          <p:spPr>
            <a:xfrm>
              <a:off x="9411889" y="3817387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0733564-4FA9-4E58-8950-8CCF3BBEFFB2}"/>
                </a:ext>
              </a:extLst>
            </p:cNvPr>
            <p:cNvSpPr/>
            <p:nvPr/>
          </p:nvSpPr>
          <p:spPr>
            <a:xfrm>
              <a:off x="9383964" y="3698832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D4E24753-AA9D-41C5-832F-971FB853B8ED}"/>
                </a:ext>
              </a:extLst>
            </p:cNvPr>
            <p:cNvSpPr/>
            <p:nvPr/>
          </p:nvSpPr>
          <p:spPr>
            <a:xfrm>
              <a:off x="9314979" y="3580276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2B3C8C68-9320-440B-90EA-B599F1610C6A}"/>
                </a:ext>
              </a:extLst>
            </p:cNvPr>
            <p:cNvSpPr/>
            <p:nvPr/>
          </p:nvSpPr>
          <p:spPr>
            <a:xfrm>
              <a:off x="9314979" y="3461719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2892E89F-3E39-427F-A4E3-A3EB865C77B5}"/>
                </a:ext>
              </a:extLst>
            </p:cNvPr>
            <p:cNvSpPr/>
            <p:nvPr/>
          </p:nvSpPr>
          <p:spPr>
            <a:xfrm>
              <a:off x="9277718" y="3224690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62CAD7A2-B82F-4B04-8A68-21FFDA4CE51D}"/>
                </a:ext>
              </a:extLst>
            </p:cNvPr>
            <p:cNvSpPr/>
            <p:nvPr/>
          </p:nvSpPr>
          <p:spPr>
            <a:xfrm>
              <a:off x="7294654" y="3224690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60DB6A3D-0146-445A-84E9-36BCEEE73171}"/>
                </a:ext>
              </a:extLst>
            </p:cNvPr>
            <p:cNvSpPr/>
            <p:nvPr/>
          </p:nvSpPr>
          <p:spPr>
            <a:xfrm>
              <a:off x="7216249" y="3106134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E85BC160-8B43-4C2A-AC94-54E261857E65}"/>
                </a:ext>
              </a:extLst>
            </p:cNvPr>
            <p:cNvSpPr/>
            <p:nvPr/>
          </p:nvSpPr>
          <p:spPr>
            <a:xfrm>
              <a:off x="8654453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636646B3-4FD7-4E7E-8778-E4A6A362BA0F}"/>
                </a:ext>
              </a:extLst>
            </p:cNvPr>
            <p:cNvSpPr/>
            <p:nvPr/>
          </p:nvSpPr>
          <p:spPr>
            <a:xfrm>
              <a:off x="8449231" y="3343246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A53A7386-6811-4384-8B52-B40D235629AF}"/>
                </a:ext>
              </a:extLst>
            </p:cNvPr>
            <p:cNvSpPr/>
            <p:nvPr/>
          </p:nvSpPr>
          <p:spPr>
            <a:xfrm>
              <a:off x="7767803" y="3343246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215FF717-0503-414C-BC08-80B285F4B45F}"/>
                </a:ext>
              </a:extLst>
            </p:cNvPr>
            <p:cNvSpPr/>
            <p:nvPr/>
          </p:nvSpPr>
          <p:spPr>
            <a:xfrm>
              <a:off x="8124215" y="3817387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AED27AD9-D346-4A75-8375-E8BBD565403E}"/>
                </a:ext>
              </a:extLst>
            </p:cNvPr>
            <p:cNvSpPr/>
            <p:nvPr/>
          </p:nvSpPr>
          <p:spPr>
            <a:xfrm>
              <a:off x="6557707" y="616873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CD330C55-5DFD-4D02-8764-FD1DA73DF68F}"/>
                </a:ext>
              </a:extLst>
            </p:cNvPr>
            <p:cNvSpPr/>
            <p:nvPr/>
          </p:nvSpPr>
          <p:spPr>
            <a:xfrm>
              <a:off x="6722446" y="616873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A0555272-B5F7-466E-915C-3F20B1AC77F9}"/>
                </a:ext>
              </a:extLst>
            </p:cNvPr>
            <p:cNvSpPr/>
            <p:nvPr/>
          </p:nvSpPr>
          <p:spPr>
            <a:xfrm>
              <a:off x="6831831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FFDEB4EF-70E9-4098-A12E-78BF1B82F471}"/>
                </a:ext>
              </a:extLst>
            </p:cNvPr>
            <p:cNvSpPr/>
            <p:nvPr/>
          </p:nvSpPr>
          <p:spPr>
            <a:xfrm>
              <a:off x="7429981" y="498317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D0B5B6F6-1A02-4015-827A-A8CAC1B67BAF}"/>
                </a:ext>
              </a:extLst>
            </p:cNvPr>
            <p:cNvSpPr/>
            <p:nvPr/>
          </p:nvSpPr>
          <p:spPr>
            <a:xfrm>
              <a:off x="7673124" y="498317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73BC944-199A-4F6F-82BB-F3811907F3B7}"/>
                </a:ext>
              </a:extLst>
            </p:cNvPr>
            <p:cNvSpPr/>
            <p:nvPr/>
          </p:nvSpPr>
          <p:spPr>
            <a:xfrm>
              <a:off x="7673124" y="616873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D7E5718-FF0A-4FF8-82C1-E20F4DEBAFD8}"/>
                </a:ext>
              </a:extLst>
            </p:cNvPr>
            <p:cNvSpPr/>
            <p:nvPr/>
          </p:nvSpPr>
          <p:spPr>
            <a:xfrm>
              <a:off x="7783418" y="735428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7D04C08C-E221-45FD-A1B1-4825F5BB65D8}"/>
                </a:ext>
              </a:extLst>
            </p:cNvPr>
            <p:cNvSpPr/>
            <p:nvPr/>
          </p:nvSpPr>
          <p:spPr>
            <a:xfrm>
              <a:off x="7624793" y="853902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63296677-E8B8-48AC-BBFF-B6BABE335C68}"/>
                </a:ext>
              </a:extLst>
            </p:cNvPr>
            <p:cNvSpPr/>
            <p:nvPr/>
          </p:nvSpPr>
          <p:spPr>
            <a:xfrm>
              <a:off x="7562334" y="972458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C5885634-F5E0-4520-BA4C-894A11915E6A}"/>
                </a:ext>
              </a:extLst>
            </p:cNvPr>
            <p:cNvSpPr/>
            <p:nvPr/>
          </p:nvSpPr>
          <p:spPr>
            <a:xfrm>
              <a:off x="7504997" y="1091014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0D3D43B1-6F26-4D50-9150-A430CE4369D6}"/>
                </a:ext>
              </a:extLst>
            </p:cNvPr>
            <p:cNvSpPr/>
            <p:nvPr/>
          </p:nvSpPr>
          <p:spPr>
            <a:xfrm>
              <a:off x="7389746" y="1209570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EED00323-86D9-4DF8-B92D-C37F51EED228}"/>
                </a:ext>
              </a:extLst>
            </p:cNvPr>
            <p:cNvSpPr/>
            <p:nvPr/>
          </p:nvSpPr>
          <p:spPr>
            <a:xfrm>
              <a:off x="7263590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56B852B8-749F-4CA8-8108-EA245C7ABF0E}"/>
                </a:ext>
              </a:extLst>
            </p:cNvPr>
            <p:cNvSpPr/>
            <p:nvPr/>
          </p:nvSpPr>
          <p:spPr>
            <a:xfrm>
              <a:off x="6896438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2B409922-56BD-41DD-8366-360ECCF73797}"/>
                </a:ext>
              </a:extLst>
            </p:cNvPr>
            <p:cNvSpPr/>
            <p:nvPr/>
          </p:nvSpPr>
          <p:spPr>
            <a:xfrm>
              <a:off x="6937829" y="1328044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60B7C038-FC99-4A28-B0F5-85979EBB7CFD}"/>
                </a:ext>
              </a:extLst>
            </p:cNvPr>
            <p:cNvSpPr/>
            <p:nvPr/>
          </p:nvSpPr>
          <p:spPr>
            <a:xfrm>
              <a:off x="6896438" y="1091014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AA801DB4-64E5-4FF4-9E88-5C7EFCEEDD9B}"/>
                </a:ext>
              </a:extLst>
            </p:cNvPr>
            <p:cNvSpPr/>
            <p:nvPr/>
          </p:nvSpPr>
          <p:spPr>
            <a:xfrm>
              <a:off x="6972363" y="972458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CE9B4639-1923-4A53-883A-BCD34CA0DF26}"/>
                </a:ext>
              </a:extLst>
            </p:cNvPr>
            <p:cNvSpPr/>
            <p:nvPr/>
          </p:nvSpPr>
          <p:spPr>
            <a:xfrm>
              <a:off x="7079187" y="853902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3147D6A5-3691-4D26-A8FF-B14E02F7CA4F}"/>
                </a:ext>
              </a:extLst>
            </p:cNvPr>
            <p:cNvSpPr/>
            <p:nvPr/>
          </p:nvSpPr>
          <p:spPr>
            <a:xfrm>
              <a:off x="9917673" y="1328044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846AAB35-4533-4826-8764-94E5F1DDF544}"/>
                </a:ext>
              </a:extLst>
            </p:cNvPr>
            <p:cNvSpPr/>
            <p:nvPr/>
          </p:nvSpPr>
          <p:spPr>
            <a:xfrm>
              <a:off x="7445926" y="1328044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85328F5-69F4-49F0-9252-F3A3365CBF92}"/>
                </a:ext>
              </a:extLst>
            </p:cNvPr>
            <p:cNvSpPr/>
            <p:nvPr/>
          </p:nvSpPr>
          <p:spPr>
            <a:xfrm>
              <a:off x="7512350" y="1446599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F06E7511-8E69-4DCA-A92B-CA5E9740A25A}"/>
                </a:ext>
              </a:extLst>
            </p:cNvPr>
            <p:cNvSpPr/>
            <p:nvPr/>
          </p:nvSpPr>
          <p:spPr>
            <a:xfrm>
              <a:off x="9908584" y="1446599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EAA7EA9D-CCA1-4E44-90CC-E837EA497843}"/>
                </a:ext>
              </a:extLst>
            </p:cNvPr>
            <p:cNvSpPr/>
            <p:nvPr/>
          </p:nvSpPr>
          <p:spPr>
            <a:xfrm>
              <a:off x="9862236" y="1683711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3355AEEF-9130-4232-8819-4C8ED7181EF0}"/>
                </a:ext>
              </a:extLst>
            </p:cNvPr>
            <p:cNvSpPr/>
            <p:nvPr/>
          </p:nvSpPr>
          <p:spPr>
            <a:xfrm>
              <a:off x="6706749" y="1683711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CE9CDF69-3561-498B-A527-483FC7B6DBB2}"/>
                </a:ext>
              </a:extLst>
            </p:cNvPr>
            <p:cNvSpPr/>
            <p:nvPr/>
          </p:nvSpPr>
          <p:spPr>
            <a:xfrm>
              <a:off x="9862236" y="1802267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0DA2CBCB-1112-4122-95E4-F7DA0B42F0C9}"/>
                </a:ext>
              </a:extLst>
            </p:cNvPr>
            <p:cNvSpPr/>
            <p:nvPr/>
          </p:nvSpPr>
          <p:spPr>
            <a:xfrm>
              <a:off x="9947993" y="1920740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CC6729E1-8FA6-4EDB-BFD2-A6D1CC920EE5}"/>
                </a:ext>
              </a:extLst>
            </p:cNvPr>
            <p:cNvSpPr/>
            <p:nvPr/>
          </p:nvSpPr>
          <p:spPr>
            <a:xfrm>
              <a:off x="9908584" y="1565155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AEE1EFB6-1677-469D-97DB-AD1843E83383}"/>
                </a:ext>
              </a:extLst>
            </p:cNvPr>
            <p:cNvSpPr/>
            <p:nvPr/>
          </p:nvSpPr>
          <p:spPr>
            <a:xfrm>
              <a:off x="6886028" y="1565155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15D9018D-8731-4532-8B8A-225C283616AB}"/>
                </a:ext>
              </a:extLst>
            </p:cNvPr>
            <p:cNvSpPr/>
            <p:nvPr/>
          </p:nvSpPr>
          <p:spPr>
            <a:xfrm>
              <a:off x="6759458" y="1565155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B93532AE-0942-4F85-91E5-4D9B440E05CB}"/>
                </a:ext>
              </a:extLst>
            </p:cNvPr>
            <p:cNvSpPr/>
            <p:nvPr/>
          </p:nvSpPr>
          <p:spPr>
            <a:xfrm>
              <a:off x="6090257" y="1565155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26B86585-E5D4-459F-8492-05B1B14F0385}"/>
                </a:ext>
              </a:extLst>
            </p:cNvPr>
            <p:cNvSpPr/>
            <p:nvPr/>
          </p:nvSpPr>
          <p:spPr>
            <a:xfrm>
              <a:off x="6025982" y="1683711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08CA0D1F-B767-44B1-930C-E147BE31014F}"/>
                </a:ext>
              </a:extLst>
            </p:cNvPr>
            <p:cNvSpPr/>
            <p:nvPr/>
          </p:nvSpPr>
          <p:spPr>
            <a:xfrm>
              <a:off x="5950138" y="1802267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FEBAE6BA-F376-43ED-AACF-D62C2D0AFC0F}"/>
                </a:ext>
              </a:extLst>
            </p:cNvPr>
            <p:cNvSpPr/>
            <p:nvPr/>
          </p:nvSpPr>
          <p:spPr>
            <a:xfrm>
              <a:off x="5845462" y="1920740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B88B7986-A695-47F2-B80A-06C4764492C0}"/>
                </a:ext>
              </a:extLst>
            </p:cNvPr>
            <p:cNvSpPr/>
            <p:nvPr/>
          </p:nvSpPr>
          <p:spPr>
            <a:xfrm>
              <a:off x="5845462" y="2039296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0D99D1CB-C834-4E26-A2BD-CBF817D0ED29}"/>
                </a:ext>
              </a:extLst>
            </p:cNvPr>
            <p:cNvSpPr/>
            <p:nvPr/>
          </p:nvSpPr>
          <p:spPr>
            <a:xfrm>
              <a:off x="5556301" y="2039296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989E5829-7520-411C-AA5D-2664B0EF99F5}"/>
                </a:ext>
              </a:extLst>
            </p:cNvPr>
            <p:cNvSpPr/>
            <p:nvPr/>
          </p:nvSpPr>
          <p:spPr>
            <a:xfrm>
              <a:off x="5512762" y="2157852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13A684E8-55AD-4385-BED6-7FD2643C1373}"/>
                </a:ext>
              </a:extLst>
            </p:cNvPr>
            <p:cNvSpPr/>
            <p:nvPr/>
          </p:nvSpPr>
          <p:spPr>
            <a:xfrm>
              <a:off x="5940059" y="2157852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35E18A2D-EFAD-469B-8052-04F56E2558DF}"/>
                </a:ext>
              </a:extLst>
            </p:cNvPr>
            <p:cNvSpPr/>
            <p:nvPr/>
          </p:nvSpPr>
          <p:spPr>
            <a:xfrm>
              <a:off x="6059689" y="2157852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4FBC034A-E08A-44B1-A115-33761BF2F823}"/>
                </a:ext>
              </a:extLst>
            </p:cNvPr>
            <p:cNvSpPr/>
            <p:nvPr/>
          </p:nvSpPr>
          <p:spPr>
            <a:xfrm>
              <a:off x="5607277" y="2276408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F9E1F264-E875-4019-AE17-EDB95EA10FB9}"/>
                </a:ext>
              </a:extLst>
            </p:cNvPr>
            <p:cNvSpPr/>
            <p:nvPr/>
          </p:nvSpPr>
          <p:spPr>
            <a:xfrm>
              <a:off x="5457244" y="2276408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A45A1F1D-9E24-4D68-B78B-D7CE908D9B90}"/>
                </a:ext>
              </a:extLst>
            </p:cNvPr>
            <p:cNvSpPr/>
            <p:nvPr/>
          </p:nvSpPr>
          <p:spPr>
            <a:xfrm>
              <a:off x="6008880" y="2039296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96168D1D-346D-438D-9A28-11E65F6319A5}"/>
                </a:ext>
              </a:extLst>
            </p:cNvPr>
            <p:cNvSpPr/>
            <p:nvPr/>
          </p:nvSpPr>
          <p:spPr>
            <a:xfrm>
              <a:off x="6259293" y="1802267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B64B1A51-8670-44CC-BE02-58549A471E01}"/>
                </a:ext>
              </a:extLst>
            </p:cNvPr>
            <p:cNvSpPr/>
            <p:nvPr/>
          </p:nvSpPr>
          <p:spPr>
            <a:xfrm>
              <a:off x="6259293" y="1920740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4F5119B8-5B41-4C5D-B445-E6726F60DCCD}"/>
                </a:ext>
              </a:extLst>
            </p:cNvPr>
            <p:cNvSpPr/>
            <p:nvPr/>
          </p:nvSpPr>
          <p:spPr>
            <a:xfrm>
              <a:off x="6329435" y="2039296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D3C7F633-22FE-4AC8-9ADF-55D8E8BAF59F}"/>
                </a:ext>
              </a:extLst>
            </p:cNvPr>
            <p:cNvSpPr/>
            <p:nvPr/>
          </p:nvSpPr>
          <p:spPr>
            <a:xfrm>
              <a:off x="6274742" y="2157852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FCDCE4C6-7A01-4B1D-A9CE-628AEBC7CD73}"/>
                </a:ext>
              </a:extLst>
            </p:cNvPr>
            <p:cNvSpPr/>
            <p:nvPr/>
          </p:nvSpPr>
          <p:spPr>
            <a:xfrm>
              <a:off x="5850172" y="2276408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BAC35B9B-81CB-453D-AB53-A43FEE4C471C}"/>
                </a:ext>
              </a:extLst>
            </p:cNvPr>
            <p:cNvSpPr/>
            <p:nvPr/>
          </p:nvSpPr>
          <p:spPr>
            <a:xfrm>
              <a:off x="5757475" y="2394881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D5FD4E2F-42F5-4433-A08A-5EDD9E9DE7C7}"/>
                </a:ext>
              </a:extLst>
            </p:cNvPr>
            <p:cNvSpPr/>
            <p:nvPr/>
          </p:nvSpPr>
          <p:spPr>
            <a:xfrm>
              <a:off x="7197909" y="2513438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01DA1F79-A976-4074-9825-5796FE5C2CC2}"/>
                </a:ext>
              </a:extLst>
            </p:cNvPr>
            <p:cNvSpPr/>
            <p:nvPr/>
          </p:nvSpPr>
          <p:spPr>
            <a:xfrm>
              <a:off x="6781021" y="2513438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3982840A-2D2D-4259-9931-E97A91A84436}"/>
                </a:ext>
              </a:extLst>
            </p:cNvPr>
            <p:cNvSpPr/>
            <p:nvPr/>
          </p:nvSpPr>
          <p:spPr>
            <a:xfrm>
              <a:off x="5670561" y="251343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7B126971-7275-4CDE-BDFB-50C8FDC44842}"/>
                </a:ext>
              </a:extLst>
            </p:cNvPr>
            <p:cNvSpPr/>
            <p:nvPr/>
          </p:nvSpPr>
          <p:spPr>
            <a:xfrm>
              <a:off x="5483516" y="2631993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08F81559-F8ED-4FB4-B389-451348100D66}"/>
                </a:ext>
              </a:extLst>
            </p:cNvPr>
            <p:cNvSpPr/>
            <p:nvPr/>
          </p:nvSpPr>
          <p:spPr>
            <a:xfrm>
              <a:off x="6013423" y="2631993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0BE086D8-4F9B-464E-8E58-0BF8C24BE58B}"/>
                </a:ext>
              </a:extLst>
            </p:cNvPr>
            <p:cNvSpPr/>
            <p:nvPr/>
          </p:nvSpPr>
          <p:spPr>
            <a:xfrm>
              <a:off x="6177832" y="2631993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2677519C-624F-47CB-8D33-E11C4A942C8B}"/>
                </a:ext>
              </a:extLst>
            </p:cNvPr>
            <p:cNvSpPr/>
            <p:nvPr/>
          </p:nvSpPr>
          <p:spPr>
            <a:xfrm>
              <a:off x="6858681" y="2631993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7EDF493F-FB05-4133-B213-9085639D05C1}"/>
                </a:ext>
              </a:extLst>
            </p:cNvPr>
            <p:cNvSpPr/>
            <p:nvPr/>
          </p:nvSpPr>
          <p:spPr>
            <a:xfrm>
              <a:off x="7197909" y="2631993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1FBB43C3-FEFF-4528-B330-8ECF42EEA042}"/>
                </a:ext>
              </a:extLst>
            </p:cNvPr>
            <p:cNvSpPr/>
            <p:nvPr/>
          </p:nvSpPr>
          <p:spPr>
            <a:xfrm>
              <a:off x="7225833" y="2750549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173A4BA9-F8CA-4A1A-9547-948835EEA96A}"/>
                </a:ext>
              </a:extLst>
            </p:cNvPr>
            <p:cNvSpPr/>
            <p:nvPr/>
          </p:nvSpPr>
          <p:spPr>
            <a:xfrm>
              <a:off x="5483516" y="2750549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1C888FAE-E8BA-4501-BD9F-34C109B2FD15}"/>
                </a:ext>
              </a:extLst>
            </p:cNvPr>
            <p:cNvSpPr/>
            <p:nvPr/>
          </p:nvSpPr>
          <p:spPr>
            <a:xfrm>
              <a:off x="5961457" y="2750549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7AAF661D-B034-4E4B-908B-120D2B7A6887}"/>
                </a:ext>
              </a:extLst>
            </p:cNvPr>
            <p:cNvSpPr/>
            <p:nvPr/>
          </p:nvSpPr>
          <p:spPr>
            <a:xfrm>
              <a:off x="613916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A4C88E85-8624-420B-A09D-81A31D2F7A58}"/>
                </a:ext>
              </a:extLst>
            </p:cNvPr>
            <p:cNvSpPr/>
            <p:nvPr/>
          </p:nvSpPr>
          <p:spPr>
            <a:xfrm>
              <a:off x="629035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59CB337D-AFAF-489F-922C-439B882A9E2B}"/>
                </a:ext>
              </a:extLst>
            </p:cNvPr>
            <p:cNvSpPr/>
            <p:nvPr/>
          </p:nvSpPr>
          <p:spPr>
            <a:xfrm>
              <a:off x="6485995" y="2750549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B50A572D-E670-4475-8494-6136BC1E0C66}"/>
                </a:ext>
              </a:extLst>
            </p:cNvPr>
            <p:cNvSpPr/>
            <p:nvPr/>
          </p:nvSpPr>
          <p:spPr>
            <a:xfrm>
              <a:off x="9664120" y="2157852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A4E77063-82B1-4338-8039-DF7C5B0B07AA}"/>
                </a:ext>
              </a:extLst>
            </p:cNvPr>
            <p:cNvSpPr/>
            <p:nvPr/>
          </p:nvSpPr>
          <p:spPr>
            <a:xfrm>
              <a:off x="9664120" y="2147938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3C26E315-67EA-4700-9D2E-FA45DD4CC389}"/>
                </a:ext>
              </a:extLst>
            </p:cNvPr>
            <p:cNvSpPr/>
            <p:nvPr/>
          </p:nvSpPr>
          <p:spPr>
            <a:xfrm>
              <a:off x="9664120" y="2276408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24BBFD24-B892-42E9-9AE7-348FDAFA0FB9}"/>
                </a:ext>
              </a:extLst>
            </p:cNvPr>
            <p:cNvSpPr/>
            <p:nvPr/>
          </p:nvSpPr>
          <p:spPr>
            <a:xfrm>
              <a:off x="9710468" y="2394881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2AB3FF09-FAF5-4D39-B8B7-DA4C48DB2998}"/>
                </a:ext>
              </a:extLst>
            </p:cNvPr>
            <p:cNvSpPr/>
            <p:nvPr/>
          </p:nvSpPr>
          <p:spPr>
            <a:xfrm>
              <a:off x="9710468" y="2386702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953603F1-9570-418B-B703-F8B9BCF5DEC8}"/>
                </a:ext>
              </a:extLst>
            </p:cNvPr>
            <p:cNvSpPr/>
            <p:nvPr/>
          </p:nvSpPr>
          <p:spPr>
            <a:xfrm>
              <a:off x="9693284" y="2513438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BCD0D567-C805-40FE-9959-B165F915FD63}"/>
                </a:ext>
              </a:extLst>
            </p:cNvPr>
            <p:cNvSpPr/>
            <p:nvPr/>
          </p:nvSpPr>
          <p:spPr>
            <a:xfrm>
              <a:off x="9718069" y="2631993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448220B7-9BF5-4496-8962-ED7AC3C13971}"/>
                </a:ext>
              </a:extLst>
            </p:cNvPr>
            <p:cNvSpPr/>
            <p:nvPr/>
          </p:nvSpPr>
          <p:spPr>
            <a:xfrm>
              <a:off x="9664120" y="2750549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CF52C1DD-28C8-4811-A74D-33C01EFA7727}"/>
                </a:ext>
              </a:extLst>
            </p:cNvPr>
            <p:cNvSpPr/>
            <p:nvPr/>
          </p:nvSpPr>
          <p:spPr>
            <a:xfrm>
              <a:off x="9376364" y="2750549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821525D4-CB4C-471F-88EC-20E2F055F7EB}"/>
                </a:ext>
              </a:extLst>
            </p:cNvPr>
            <p:cNvSpPr/>
            <p:nvPr/>
          </p:nvSpPr>
          <p:spPr>
            <a:xfrm>
              <a:off x="9228065" y="2631993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CDE78A50-FBD8-443C-9E0A-6E47DA8C7AF1}"/>
                </a:ext>
              </a:extLst>
            </p:cNvPr>
            <p:cNvSpPr/>
            <p:nvPr/>
          </p:nvSpPr>
          <p:spPr>
            <a:xfrm>
              <a:off x="6337862" y="1683711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8B0842C1-51AC-4651-AFFC-6670E47E706B}"/>
                </a:ext>
              </a:extLst>
            </p:cNvPr>
            <p:cNvSpPr/>
            <p:nvPr/>
          </p:nvSpPr>
          <p:spPr>
            <a:xfrm>
              <a:off x="7139581" y="1446599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970A00A3-FEBA-493A-BDDC-0B8BDACEE743}"/>
                </a:ext>
              </a:extLst>
            </p:cNvPr>
            <p:cNvSpPr/>
            <p:nvPr/>
          </p:nvSpPr>
          <p:spPr>
            <a:xfrm>
              <a:off x="6158830" y="1446599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5236293F-A763-4109-88B0-0DB77226AA9C}"/>
                </a:ext>
              </a:extLst>
            </p:cNvPr>
            <p:cNvSpPr/>
            <p:nvPr/>
          </p:nvSpPr>
          <p:spPr>
            <a:xfrm>
              <a:off x="7263590" y="1328044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4F3291D1-9490-4369-8012-EF5FF99111A3}"/>
                </a:ext>
              </a:extLst>
            </p:cNvPr>
            <p:cNvSpPr/>
            <p:nvPr/>
          </p:nvSpPr>
          <p:spPr>
            <a:xfrm>
              <a:off x="8836377" y="735428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8E07320E-4A31-4506-9620-97EB233A3D1B}"/>
                </a:ext>
              </a:extLst>
            </p:cNvPr>
            <p:cNvSpPr/>
            <p:nvPr/>
          </p:nvSpPr>
          <p:spPr>
            <a:xfrm>
              <a:off x="8432377" y="853902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46C308A0-5944-44F1-85BE-1AA8EE38EDCD}"/>
                </a:ext>
              </a:extLst>
            </p:cNvPr>
            <p:cNvSpPr/>
            <p:nvPr/>
          </p:nvSpPr>
          <p:spPr>
            <a:xfrm>
              <a:off x="8224017" y="853902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C0051E1C-ED4C-4661-B82E-2E1774A83BBB}"/>
                </a:ext>
              </a:extLst>
            </p:cNvPr>
            <p:cNvSpPr/>
            <p:nvPr/>
          </p:nvSpPr>
          <p:spPr>
            <a:xfrm>
              <a:off x="9282097" y="735428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0A9C69AC-C602-4D07-86B1-02C812E60F0E}"/>
                </a:ext>
              </a:extLst>
            </p:cNvPr>
            <p:cNvSpPr/>
            <p:nvPr/>
          </p:nvSpPr>
          <p:spPr>
            <a:xfrm>
              <a:off x="9618598" y="735428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6ABB22CA-53DB-46D5-9794-5E5E30900649}"/>
                </a:ext>
              </a:extLst>
            </p:cNvPr>
            <p:cNvSpPr/>
            <p:nvPr/>
          </p:nvSpPr>
          <p:spPr>
            <a:xfrm>
              <a:off x="8836377" y="853902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831320FE-32D1-4C9A-8800-A955E5717144}"/>
                </a:ext>
              </a:extLst>
            </p:cNvPr>
            <p:cNvSpPr/>
            <p:nvPr/>
          </p:nvSpPr>
          <p:spPr>
            <a:xfrm>
              <a:off x="7783418" y="616873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06E02971-9105-467D-A2AB-BA0A330A0434}"/>
                </a:ext>
              </a:extLst>
            </p:cNvPr>
            <p:cNvSpPr/>
            <p:nvPr/>
          </p:nvSpPr>
          <p:spPr>
            <a:xfrm>
              <a:off x="8574975" y="498317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6E421EFB-8D8A-4E32-9CBC-E0BCD8FD8CB0}"/>
                </a:ext>
              </a:extLst>
            </p:cNvPr>
            <p:cNvSpPr/>
            <p:nvPr/>
          </p:nvSpPr>
          <p:spPr>
            <a:xfrm>
              <a:off x="8823983" y="498317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CC763AB2-2370-4562-A223-CF7788FE97AC}"/>
                </a:ext>
              </a:extLst>
            </p:cNvPr>
            <p:cNvSpPr/>
            <p:nvPr/>
          </p:nvSpPr>
          <p:spPr>
            <a:xfrm>
              <a:off x="7398504" y="379761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6B1BF806-8287-454A-8BA3-D22AC83CF7B4}"/>
                </a:ext>
              </a:extLst>
            </p:cNvPr>
            <p:cNvSpPr/>
            <p:nvPr/>
          </p:nvSpPr>
          <p:spPr>
            <a:xfrm>
              <a:off x="6722446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8310273"/>
      </p:ext>
    </p:extLst>
  </p:cSld>
  <p:clrMapOvr>
    <a:masterClrMapping/>
  </p:clrMapOvr>
  <p:transition spd="slow"/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9447C19-8F67-4622-AC62-D8D6375C1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South America highlighted</a:t>
            </a:r>
            <a:endParaRPr lang="en-US" dirty="0"/>
          </a:p>
        </p:txBody>
      </p:sp>
      <p:sp>
        <p:nvSpPr>
          <p:cNvPr id="546" name="Text Placeholder 54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52" name="Date Placeholder 55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553" name="Footer Placeholder 55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554" name="Slide Number Placeholder 55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5</a:t>
            </a:fld>
            <a:endParaRPr lang="en-US" dirty="0"/>
          </a:p>
        </p:txBody>
      </p:sp>
      <p:grpSp>
        <p:nvGrpSpPr>
          <p:cNvPr id="571" name="Gruppieren 570">
            <a:extLst>
              <a:ext uri="{FF2B5EF4-FFF2-40B4-BE49-F238E27FC236}">
                <a16:creationId xmlns:a16="http://schemas.microsoft.com/office/drawing/2014/main" id="{8D48EE56-8E91-4005-AFC1-C9D3EEADA043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1299607" y="261288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C9E50CB-009A-47B2-B17E-0D915ED0BA1A}"/>
                </a:ext>
              </a:extLst>
            </p:cNvPr>
            <p:cNvSpPr/>
            <p:nvPr/>
          </p:nvSpPr>
          <p:spPr>
            <a:xfrm>
              <a:off x="4068611" y="379761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A3269011-FC74-4350-A843-3842F4B8D6C8}"/>
                </a:ext>
              </a:extLst>
            </p:cNvPr>
            <p:cNvSpPr/>
            <p:nvPr/>
          </p:nvSpPr>
          <p:spPr>
            <a:xfrm>
              <a:off x="3511109" y="3698832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FA76446-D8D5-4D41-910F-814A38FB1122}"/>
                </a:ext>
              </a:extLst>
            </p:cNvPr>
            <p:cNvSpPr/>
            <p:nvPr/>
          </p:nvSpPr>
          <p:spPr>
            <a:xfrm>
              <a:off x="3346369" y="4054417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B2FB3C9-58E5-4234-BF80-858FE205CD2D}"/>
                </a:ext>
              </a:extLst>
            </p:cNvPr>
            <p:cNvSpPr/>
            <p:nvPr/>
          </p:nvSpPr>
          <p:spPr>
            <a:xfrm>
              <a:off x="3337199" y="4172972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03A3E34C-4377-43B5-8E0D-13C7F5D09FC9}"/>
                </a:ext>
              </a:extLst>
            </p:cNvPr>
            <p:cNvSpPr/>
            <p:nvPr/>
          </p:nvSpPr>
          <p:spPr>
            <a:xfrm>
              <a:off x="3448897" y="4410084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B9908CD4-5E83-4957-8751-7F6CCABAE274}"/>
                </a:ext>
              </a:extLst>
            </p:cNvPr>
            <p:cNvSpPr/>
            <p:nvPr/>
          </p:nvSpPr>
          <p:spPr>
            <a:xfrm>
              <a:off x="3542668" y="4528557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9D7715C-1055-4C67-A0A1-8A5019770FBF}"/>
                </a:ext>
              </a:extLst>
            </p:cNvPr>
            <p:cNvSpPr/>
            <p:nvPr/>
          </p:nvSpPr>
          <p:spPr>
            <a:xfrm>
              <a:off x="3666429" y="4765670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502DFD8-BE14-4C07-BE1D-598EB433F1F0}"/>
                </a:ext>
              </a:extLst>
            </p:cNvPr>
            <p:cNvSpPr/>
            <p:nvPr/>
          </p:nvSpPr>
          <p:spPr>
            <a:xfrm>
              <a:off x="3666429" y="5002699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3B6190D-85A5-4670-B5CB-93BA7E24C1E2}"/>
                </a:ext>
              </a:extLst>
            </p:cNvPr>
            <p:cNvSpPr/>
            <p:nvPr/>
          </p:nvSpPr>
          <p:spPr>
            <a:xfrm>
              <a:off x="3666429" y="5239811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40282882-EC0E-4FDB-901B-D811AB99E2CC}"/>
                </a:ext>
              </a:extLst>
            </p:cNvPr>
            <p:cNvSpPr/>
            <p:nvPr/>
          </p:nvSpPr>
          <p:spPr>
            <a:xfrm>
              <a:off x="3666429" y="5595396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94D48B3-12CD-4699-AFF9-71ED31A9ED45}"/>
                </a:ext>
              </a:extLst>
            </p:cNvPr>
            <p:cNvSpPr/>
            <p:nvPr/>
          </p:nvSpPr>
          <p:spPr>
            <a:xfrm>
              <a:off x="3666429" y="5476922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34C0969-6BFC-4855-B494-DDF7422B1B55}"/>
                </a:ext>
              </a:extLst>
            </p:cNvPr>
            <p:cNvSpPr/>
            <p:nvPr/>
          </p:nvSpPr>
          <p:spPr>
            <a:xfrm>
              <a:off x="3666429" y="4884225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E17B12C-35D7-40B6-92C8-9EA618A6292B}"/>
                </a:ext>
              </a:extLst>
            </p:cNvPr>
            <p:cNvSpPr/>
            <p:nvPr/>
          </p:nvSpPr>
          <p:spPr>
            <a:xfrm>
              <a:off x="3666429" y="5121255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A683FD3D-E811-4526-ABB7-271B554B77DA}"/>
                </a:ext>
              </a:extLst>
            </p:cNvPr>
            <p:cNvSpPr/>
            <p:nvPr/>
          </p:nvSpPr>
          <p:spPr>
            <a:xfrm>
              <a:off x="3666429" y="5358366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8D79EDC8-CEFB-4CDE-A971-A12D4FFBA267}"/>
                </a:ext>
              </a:extLst>
            </p:cNvPr>
            <p:cNvSpPr/>
            <p:nvPr/>
          </p:nvSpPr>
          <p:spPr>
            <a:xfrm>
              <a:off x="3666429" y="4647113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D9D1C23-F460-45C4-8549-C045367140A7}"/>
                </a:ext>
              </a:extLst>
            </p:cNvPr>
            <p:cNvSpPr/>
            <p:nvPr/>
          </p:nvSpPr>
          <p:spPr>
            <a:xfrm>
              <a:off x="3400814" y="4291528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FAD5234-1CAA-466A-8B9A-0A3DF34577F5}"/>
                </a:ext>
              </a:extLst>
            </p:cNvPr>
            <p:cNvSpPr/>
            <p:nvPr/>
          </p:nvSpPr>
          <p:spPr>
            <a:xfrm>
              <a:off x="3440801" y="3935943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380C2821-B55A-46A6-81E6-0B9CD4674DF1}"/>
                </a:ext>
              </a:extLst>
            </p:cNvPr>
            <p:cNvSpPr/>
            <p:nvPr/>
          </p:nvSpPr>
          <p:spPr>
            <a:xfrm>
              <a:off x="3440801" y="3817387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6D8A45BA-21F0-4DD2-813B-CFD7B32FF848}"/>
                </a:ext>
              </a:extLst>
            </p:cNvPr>
            <p:cNvSpPr/>
            <p:nvPr/>
          </p:nvSpPr>
          <p:spPr>
            <a:xfrm>
              <a:off x="3838108" y="5951064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EC142980-56E6-4543-998D-DC70D80FEF2D}"/>
                </a:ext>
              </a:extLst>
            </p:cNvPr>
            <p:cNvSpPr/>
            <p:nvPr/>
          </p:nvSpPr>
          <p:spPr>
            <a:xfrm>
              <a:off x="3733680" y="5832508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1ED414F3-2A2D-4B8F-9DA3-260FC47FD2FF}"/>
                </a:ext>
              </a:extLst>
            </p:cNvPr>
            <p:cNvSpPr/>
            <p:nvPr/>
          </p:nvSpPr>
          <p:spPr>
            <a:xfrm>
              <a:off x="3666429" y="5713951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75D88D9-9E9B-44B2-A68F-3F80369F56C3}"/>
                </a:ext>
              </a:extLst>
            </p:cNvPr>
            <p:cNvSpPr/>
            <p:nvPr/>
          </p:nvSpPr>
          <p:spPr>
            <a:xfrm>
              <a:off x="10413294" y="5832508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67CD23F5-B961-4014-9CD2-30AADB710D04}"/>
                </a:ext>
              </a:extLst>
            </p:cNvPr>
            <p:cNvSpPr/>
            <p:nvPr/>
          </p:nvSpPr>
          <p:spPr>
            <a:xfrm>
              <a:off x="10527306" y="5713951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1A0F94E-D5F2-47FD-A3A0-EFFA82C780C1}"/>
                </a:ext>
              </a:extLst>
            </p:cNvPr>
            <p:cNvSpPr/>
            <p:nvPr/>
          </p:nvSpPr>
          <p:spPr>
            <a:xfrm>
              <a:off x="10634048" y="5595396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651A445B-9D27-4ABD-A1B8-BCC1FF80CC83}"/>
                </a:ext>
              </a:extLst>
            </p:cNvPr>
            <p:cNvSpPr/>
            <p:nvPr/>
          </p:nvSpPr>
          <p:spPr>
            <a:xfrm>
              <a:off x="10715260" y="5595396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280AC5C-6181-442A-8D05-AB9EAE9619FB}"/>
                </a:ext>
              </a:extLst>
            </p:cNvPr>
            <p:cNvSpPr/>
            <p:nvPr/>
          </p:nvSpPr>
          <p:spPr>
            <a:xfrm>
              <a:off x="9847778" y="5595396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84DFA8BC-63DE-4A0A-802C-CBE9E8E71AA9}"/>
                </a:ext>
              </a:extLst>
            </p:cNvPr>
            <p:cNvSpPr/>
            <p:nvPr/>
          </p:nvSpPr>
          <p:spPr>
            <a:xfrm>
              <a:off x="9752438" y="5358366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C11B571C-CBD3-4243-A020-5598B9A19012}"/>
                </a:ext>
              </a:extLst>
            </p:cNvPr>
            <p:cNvSpPr/>
            <p:nvPr/>
          </p:nvSpPr>
          <p:spPr>
            <a:xfrm>
              <a:off x="9722696" y="5239811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4E1E7CF-F4BD-4C7A-B54F-CE7ABB9C29DE}"/>
                </a:ext>
              </a:extLst>
            </p:cNvPr>
            <p:cNvSpPr/>
            <p:nvPr/>
          </p:nvSpPr>
          <p:spPr>
            <a:xfrm>
              <a:off x="9629503" y="5121255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08A58A8B-63F6-45A0-AB48-2A0D466E233C}"/>
                </a:ext>
              </a:extLst>
            </p:cNvPr>
            <p:cNvSpPr/>
            <p:nvPr/>
          </p:nvSpPr>
          <p:spPr>
            <a:xfrm>
              <a:off x="9063491" y="5121255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E8CB43C4-9D7B-4D55-841F-922703F38B06}"/>
                </a:ext>
              </a:extLst>
            </p:cNvPr>
            <p:cNvSpPr/>
            <p:nvPr/>
          </p:nvSpPr>
          <p:spPr>
            <a:xfrm>
              <a:off x="9063491" y="4884225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F50F6B6A-9140-454A-9029-2757FA14DEEE}"/>
                </a:ext>
              </a:extLst>
            </p:cNvPr>
            <p:cNvSpPr/>
            <p:nvPr/>
          </p:nvSpPr>
          <p:spPr>
            <a:xfrm>
              <a:off x="9087698" y="4765670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7E1EF344-66DA-482A-84D5-3F3DF485962A}"/>
                </a:ext>
              </a:extLst>
            </p:cNvPr>
            <p:cNvSpPr/>
            <p:nvPr/>
          </p:nvSpPr>
          <p:spPr>
            <a:xfrm>
              <a:off x="9322745" y="4647113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50791487-4A8C-4229-AC17-3AFAFAE5241F}"/>
                </a:ext>
              </a:extLst>
            </p:cNvPr>
            <p:cNvSpPr/>
            <p:nvPr/>
          </p:nvSpPr>
          <p:spPr>
            <a:xfrm>
              <a:off x="9426182" y="4528557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5A6BF6F-3186-46B2-931A-4CD1981D52AD}"/>
                </a:ext>
              </a:extLst>
            </p:cNvPr>
            <p:cNvSpPr/>
            <p:nvPr/>
          </p:nvSpPr>
          <p:spPr>
            <a:xfrm>
              <a:off x="9940888" y="4528557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8E48EC10-DFBB-487B-982A-577A5F0A783A}"/>
                </a:ext>
              </a:extLst>
            </p:cNvPr>
            <p:cNvSpPr/>
            <p:nvPr/>
          </p:nvSpPr>
          <p:spPr>
            <a:xfrm>
              <a:off x="9940888" y="4410084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8B93C7C1-15F1-49D6-BF28-9AC166E77672}"/>
                </a:ext>
              </a:extLst>
            </p:cNvPr>
            <p:cNvSpPr/>
            <p:nvPr/>
          </p:nvSpPr>
          <p:spPr>
            <a:xfrm>
              <a:off x="9571589" y="4410084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B223574-B1B3-4881-8A4F-0F7C5C4285AA}"/>
                </a:ext>
              </a:extLst>
            </p:cNvPr>
            <p:cNvSpPr/>
            <p:nvPr/>
          </p:nvSpPr>
          <p:spPr>
            <a:xfrm>
              <a:off x="9088029" y="5002699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F26D982-F276-48E8-9AE7-86D262F9A07E}"/>
                </a:ext>
              </a:extLst>
            </p:cNvPr>
            <p:cNvSpPr/>
            <p:nvPr/>
          </p:nvSpPr>
          <p:spPr>
            <a:xfrm>
              <a:off x="10750951" y="5358366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F2E837D-2D39-4C1A-97F2-6DE2825312E6}"/>
                </a:ext>
              </a:extLst>
            </p:cNvPr>
            <p:cNvSpPr/>
            <p:nvPr/>
          </p:nvSpPr>
          <p:spPr>
            <a:xfrm>
              <a:off x="10734097" y="5476922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9DC6F28A-48AC-4ED4-B3AD-420D9E519C43}"/>
                </a:ext>
              </a:extLst>
            </p:cNvPr>
            <p:cNvSpPr/>
            <p:nvPr/>
          </p:nvSpPr>
          <p:spPr>
            <a:xfrm>
              <a:off x="6220711" y="5002699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1F5B652E-817F-407B-B6D5-AC6A397C1502}"/>
                </a:ext>
              </a:extLst>
            </p:cNvPr>
            <p:cNvSpPr/>
            <p:nvPr/>
          </p:nvSpPr>
          <p:spPr>
            <a:xfrm>
              <a:off x="6173866" y="4884225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10238319-BAE5-4EBC-A822-646E80614DA9}"/>
                </a:ext>
              </a:extLst>
            </p:cNvPr>
            <p:cNvSpPr/>
            <p:nvPr/>
          </p:nvSpPr>
          <p:spPr>
            <a:xfrm>
              <a:off x="6145528" y="4765670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3E4C6295-3BAE-4CFD-BD5F-971500CE759B}"/>
                </a:ext>
              </a:extLst>
            </p:cNvPr>
            <p:cNvSpPr/>
            <p:nvPr/>
          </p:nvSpPr>
          <p:spPr>
            <a:xfrm>
              <a:off x="6107855" y="4647113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9430ADB7-56DC-4947-8B4E-B5E68B85F844}"/>
                </a:ext>
              </a:extLst>
            </p:cNvPr>
            <p:cNvSpPr/>
            <p:nvPr/>
          </p:nvSpPr>
          <p:spPr>
            <a:xfrm>
              <a:off x="7030856" y="4647113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2881A6A9-338A-4E96-8A77-4703DC045F54}"/>
                </a:ext>
              </a:extLst>
            </p:cNvPr>
            <p:cNvSpPr/>
            <p:nvPr/>
          </p:nvSpPr>
          <p:spPr>
            <a:xfrm>
              <a:off x="7030856" y="4528557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DEA547CE-7C46-4CF3-BC84-32CD1225ACA5}"/>
                </a:ext>
              </a:extLst>
            </p:cNvPr>
            <p:cNvSpPr/>
            <p:nvPr/>
          </p:nvSpPr>
          <p:spPr>
            <a:xfrm>
              <a:off x="7165027" y="4410084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7A6552A9-4856-4E2B-9C1F-12D1DAD2FF1F}"/>
                </a:ext>
              </a:extLst>
            </p:cNvPr>
            <p:cNvSpPr/>
            <p:nvPr/>
          </p:nvSpPr>
          <p:spPr>
            <a:xfrm>
              <a:off x="7010036" y="4765670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A6F3DB1E-5CE6-4DCA-BC79-108DFD7F0D20}"/>
                </a:ext>
              </a:extLst>
            </p:cNvPr>
            <p:cNvSpPr/>
            <p:nvPr/>
          </p:nvSpPr>
          <p:spPr>
            <a:xfrm>
              <a:off x="6075965" y="4528557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7D77-385A-45A8-B3FB-F1651E7CED51}"/>
                </a:ext>
              </a:extLst>
            </p:cNvPr>
            <p:cNvSpPr/>
            <p:nvPr/>
          </p:nvSpPr>
          <p:spPr>
            <a:xfrm>
              <a:off x="6115208" y="4291528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E94D055-0E4A-4B4A-8322-03028E121C69}"/>
                </a:ext>
              </a:extLst>
            </p:cNvPr>
            <p:cNvSpPr/>
            <p:nvPr/>
          </p:nvSpPr>
          <p:spPr>
            <a:xfrm>
              <a:off x="6072578" y="4172972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0AE5AA87-B6ED-49AD-80CB-BCA2596D2E1A}"/>
                </a:ext>
              </a:extLst>
            </p:cNvPr>
            <p:cNvSpPr/>
            <p:nvPr/>
          </p:nvSpPr>
          <p:spPr>
            <a:xfrm>
              <a:off x="5994421" y="4054417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914BFDE3-1B9D-4C2B-9421-B896B77FA1A2}"/>
                </a:ext>
              </a:extLst>
            </p:cNvPr>
            <p:cNvSpPr/>
            <p:nvPr/>
          </p:nvSpPr>
          <p:spPr>
            <a:xfrm>
              <a:off x="6026890" y="3935943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EC1A9FE7-19F6-4BF6-8F80-6AD7B0ED55C6}"/>
                </a:ext>
              </a:extLst>
            </p:cNvPr>
            <p:cNvSpPr/>
            <p:nvPr/>
          </p:nvSpPr>
          <p:spPr>
            <a:xfrm>
              <a:off x="5354220" y="3817387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3CDEFCB0-80EF-436B-86E4-5AC9D7A2D2EB}"/>
                </a:ext>
              </a:extLst>
            </p:cNvPr>
            <p:cNvSpPr/>
            <p:nvPr/>
          </p:nvSpPr>
          <p:spPr>
            <a:xfrm>
              <a:off x="5250204" y="3698832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41509FE0-898E-431C-B588-35EE867722EF}"/>
                </a:ext>
              </a:extLst>
            </p:cNvPr>
            <p:cNvSpPr/>
            <p:nvPr/>
          </p:nvSpPr>
          <p:spPr>
            <a:xfrm>
              <a:off x="5225171" y="3580276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40110E06-716C-4A70-95A1-8CC04CD3C85B}"/>
                </a:ext>
              </a:extLst>
            </p:cNvPr>
            <p:cNvSpPr/>
            <p:nvPr/>
          </p:nvSpPr>
          <p:spPr>
            <a:xfrm>
              <a:off x="5225171" y="3343246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8E7E65-6541-4E1F-9363-4DA3A6738770}"/>
                </a:ext>
              </a:extLst>
            </p:cNvPr>
            <p:cNvSpPr/>
            <p:nvPr/>
          </p:nvSpPr>
          <p:spPr>
            <a:xfrm>
              <a:off x="5324064" y="3224690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52D69CD7-9238-42EA-AA06-275BB981A12C}"/>
                </a:ext>
              </a:extLst>
            </p:cNvPr>
            <p:cNvSpPr/>
            <p:nvPr/>
          </p:nvSpPr>
          <p:spPr>
            <a:xfrm>
              <a:off x="5436506" y="3106134"/>
              <a:ext cx="1710096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AAF6ED0E-4A21-4C26-8619-E5A4B86E2ABA}"/>
                </a:ext>
              </a:extLst>
            </p:cNvPr>
            <p:cNvSpPr/>
            <p:nvPr/>
          </p:nvSpPr>
          <p:spPr>
            <a:xfrm>
              <a:off x="5542504" y="2987578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C97775CE-BC3A-4DFA-A88D-ED09F5BB7A41}"/>
                </a:ext>
              </a:extLst>
            </p:cNvPr>
            <p:cNvSpPr/>
            <p:nvPr/>
          </p:nvSpPr>
          <p:spPr>
            <a:xfrm>
              <a:off x="5776642" y="2869105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2A4F2288-3031-4BA9-9185-9D0E5EFE6CA0}"/>
                </a:ext>
              </a:extLst>
            </p:cNvPr>
            <p:cNvSpPr/>
            <p:nvPr/>
          </p:nvSpPr>
          <p:spPr>
            <a:xfrm>
              <a:off x="5483764" y="2869105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034D425E-C10F-4AB1-B331-CAF1260F48BF}"/>
                </a:ext>
              </a:extLst>
            </p:cNvPr>
            <p:cNvSpPr/>
            <p:nvPr/>
          </p:nvSpPr>
          <p:spPr>
            <a:xfrm>
              <a:off x="6084309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250B6D43-D472-43C1-8977-2D491198CD85}"/>
                </a:ext>
              </a:extLst>
            </p:cNvPr>
            <p:cNvSpPr/>
            <p:nvPr/>
          </p:nvSpPr>
          <p:spPr>
            <a:xfrm>
              <a:off x="6314564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DC1F5F25-8AD4-4D07-ABB3-FCF5A7853EED}"/>
                </a:ext>
              </a:extLst>
            </p:cNvPr>
            <p:cNvSpPr/>
            <p:nvPr/>
          </p:nvSpPr>
          <p:spPr>
            <a:xfrm>
              <a:off x="5260036" y="3461719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BEFA070D-3F63-4594-AFE8-BA13D686B6C9}"/>
                </a:ext>
              </a:extLst>
            </p:cNvPr>
            <p:cNvSpPr/>
            <p:nvPr/>
          </p:nvSpPr>
          <p:spPr>
            <a:xfrm>
              <a:off x="6115208" y="4410084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4337CEFE-D1B3-4BF9-897D-539A53BAACA8}"/>
                </a:ext>
              </a:extLst>
            </p:cNvPr>
            <p:cNvSpPr/>
            <p:nvPr/>
          </p:nvSpPr>
          <p:spPr>
            <a:xfrm>
              <a:off x="3006647" y="3580276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1C009785-922A-4EB8-B95F-E971D093CE0B}"/>
                </a:ext>
              </a:extLst>
            </p:cNvPr>
            <p:cNvSpPr/>
            <p:nvPr/>
          </p:nvSpPr>
          <p:spPr>
            <a:xfrm>
              <a:off x="3052003" y="3461719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B65B84DE-4F63-472F-844A-9CF75994A15A}"/>
                </a:ext>
              </a:extLst>
            </p:cNvPr>
            <p:cNvSpPr/>
            <p:nvPr/>
          </p:nvSpPr>
          <p:spPr>
            <a:xfrm>
              <a:off x="3594718" y="3461719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E7751849-EA1C-41A6-ADBE-5320C0F4B46B}"/>
                </a:ext>
              </a:extLst>
            </p:cNvPr>
            <p:cNvSpPr/>
            <p:nvPr/>
          </p:nvSpPr>
          <p:spPr>
            <a:xfrm>
              <a:off x="3766396" y="3461719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6AD51C5E-04FD-44A4-9E7A-467139F06E70}"/>
                </a:ext>
              </a:extLst>
            </p:cNvPr>
            <p:cNvSpPr/>
            <p:nvPr/>
          </p:nvSpPr>
          <p:spPr>
            <a:xfrm>
              <a:off x="2690635" y="3461719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E5931BA5-61B3-4DCE-9512-0D54EB582658}"/>
                </a:ext>
              </a:extLst>
            </p:cNvPr>
            <p:cNvSpPr/>
            <p:nvPr/>
          </p:nvSpPr>
          <p:spPr>
            <a:xfrm>
              <a:off x="2635365" y="3343246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6C911811-CBFB-4414-A5FC-CBE727C80204}"/>
                </a:ext>
              </a:extLst>
            </p:cNvPr>
            <p:cNvSpPr/>
            <p:nvPr/>
          </p:nvSpPr>
          <p:spPr>
            <a:xfrm>
              <a:off x="3266148" y="3343246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966A176E-DD3B-4102-A3F0-88C1C0F6DC45}"/>
                </a:ext>
              </a:extLst>
            </p:cNvPr>
            <p:cNvSpPr/>
            <p:nvPr/>
          </p:nvSpPr>
          <p:spPr>
            <a:xfrm>
              <a:off x="3341908" y="3224690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72C587E6-17FA-4E8B-97DE-78589D15C311}"/>
                </a:ext>
              </a:extLst>
            </p:cNvPr>
            <p:cNvSpPr/>
            <p:nvPr/>
          </p:nvSpPr>
          <p:spPr>
            <a:xfrm>
              <a:off x="2564479" y="3224690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3D9886CF-3DBD-4203-B74F-F09AB5D2F1A1}"/>
                </a:ext>
              </a:extLst>
            </p:cNvPr>
            <p:cNvSpPr/>
            <p:nvPr/>
          </p:nvSpPr>
          <p:spPr>
            <a:xfrm>
              <a:off x="2477070" y="3106134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C7824329-BAB7-4129-A277-FB2CDE2965A8}"/>
                </a:ext>
              </a:extLst>
            </p:cNvPr>
            <p:cNvSpPr/>
            <p:nvPr/>
          </p:nvSpPr>
          <p:spPr>
            <a:xfrm>
              <a:off x="2350830" y="2987578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83C4861F-CEBE-4762-9F53-0021D0F18F06}"/>
                </a:ext>
              </a:extLst>
            </p:cNvPr>
            <p:cNvSpPr/>
            <p:nvPr/>
          </p:nvSpPr>
          <p:spPr>
            <a:xfrm>
              <a:off x="2243593" y="2869105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08872781-23A1-4DF2-82A0-D62C73C1A86B}"/>
                </a:ext>
              </a:extLst>
            </p:cNvPr>
            <p:cNvSpPr/>
            <p:nvPr/>
          </p:nvSpPr>
          <p:spPr>
            <a:xfrm>
              <a:off x="2212364" y="2750549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13FA3A63-8535-4F21-A202-EC4BC5271911}"/>
                </a:ext>
              </a:extLst>
            </p:cNvPr>
            <p:cNvSpPr/>
            <p:nvPr/>
          </p:nvSpPr>
          <p:spPr>
            <a:xfrm>
              <a:off x="2212364" y="2631993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145DBCEA-4C5D-4F71-B581-3608CA0977C5}"/>
                </a:ext>
              </a:extLst>
            </p:cNvPr>
            <p:cNvSpPr/>
            <p:nvPr/>
          </p:nvSpPr>
          <p:spPr>
            <a:xfrm>
              <a:off x="2212364" y="2513438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C15AA1C9-41AF-4C7D-823E-00EA25A0FAAA}"/>
                </a:ext>
              </a:extLst>
            </p:cNvPr>
            <p:cNvSpPr/>
            <p:nvPr/>
          </p:nvSpPr>
          <p:spPr>
            <a:xfrm>
              <a:off x="2212364" y="2039296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63E706DD-34AD-4AAA-862C-DDE9A3D35A4C}"/>
                </a:ext>
              </a:extLst>
            </p:cNvPr>
            <p:cNvSpPr/>
            <p:nvPr/>
          </p:nvSpPr>
          <p:spPr>
            <a:xfrm>
              <a:off x="2212364" y="1920740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DD49CD24-E589-4854-866E-D49B55313AAE}"/>
                </a:ext>
              </a:extLst>
            </p:cNvPr>
            <p:cNvSpPr/>
            <p:nvPr/>
          </p:nvSpPr>
          <p:spPr>
            <a:xfrm>
              <a:off x="2183447" y="1802267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424775C3-6E43-42FD-87EA-9D1A11D0E3E3}"/>
                </a:ext>
              </a:extLst>
            </p:cNvPr>
            <p:cNvSpPr/>
            <p:nvPr/>
          </p:nvSpPr>
          <p:spPr>
            <a:xfrm>
              <a:off x="2104217" y="1683711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07693D60-7983-4E4F-8841-A1576974EA2C}"/>
                </a:ext>
              </a:extLst>
            </p:cNvPr>
            <p:cNvSpPr/>
            <p:nvPr/>
          </p:nvSpPr>
          <p:spPr>
            <a:xfrm>
              <a:off x="1484917" y="1683711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FF5E5463-5FD8-4788-86C5-4C1A728FA9EA}"/>
                </a:ext>
              </a:extLst>
            </p:cNvPr>
            <p:cNvSpPr/>
            <p:nvPr/>
          </p:nvSpPr>
          <p:spPr>
            <a:xfrm>
              <a:off x="1299607" y="1802267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8DA2EF70-2F25-4B34-A0A4-F4F4180769F6}"/>
                </a:ext>
              </a:extLst>
            </p:cNvPr>
            <p:cNvSpPr/>
            <p:nvPr/>
          </p:nvSpPr>
          <p:spPr>
            <a:xfrm>
              <a:off x="1518212" y="1565155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83997535-B00F-44B3-8CF9-C50409CDF864}"/>
                </a:ext>
              </a:extLst>
            </p:cNvPr>
            <p:cNvSpPr/>
            <p:nvPr/>
          </p:nvSpPr>
          <p:spPr>
            <a:xfrm>
              <a:off x="1994254" y="1565155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0EDF5AE4-EA15-448F-B2B3-ED6F6B195E73}"/>
                </a:ext>
              </a:extLst>
            </p:cNvPr>
            <p:cNvSpPr/>
            <p:nvPr/>
          </p:nvSpPr>
          <p:spPr>
            <a:xfrm>
              <a:off x="1478721" y="1446599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31638DA6-8A8C-465D-80E8-56867384CFCE}"/>
                </a:ext>
              </a:extLst>
            </p:cNvPr>
            <p:cNvSpPr/>
            <p:nvPr/>
          </p:nvSpPr>
          <p:spPr>
            <a:xfrm>
              <a:off x="1478721" y="1328044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4716E1BB-A539-41ED-9626-A300269AA0D4}"/>
                </a:ext>
              </a:extLst>
            </p:cNvPr>
            <p:cNvSpPr/>
            <p:nvPr/>
          </p:nvSpPr>
          <p:spPr>
            <a:xfrm>
              <a:off x="1716494" y="1209570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9E0311EB-D56B-4531-B229-1F619959C62A}"/>
                </a:ext>
              </a:extLst>
            </p:cNvPr>
            <p:cNvSpPr/>
            <p:nvPr/>
          </p:nvSpPr>
          <p:spPr>
            <a:xfrm>
              <a:off x="1587693" y="1091014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A09805CE-67EC-41F9-9388-3AD2B09AAFFF}"/>
                </a:ext>
              </a:extLst>
            </p:cNvPr>
            <p:cNvSpPr/>
            <p:nvPr/>
          </p:nvSpPr>
          <p:spPr>
            <a:xfrm>
              <a:off x="3003672" y="1091014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42364571-B11F-42A8-84EE-287BF254D006}"/>
                </a:ext>
              </a:extLst>
            </p:cNvPr>
            <p:cNvSpPr/>
            <p:nvPr/>
          </p:nvSpPr>
          <p:spPr>
            <a:xfrm>
              <a:off x="3472774" y="1091014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39D18338-D192-41B3-B5A5-35904866E131}"/>
                </a:ext>
              </a:extLst>
            </p:cNvPr>
            <p:cNvSpPr/>
            <p:nvPr/>
          </p:nvSpPr>
          <p:spPr>
            <a:xfrm>
              <a:off x="3497063" y="972458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7AE69F76-04AC-4263-99A2-AFF3CB42C163}"/>
                </a:ext>
              </a:extLst>
            </p:cNvPr>
            <p:cNvSpPr/>
            <p:nvPr/>
          </p:nvSpPr>
          <p:spPr>
            <a:xfrm>
              <a:off x="3786885" y="853902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DC08C51B-9707-46AB-A623-ECC7C767BC56}"/>
                </a:ext>
              </a:extLst>
            </p:cNvPr>
            <p:cNvSpPr/>
            <p:nvPr/>
          </p:nvSpPr>
          <p:spPr>
            <a:xfrm>
              <a:off x="3228227" y="735428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67EF4A61-7A9F-4C7C-B935-884C4CCC578E}"/>
                </a:ext>
              </a:extLst>
            </p:cNvPr>
            <p:cNvSpPr/>
            <p:nvPr/>
          </p:nvSpPr>
          <p:spPr>
            <a:xfrm>
              <a:off x="3565719" y="735428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57366B54-4E88-4820-9B43-BF8A0E7C8615}"/>
                </a:ext>
              </a:extLst>
            </p:cNvPr>
            <p:cNvSpPr/>
            <p:nvPr/>
          </p:nvSpPr>
          <p:spPr>
            <a:xfrm>
              <a:off x="3759787" y="735428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6EEFC6FE-3156-4139-862F-ADED9DD7CC6A}"/>
                </a:ext>
              </a:extLst>
            </p:cNvPr>
            <p:cNvSpPr/>
            <p:nvPr/>
          </p:nvSpPr>
          <p:spPr>
            <a:xfrm>
              <a:off x="3169238" y="616873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300C31B4-5BEA-4D19-873B-4A84230E7361}"/>
                </a:ext>
              </a:extLst>
            </p:cNvPr>
            <p:cNvSpPr/>
            <p:nvPr/>
          </p:nvSpPr>
          <p:spPr>
            <a:xfrm>
              <a:off x="3496402" y="498317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0B70B54C-B30B-4D4B-B5E4-E7F0A98B93B6}"/>
                </a:ext>
              </a:extLst>
            </p:cNvPr>
            <p:cNvSpPr/>
            <p:nvPr/>
          </p:nvSpPr>
          <p:spPr>
            <a:xfrm>
              <a:off x="3679070" y="498317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428196C6-AEF5-43F5-96AD-007264DF0A8F}"/>
                </a:ext>
              </a:extLst>
            </p:cNvPr>
            <p:cNvSpPr/>
            <p:nvPr/>
          </p:nvSpPr>
          <p:spPr>
            <a:xfrm>
              <a:off x="3900815" y="498317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EBAE607E-CB47-4782-8A91-B3603EB86E30}"/>
                </a:ext>
              </a:extLst>
            </p:cNvPr>
            <p:cNvSpPr/>
            <p:nvPr/>
          </p:nvSpPr>
          <p:spPr>
            <a:xfrm>
              <a:off x="3985084" y="379761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AF1A646A-A512-4789-B951-2BE698E33033}"/>
                </a:ext>
              </a:extLst>
            </p:cNvPr>
            <p:cNvSpPr/>
            <p:nvPr/>
          </p:nvSpPr>
          <p:spPr>
            <a:xfrm>
              <a:off x="4107275" y="379761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4A3E6B9F-9CB4-406B-B4D2-30688386D683}"/>
                </a:ext>
              </a:extLst>
            </p:cNvPr>
            <p:cNvSpPr/>
            <p:nvPr/>
          </p:nvSpPr>
          <p:spPr>
            <a:xfrm>
              <a:off x="4314150" y="261288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ED72926C-B2ED-4772-908B-7C7EB81F9B74}"/>
                </a:ext>
              </a:extLst>
            </p:cNvPr>
            <p:cNvSpPr/>
            <p:nvPr/>
          </p:nvSpPr>
          <p:spPr>
            <a:xfrm>
              <a:off x="3679070" y="616873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450F53BA-4A36-477E-8932-C362C366CC8B}"/>
                </a:ext>
              </a:extLst>
            </p:cNvPr>
            <p:cNvSpPr/>
            <p:nvPr/>
          </p:nvSpPr>
          <p:spPr>
            <a:xfrm>
              <a:off x="3900815" y="616873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DE867CB6-93FD-4ADD-BAA2-B78887AB069A}"/>
                </a:ext>
              </a:extLst>
            </p:cNvPr>
            <p:cNvSpPr/>
            <p:nvPr/>
          </p:nvSpPr>
          <p:spPr>
            <a:xfrm>
              <a:off x="3934853" y="972458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5DCACE6D-D01A-4681-BCAD-D1D4A1546671}"/>
                </a:ext>
              </a:extLst>
            </p:cNvPr>
            <p:cNvSpPr/>
            <p:nvPr/>
          </p:nvSpPr>
          <p:spPr>
            <a:xfrm>
              <a:off x="3472774" y="1209570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D2CED5AF-64D2-4600-93C6-1B2B68EB4C64}"/>
                </a:ext>
              </a:extLst>
            </p:cNvPr>
            <p:cNvSpPr/>
            <p:nvPr/>
          </p:nvSpPr>
          <p:spPr>
            <a:xfrm>
              <a:off x="3680144" y="1209570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2D29496E-85D5-406F-9853-69B4A3E05F73}"/>
                </a:ext>
              </a:extLst>
            </p:cNvPr>
            <p:cNvSpPr/>
            <p:nvPr/>
          </p:nvSpPr>
          <p:spPr>
            <a:xfrm>
              <a:off x="3715256" y="1091014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346DDB5F-5CF9-456C-9385-A24D3C2DC82A}"/>
                </a:ext>
              </a:extLst>
            </p:cNvPr>
            <p:cNvSpPr/>
            <p:nvPr/>
          </p:nvSpPr>
          <p:spPr>
            <a:xfrm>
              <a:off x="3472774" y="1328044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FDFEA07D-7B7A-41F8-8176-858DAA415D8A}"/>
                </a:ext>
              </a:extLst>
            </p:cNvPr>
            <p:cNvSpPr/>
            <p:nvPr/>
          </p:nvSpPr>
          <p:spPr>
            <a:xfrm>
              <a:off x="3724592" y="1328044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B114FCEF-FBBB-4D15-872F-F864BD02E0DE}"/>
                </a:ext>
              </a:extLst>
            </p:cNvPr>
            <p:cNvSpPr/>
            <p:nvPr/>
          </p:nvSpPr>
          <p:spPr>
            <a:xfrm>
              <a:off x="3933862" y="1328044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BFE7BF3D-A242-49F7-9E31-17A9B6E00867}"/>
                </a:ext>
              </a:extLst>
            </p:cNvPr>
            <p:cNvSpPr/>
            <p:nvPr/>
          </p:nvSpPr>
          <p:spPr>
            <a:xfrm>
              <a:off x="3995081" y="1446599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8AE5106F-6C99-4DD4-BEC4-3453D390284E}"/>
                </a:ext>
              </a:extLst>
            </p:cNvPr>
            <p:cNvSpPr/>
            <p:nvPr/>
          </p:nvSpPr>
          <p:spPr>
            <a:xfrm>
              <a:off x="3922874" y="1683711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F9B6DFE5-65FA-458A-93C3-ED5465D06DAD}"/>
                </a:ext>
              </a:extLst>
            </p:cNvPr>
            <p:cNvSpPr/>
            <p:nvPr/>
          </p:nvSpPr>
          <p:spPr>
            <a:xfrm>
              <a:off x="3923700" y="1565155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A24D113A-C38F-4951-9473-D05C8B38E4DF}"/>
                </a:ext>
              </a:extLst>
            </p:cNvPr>
            <p:cNvSpPr/>
            <p:nvPr/>
          </p:nvSpPr>
          <p:spPr>
            <a:xfrm>
              <a:off x="3003672" y="972458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4ED31378-7D1B-4329-AE93-30CEC464CFD3}"/>
                </a:ext>
              </a:extLst>
            </p:cNvPr>
            <p:cNvSpPr/>
            <p:nvPr/>
          </p:nvSpPr>
          <p:spPr>
            <a:xfrm>
              <a:off x="2940470" y="853902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062D3438-2842-44AC-BE00-636C0C623ACC}"/>
                </a:ext>
              </a:extLst>
            </p:cNvPr>
            <p:cNvSpPr/>
            <p:nvPr/>
          </p:nvSpPr>
          <p:spPr>
            <a:xfrm>
              <a:off x="1776144" y="972458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CD58726E-BF02-4A95-9C6D-CCCD9B190697}"/>
                </a:ext>
              </a:extLst>
            </p:cNvPr>
            <p:cNvSpPr/>
            <p:nvPr/>
          </p:nvSpPr>
          <p:spPr>
            <a:xfrm>
              <a:off x="1776144" y="853902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74C8256E-AABE-41AD-AC94-9F0067A51C77}"/>
                </a:ext>
              </a:extLst>
            </p:cNvPr>
            <p:cNvSpPr/>
            <p:nvPr/>
          </p:nvSpPr>
          <p:spPr>
            <a:xfrm>
              <a:off x="1970791" y="735428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589793DB-2DB7-4288-B8CC-A91331402547}"/>
                </a:ext>
              </a:extLst>
            </p:cNvPr>
            <p:cNvSpPr/>
            <p:nvPr/>
          </p:nvSpPr>
          <p:spPr>
            <a:xfrm>
              <a:off x="3704185" y="2039296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15127EE3-8C12-4E86-9761-513BB9655478}"/>
                </a:ext>
              </a:extLst>
            </p:cNvPr>
            <p:cNvSpPr/>
            <p:nvPr/>
          </p:nvSpPr>
          <p:spPr>
            <a:xfrm>
              <a:off x="3704185" y="1920740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D252A495-37FC-4F35-9615-F04A97E6591D}"/>
                </a:ext>
              </a:extLst>
            </p:cNvPr>
            <p:cNvSpPr/>
            <p:nvPr/>
          </p:nvSpPr>
          <p:spPr>
            <a:xfrm>
              <a:off x="3751525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6058E889-1FA8-4320-BA2B-E97439E9D6FA}"/>
                </a:ext>
              </a:extLst>
            </p:cNvPr>
            <p:cNvSpPr/>
            <p:nvPr/>
          </p:nvSpPr>
          <p:spPr>
            <a:xfrm>
              <a:off x="4476741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596CA0E3-A0FD-47F6-BA40-67C472E5561B}"/>
                </a:ext>
              </a:extLst>
            </p:cNvPr>
            <p:cNvSpPr/>
            <p:nvPr/>
          </p:nvSpPr>
          <p:spPr>
            <a:xfrm>
              <a:off x="4451294" y="1683711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491B4BC1-CD25-4905-BA74-09111995256F}"/>
                </a:ext>
              </a:extLst>
            </p:cNvPr>
            <p:cNvSpPr/>
            <p:nvPr/>
          </p:nvSpPr>
          <p:spPr>
            <a:xfrm>
              <a:off x="5147015" y="1683711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E6D9A446-4741-4452-950B-FC97D3365361}"/>
                </a:ext>
              </a:extLst>
            </p:cNvPr>
            <p:cNvSpPr/>
            <p:nvPr/>
          </p:nvSpPr>
          <p:spPr>
            <a:xfrm>
              <a:off x="4451294" y="1565155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D7D64F3C-F3A1-41E6-9F4C-FA1FE087E7DB}"/>
                </a:ext>
              </a:extLst>
            </p:cNvPr>
            <p:cNvSpPr/>
            <p:nvPr/>
          </p:nvSpPr>
          <p:spPr>
            <a:xfrm>
              <a:off x="4451294" y="1446599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294D3041-59A6-44CE-A046-7B28D1F5FC4F}"/>
                </a:ext>
              </a:extLst>
            </p:cNvPr>
            <p:cNvSpPr/>
            <p:nvPr/>
          </p:nvSpPr>
          <p:spPr>
            <a:xfrm>
              <a:off x="4451294" y="1516906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F9810E38-9775-4B77-BF79-59355230CC4C}"/>
                </a:ext>
              </a:extLst>
            </p:cNvPr>
            <p:cNvSpPr/>
            <p:nvPr/>
          </p:nvSpPr>
          <p:spPr>
            <a:xfrm>
              <a:off x="4451294" y="1328044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7C280D07-32FD-4A40-AF7F-76FE597754AB}"/>
                </a:ext>
              </a:extLst>
            </p:cNvPr>
            <p:cNvSpPr/>
            <p:nvPr/>
          </p:nvSpPr>
          <p:spPr>
            <a:xfrm>
              <a:off x="4485580" y="1209570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FDBBAAD6-69A8-40AA-90C1-958E50B679DF}"/>
                </a:ext>
              </a:extLst>
            </p:cNvPr>
            <p:cNvSpPr/>
            <p:nvPr/>
          </p:nvSpPr>
          <p:spPr>
            <a:xfrm>
              <a:off x="4273584" y="853902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661F1725-0C9E-4011-AD91-C423E0822529}"/>
                </a:ext>
              </a:extLst>
            </p:cNvPr>
            <p:cNvSpPr/>
            <p:nvPr/>
          </p:nvSpPr>
          <p:spPr>
            <a:xfrm>
              <a:off x="5925766" y="853902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CA1548BA-5E4D-4007-BCDE-21137A2E9FD6}"/>
                </a:ext>
              </a:extLst>
            </p:cNvPr>
            <p:cNvSpPr/>
            <p:nvPr/>
          </p:nvSpPr>
          <p:spPr>
            <a:xfrm>
              <a:off x="6066133" y="735428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3692E985-732B-4367-A4E1-1AD2CFA1DA44}"/>
                </a:ext>
              </a:extLst>
            </p:cNvPr>
            <p:cNvSpPr/>
            <p:nvPr/>
          </p:nvSpPr>
          <p:spPr>
            <a:xfrm>
              <a:off x="6006731" y="972458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C6D70B79-EBBD-4FB3-8DBA-1A20F4699E5E}"/>
                </a:ext>
              </a:extLst>
            </p:cNvPr>
            <p:cNvSpPr/>
            <p:nvPr/>
          </p:nvSpPr>
          <p:spPr>
            <a:xfrm>
              <a:off x="4273584" y="735428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B123857F-4F07-4F8A-A6B0-9724328EA3D0}"/>
                </a:ext>
              </a:extLst>
            </p:cNvPr>
            <p:cNvSpPr/>
            <p:nvPr/>
          </p:nvSpPr>
          <p:spPr>
            <a:xfrm>
              <a:off x="4470378" y="616873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E2810231-A160-4F2A-8E81-06B274F4C204}"/>
                </a:ext>
              </a:extLst>
            </p:cNvPr>
            <p:cNvSpPr/>
            <p:nvPr/>
          </p:nvSpPr>
          <p:spPr>
            <a:xfrm>
              <a:off x="4540025" y="498317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3486F854-4DC9-4F44-AB62-CBCD1A043F99}"/>
                </a:ext>
              </a:extLst>
            </p:cNvPr>
            <p:cNvSpPr/>
            <p:nvPr/>
          </p:nvSpPr>
          <p:spPr>
            <a:xfrm>
              <a:off x="4972445" y="379761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006129A4-97B6-4EE4-BC88-FE0BD746BF69}"/>
                </a:ext>
              </a:extLst>
            </p:cNvPr>
            <p:cNvSpPr/>
            <p:nvPr/>
          </p:nvSpPr>
          <p:spPr>
            <a:xfrm>
              <a:off x="4485580" y="972458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DF3158CF-F32F-4C71-B82B-99B53861347F}"/>
                </a:ext>
              </a:extLst>
            </p:cNvPr>
            <p:cNvSpPr/>
            <p:nvPr/>
          </p:nvSpPr>
          <p:spPr>
            <a:xfrm>
              <a:off x="4485580" y="1091014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D1F656AB-B82E-4AE7-BF58-7351B9795823}"/>
                </a:ext>
              </a:extLst>
            </p:cNvPr>
            <p:cNvSpPr/>
            <p:nvPr/>
          </p:nvSpPr>
          <p:spPr>
            <a:xfrm>
              <a:off x="4567289" y="1920740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80E1352A-73BB-4222-B889-ADA7DAF4B87F}"/>
                </a:ext>
              </a:extLst>
            </p:cNvPr>
            <p:cNvSpPr/>
            <p:nvPr/>
          </p:nvSpPr>
          <p:spPr>
            <a:xfrm>
              <a:off x="4021849" y="1920740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DCB25CC3-E637-4C31-A6D9-EA3E2975A285}"/>
                </a:ext>
              </a:extLst>
            </p:cNvPr>
            <p:cNvSpPr/>
            <p:nvPr/>
          </p:nvSpPr>
          <p:spPr>
            <a:xfrm>
              <a:off x="2277713" y="2394881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D4254344-2205-4D3D-8B63-02226F3DFA81}"/>
                </a:ext>
              </a:extLst>
            </p:cNvPr>
            <p:cNvSpPr/>
            <p:nvPr/>
          </p:nvSpPr>
          <p:spPr>
            <a:xfrm>
              <a:off x="4119255" y="2394881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4F55AC46-7415-408A-B706-78054808D4DE}"/>
                </a:ext>
              </a:extLst>
            </p:cNvPr>
            <p:cNvSpPr/>
            <p:nvPr/>
          </p:nvSpPr>
          <p:spPr>
            <a:xfrm>
              <a:off x="2277713" y="2276408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4841592F-1652-43F8-B27F-9C300E4AF38A}"/>
                </a:ext>
              </a:extLst>
            </p:cNvPr>
            <p:cNvSpPr/>
            <p:nvPr/>
          </p:nvSpPr>
          <p:spPr>
            <a:xfrm>
              <a:off x="3619750" y="2157852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2424B38A-E637-4A06-B221-24869284163B}"/>
                </a:ext>
              </a:extLst>
            </p:cNvPr>
            <p:cNvSpPr/>
            <p:nvPr/>
          </p:nvSpPr>
          <p:spPr>
            <a:xfrm>
              <a:off x="2277713" y="2157852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1EADDF5C-5B6B-41F8-ADB3-1475BDF52D4F}"/>
                </a:ext>
              </a:extLst>
            </p:cNvPr>
            <p:cNvSpPr/>
            <p:nvPr/>
          </p:nvSpPr>
          <p:spPr>
            <a:xfrm>
              <a:off x="2400153" y="3106134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AD9C289B-CCBA-49E8-A667-5AA4B5494C1B}"/>
                </a:ext>
              </a:extLst>
            </p:cNvPr>
            <p:cNvSpPr/>
            <p:nvPr/>
          </p:nvSpPr>
          <p:spPr>
            <a:xfrm>
              <a:off x="3341908" y="3106134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77FB64F1-FE91-43F4-9AC3-99EE3004702D}"/>
                </a:ext>
              </a:extLst>
            </p:cNvPr>
            <p:cNvSpPr/>
            <p:nvPr/>
          </p:nvSpPr>
          <p:spPr>
            <a:xfrm>
              <a:off x="2456250" y="3224690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200C1E75-C633-4640-AB15-6CD52C2B442D}"/>
                </a:ext>
              </a:extLst>
            </p:cNvPr>
            <p:cNvSpPr/>
            <p:nvPr/>
          </p:nvSpPr>
          <p:spPr>
            <a:xfrm>
              <a:off x="7985913" y="3698832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4EF24ED1-EC51-48D5-8C7A-C67CECC8FB7B}"/>
                </a:ext>
              </a:extLst>
            </p:cNvPr>
            <p:cNvSpPr/>
            <p:nvPr/>
          </p:nvSpPr>
          <p:spPr>
            <a:xfrm>
              <a:off x="7928825" y="3580276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B6FEA967-0797-42FA-BD74-251182006EA8}"/>
                </a:ext>
              </a:extLst>
            </p:cNvPr>
            <p:cNvSpPr/>
            <p:nvPr/>
          </p:nvSpPr>
          <p:spPr>
            <a:xfrm>
              <a:off x="7002436" y="3580276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3BBABE44-871A-4CFC-A539-0EB6090B1C91}"/>
                </a:ext>
              </a:extLst>
            </p:cNvPr>
            <p:cNvSpPr/>
            <p:nvPr/>
          </p:nvSpPr>
          <p:spPr>
            <a:xfrm>
              <a:off x="7889829" y="3461719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3D23827F-BE92-481F-8D98-A7ECF9BD30CF}"/>
                </a:ext>
              </a:extLst>
            </p:cNvPr>
            <p:cNvSpPr/>
            <p:nvPr/>
          </p:nvSpPr>
          <p:spPr>
            <a:xfrm>
              <a:off x="6944604" y="3461719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8375D20D-92BF-4551-B4DE-00D6892F1BF9}"/>
                </a:ext>
              </a:extLst>
            </p:cNvPr>
            <p:cNvSpPr/>
            <p:nvPr/>
          </p:nvSpPr>
          <p:spPr>
            <a:xfrm>
              <a:off x="6867770" y="3343246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153159BE-B260-4D02-B69A-B4A81927D2A8}"/>
                </a:ext>
              </a:extLst>
            </p:cNvPr>
            <p:cNvSpPr/>
            <p:nvPr/>
          </p:nvSpPr>
          <p:spPr>
            <a:xfrm>
              <a:off x="6787879" y="3224690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D93DD2EA-6215-4E4D-8218-8C1B7477F6EB}"/>
                </a:ext>
              </a:extLst>
            </p:cNvPr>
            <p:cNvSpPr/>
            <p:nvPr/>
          </p:nvSpPr>
          <p:spPr>
            <a:xfrm>
              <a:off x="6748718" y="2987578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3EDB47C6-7057-4160-A8C9-CD49B84965E2}"/>
                </a:ext>
              </a:extLst>
            </p:cNvPr>
            <p:cNvSpPr/>
            <p:nvPr/>
          </p:nvSpPr>
          <p:spPr>
            <a:xfrm>
              <a:off x="6484673" y="2869105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C3A6E33A-44AA-4409-B2A5-2C6AC9331F77}"/>
                </a:ext>
              </a:extLst>
            </p:cNvPr>
            <p:cNvSpPr/>
            <p:nvPr/>
          </p:nvSpPr>
          <p:spPr>
            <a:xfrm>
              <a:off x="9511774" y="2869105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9887F354-CE80-44FF-9E2E-EFCDBB8A4C62}"/>
                </a:ext>
              </a:extLst>
            </p:cNvPr>
            <p:cNvSpPr/>
            <p:nvPr/>
          </p:nvSpPr>
          <p:spPr>
            <a:xfrm>
              <a:off x="8524496" y="3461719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BF085DC3-15E4-4CB5-8972-B343CA727A28}"/>
                </a:ext>
              </a:extLst>
            </p:cNvPr>
            <p:cNvSpPr/>
            <p:nvPr/>
          </p:nvSpPr>
          <p:spPr>
            <a:xfrm>
              <a:off x="8959476" y="3461719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9A89F3EF-01F0-4667-B277-9D2039B00234}"/>
                </a:ext>
              </a:extLst>
            </p:cNvPr>
            <p:cNvSpPr/>
            <p:nvPr/>
          </p:nvSpPr>
          <p:spPr>
            <a:xfrm>
              <a:off x="8650901" y="3580276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4BCB8554-2B3C-490C-838B-3736B3810F2F}"/>
                </a:ext>
              </a:extLst>
            </p:cNvPr>
            <p:cNvSpPr/>
            <p:nvPr/>
          </p:nvSpPr>
          <p:spPr>
            <a:xfrm>
              <a:off x="8822331" y="3698832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4EBA15A2-1526-4317-B2B3-6092AB05E84C}"/>
                </a:ext>
              </a:extLst>
            </p:cNvPr>
            <p:cNvSpPr/>
            <p:nvPr/>
          </p:nvSpPr>
          <p:spPr>
            <a:xfrm>
              <a:off x="8671720" y="369883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B4E0FF99-BD59-4FDB-B8B4-7AE2637D29DE}"/>
                </a:ext>
              </a:extLst>
            </p:cNvPr>
            <p:cNvSpPr/>
            <p:nvPr/>
          </p:nvSpPr>
          <p:spPr>
            <a:xfrm>
              <a:off x="8715177" y="3817387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4963D947-A154-4287-8AE1-2C4DD478A1FA}"/>
                </a:ext>
              </a:extLst>
            </p:cNvPr>
            <p:cNvSpPr/>
            <p:nvPr/>
          </p:nvSpPr>
          <p:spPr>
            <a:xfrm>
              <a:off x="8793167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9F9F1F88-54DD-4ACA-8860-F0465F83B51D}"/>
                </a:ext>
              </a:extLst>
            </p:cNvPr>
            <p:cNvSpPr/>
            <p:nvPr/>
          </p:nvSpPr>
          <p:spPr>
            <a:xfrm>
              <a:off x="9100835" y="3935943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92DE47E8-98E4-4E37-B83B-75A6FB497DEF}"/>
                </a:ext>
              </a:extLst>
            </p:cNvPr>
            <p:cNvSpPr/>
            <p:nvPr/>
          </p:nvSpPr>
          <p:spPr>
            <a:xfrm>
              <a:off x="8998471" y="4054417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7CA444F4-E4E7-4E50-B6F1-D97EEC8EBA0E}"/>
                </a:ext>
              </a:extLst>
            </p:cNvPr>
            <p:cNvSpPr/>
            <p:nvPr/>
          </p:nvSpPr>
          <p:spPr>
            <a:xfrm>
              <a:off x="9117358" y="4172972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BB7D4D9C-6141-42FC-BAD9-B6D2D04B8719}"/>
                </a:ext>
              </a:extLst>
            </p:cNvPr>
            <p:cNvSpPr/>
            <p:nvPr/>
          </p:nvSpPr>
          <p:spPr>
            <a:xfrm>
              <a:off x="9287137" y="4172972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85B1E398-142D-4BDB-A1BB-E46A91B78FD5}"/>
                </a:ext>
              </a:extLst>
            </p:cNvPr>
            <p:cNvSpPr/>
            <p:nvPr/>
          </p:nvSpPr>
          <p:spPr>
            <a:xfrm>
              <a:off x="9751611" y="4172972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530CAA14-C6C1-4002-9EBB-2C991B77CBD8}"/>
                </a:ext>
              </a:extLst>
            </p:cNvPr>
            <p:cNvSpPr/>
            <p:nvPr/>
          </p:nvSpPr>
          <p:spPr>
            <a:xfrm>
              <a:off x="9866945" y="4291528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7569031B-4BFF-4E44-A2EE-31A41CC878FD}"/>
                </a:ext>
              </a:extLst>
            </p:cNvPr>
            <p:cNvSpPr/>
            <p:nvPr/>
          </p:nvSpPr>
          <p:spPr>
            <a:xfrm>
              <a:off x="10117028" y="4291528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32A88295-6139-4C0B-BF10-F4F1420B8D2C}"/>
                </a:ext>
              </a:extLst>
            </p:cNvPr>
            <p:cNvSpPr/>
            <p:nvPr/>
          </p:nvSpPr>
          <p:spPr>
            <a:xfrm>
              <a:off x="10278049" y="4172972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F88171FF-077B-4A45-BACD-E5B55F87603E}"/>
                </a:ext>
              </a:extLst>
            </p:cNvPr>
            <p:cNvSpPr/>
            <p:nvPr/>
          </p:nvSpPr>
          <p:spPr>
            <a:xfrm>
              <a:off x="9652884" y="4054417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109989DE-2097-4430-A146-8D6D74DA3BB4}"/>
                </a:ext>
              </a:extLst>
            </p:cNvPr>
            <p:cNvSpPr/>
            <p:nvPr/>
          </p:nvSpPr>
          <p:spPr>
            <a:xfrm>
              <a:off x="9652884" y="4052268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2BD53DE8-756B-4557-B55D-DE0727842B2A}"/>
                </a:ext>
              </a:extLst>
            </p:cNvPr>
            <p:cNvSpPr/>
            <p:nvPr/>
          </p:nvSpPr>
          <p:spPr>
            <a:xfrm>
              <a:off x="9307213" y="4054417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946E7896-286F-439A-AA38-582E52185198}"/>
                </a:ext>
              </a:extLst>
            </p:cNvPr>
            <p:cNvSpPr/>
            <p:nvPr/>
          </p:nvSpPr>
          <p:spPr>
            <a:xfrm>
              <a:off x="8780279" y="4172972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AB326164-5DDE-43D9-BCDE-BE47995360FE}"/>
                </a:ext>
              </a:extLst>
            </p:cNvPr>
            <p:cNvSpPr/>
            <p:nvPr/>
          </p:nvSpPr>
          <p:spPr>
            <a:xfrm>
              <a:off x="8722695" y="4054417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CCA95745-61CF-4531-BE7A-B475E1C1B01F}"/>
                </a:ext>
              </a:extLst>
            </p:cNvPr>
            <p:cNvSpPr/>
            <p:nvPr/>
          </p:nvSpPr>
          <p:spPr>
            <a:xfrm>
              <a:off x="9214268" y="3817387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07D090FF-5DD8-47E7-BD6E-355A2BEFDCAC}"/>
                </a:ext>
              </a:extLst>
            </p:cNvPr>
            <p:cNvSpPr/>
            <p:nvPr/>
          </p:nvSpPr>
          <p:spPr>
            <a:xfrm>
              <a:off x="9411889" y="3817387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5192B434-7162-4770-B71A-B40B0893916E}"/>
                </a:ext>
              </a:extLst>
            </p:cNvPr>
            <p:cNvSpPr/>
            <p:nvPr/>
          </p:nvSpPr>
          <p:spPr>
            <a:xfrm>
              <a:off x="9383964" y="3698832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FE3DA2AA-78FC-420B-9754-77E767E6AA70}"/>
                </a:ext>
              </a:extLst>
            </p:cNvPr>
            <p:cNvSpPr/>
            <p:nvPr/>
          </p:nvSpPr>
          <p:spPr>
            <a:xfrm>
              <a:off x="9314979" y="3580276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4FEF4E67-50A3-49EC-B7B9-C7303FCB8954}"/>
                </a:ext>
              </a:extLst>
            </p:cNvPr>
            <p:cNvSpPr/>
            <p:nvPr/>
          </p:nvSpPr>
          <p:spPr>
            <a:xfrm>
              <a:off x="9314979" y="3461719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C9CCEC4E-B0C1-45A6-816D-7A431CD9D077}"/>
                </a:ext>
              </a:extLst>
            </p:cNvPr>
            <p:cNvSpPr/>
            <p:nvPr/>
          </p:nvSpPr>
          <p:spPr>
            <a:xfrm>
              <a:off x="9277718" y="3224690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43EB17D9-235E-46DB-ABF6-2A37C0DE0593}"/>
                </a:ext>
              </a:extLst>
            </p:cNvPr>
            <p:cNvSpPr/>
            <p:nvPr/>
          </p:nvSpPr>
          <p:spPr>
            <a:xfrm>
              <a:off x="7294654" y="3224690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A8336D4F-7247-4F1C-8A6F-5BC31E78FE1E}"/>
                </a:ext>
              </a:extLst>
            </p:cNvPr>
            <p:cNvSpPr/>
            <p:nvPr/>
          </p:nvSpPr>
          <p:spPr>
            <a:xfrm>
              <a:off x="7216249" y="3106134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8F236A26-7886-49C5-B2BE-F15974C25B82}"/>
                </a:ext>
              </a:extLst>
            </p:cNvPr>
            <p:cNvSpPr/>
            <p:nvPr/>
          </p:nvSpPr>
          <p:spPr>
            <a:xfrm>
              <a:off x="8654453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12BB84DC-3DF5-43AA-8431-8289AA220333}"/>
                </a:ext>
              </a:extLst>
            </p:cNvPr>
            <p:cNvSpPr/>
            <p:nvPr/>
          </p:nvSpPr>
          <p:spPr>
            <a:xfrm>
              <a:off x="8449231" y="3343246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BDFABCA9-D0BB-49E1-8B33-841160C31B01}"/>
                </a:ext>
              </a:extLst>
            </p:cNvPr>
            <p:cNvSpPr/>
            <p:nvPr/>
          </p:nvSpPr>
          <p:spPr>
            <a:xfrm>
              <a:off x="7767803" y="3343246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5807E620-A209-448D-A354-EF52ED14E2F7}"/>
                </a:ext>
              </a:extLst>
            </p:cNvPr>
            <p:cNvSpPr/>
            <p:nvPr/>
          </p:nvSpPr>
          <p:spPr>
            <a:xfrm>
              <a:off x="8124215" y="3817387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54CC02EB-5F23-48BE-A720-39379559F446}"/>
                </a:ext>
              </a:extLst>
            </p:cNvPr>
            <p:cNvSpPr/>
            <p:nvPr/>
          </p:nvSpPr>
          <p:spPr>
            <a:xfrm>
              <a:off x="6557707" y="616873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33CFBEB4-FC1C-4338-840F-5B5852108A3E}"/>
                </a:ext>
              </a:extLst>
            </p:cNvPr>
            <p:cNvSpPr/>
            <p:nvPr/>
          </p:nvSpPr>
          <p:spPr>
            <a:xfrm>
              <a:off x="6722446" y="616873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D6D16A12-D79B-45A1-AE59-DCF29A55054C}"/>
                </a:ext>
              </a:extLst>
            </p:cNvPr>
            <p:cNvSpPr/>
            <p:nvPr/>
          </p:nvSpPr>
          <p:spPr>
            <a:xfrm>
              <a:off x="6831831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5D81F423-3E36-496D-9640-41C2F2028273}"/>
                </a:ext>
              </a:extLst>
            </p:cNvPr>
            <p:cNvSpPr/>
            <p:nvPr/>
          </p:nvSpPr>
          <p:spPr>
            <a:xfrm>
              <a:off x="7429981" y="498317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80F5903C-8C4E-4DF2-A914-CAB8126CB83B}"/>
                </a:ext>
              </a:extLst>
            </p:cNvPr>
            <p:cNvSpPr/>
            <p:nvPr/>
          </p:nvSpPr>
          <p:spPr>
            <a:xfrm>
              <a:off x="7673124" y="498317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35A8AE08-4D75-4867-8682-A3879EEB2AD9}"/>
                </a:ext>
              </a:extLst>
            </p:cNvPr>
            <p:cNvSpPr/>
            <p:nvPr/>
          </p:nvSpPr>
          <p:spPr>
            <a:xfrm>
              <a:off x="7673124" y="616873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46BF9B7-5BCF-4CFE-A746-0F8074F486A3}"/>
                </a:ext>
              </a:extLst>
            </p:cNvPr>
            <p:cNvSpPr/>
            <p:nvPr/>
          </p:nvSpPr>
          <p:spPr>
            <a:xfrm>
              <a:off x="7783418" y="735428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6A2EA391-7E0D-4D62-AF6C-DC07B501B805}"/>
                </a:ext>
              </a:extLst>
            </p:cNvPr>
            <p:cNvSpPr/>
            <p:nvPr/>
          </p:nvSpPr>
          <p:spPr>
            <a:xfrm>
              <a:off x="7624793" y="853902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86938EC1-F8CD-4253-A795-E66A120DF0E9}"/>
                </a:ext>
              </a:extLst>
            </p:cNvPr>
            <p:cNvSpPr/>
            <p:nvPr/>
          </p:nvSpPr>
          <p:spPr>
            <a:xfrm>
              <a:off x="7562334" y="972458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14617620-1DC7-4B5C-ADFB-17235894AAD6}"/>
                </a:ext>
              </a:extLst>
            </p:cNvPr>
            <p:cNvSpPr/>
            <p:nvPr/>
          </p:nvSpPr>
          <p:spPr>
            <a:xfrm>
              <a:off x="7504997" y="1091014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FE060598-D7E0-444D-A1FC-47307FE10F9D}"/>
                </a:ext>
              </a:extLst>
            </p:cNvPr>
            <p:cNvSpPr/>
            <p:nvPr/>
          </p:nvSpPr>
          <p:spPr>
            <a:xfrm>
              <a:off x="7389746" y="1209570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F72745D7-827F-402D-AE93-69BA5DE376AE}"/>
                </a:ext>
              </a:extLst>
            </p:cNvPr>
            <p:cNvSpPr/>
            <p:nvPr/>
          </p:nvSpPr>
          <p:spPr>
            <a:xfrm>
              <a:off x="7263590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5212D46B-BFA2-4897-B63F-7638345C5AB3}"/>
                </a:ext>
              </a:extLst>
            </p:cNvPr>
            <p:cNvSpPr/>
            <p:nvPr/>
          </p:nvSpPr>
          <p:spPr>
            <a:xfrm>
              <a:off x="6896438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840581FE-94B8-4AA4-90D0-88321D884D39}"/>
                </a:ext>
              </a:extLst>
            </p:cNvPr>
            <p:cNvSpPr/>
            <p:nvPr/>
          </p:nvSpPr>
          <p:spPr>
            <a:xfrm>
              <a:off x="6937829" y="1328044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B526DD6E-7574-4438-BDDA-4BAD4064F2F1}"/>
                </a:ext>
              </a:extLst>
            </p:cNvPr>
            <p:cNvSpPr/>
            <p:nvPr/>
          </p:nvSpPr>
          <p:spPr>
            <a:xfrm>
              <a:off x="6896438" y="1091014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B0493DF6-B0F2-43CC-B2D0-95FDEBBAD7F9}"/>
                </a:ext>
              </a:extLst>
            </p:cNvPr>
            <p:cNvSpPr/>
            <p:nvPr/>
          </p:nvSpPr>
          <p:spPr>
            <a:xfrm>
              <a:off x="6972363" y="972458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5485567C-C16E-4AE4-AF76-958E428891C1}"/>
                </a:ext>
              </a:extLst>
            </p:cNvPr>
            <p:cNvSpPr/>
            <p:nvPr/>
          </p:nvSpPr>
          <p:spPr>
            <a:xfrm>
              <a:off x="7079187" y="853902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18D05AE5-5843-4173-8080-D10E722756EA}"/>
                </a:ext>
              </a:extLst>
            </p:cNvPr>
            <p:cNvSpPr/>
            <p:nvPr/>
          </p:nvSpPr>
          <p:spPr>
            <a:xfrm>
              <a:off x="9917673" y="1328044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ECF10842-EB9F-40BE-A7D3-4C6943DFA726}"/>
                </a:ext>
              </a:extLst>
            </p:cNvPr>
            <p:cNvSpPr/>
            <p:nvPr/>
          </p:nvSpPr>
          <p:spPr>
            <a:xfrm>
              <a:off x="7445926" y="1328044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A4A3DA3F-7D26-4026-8606-854E1BBDA8D8}"/>
                </a:ext>
              </a:extLst>
            </p:cNvPr>
            <p:cNvSpPr/>
            <p:nvPr/>
          </p:nvSpPr>
          <p:spPr>
            <a:xfrm>
              <a:off x="7512350" y="1446599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2DDD2A23-219D-423C-82DB-4DA4ECD6C971}"/>
                </a:ext>
              </a:extLst>
            </p:cNvPr>
            <p:cNvSpPr/>
            <p:nvPr/>
          </p:nvSpPr>
          <p:spPr>
            <a:xfrm>
              <a:off x="9908584" y="1446599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EC3439B5-E435-4C0E-ABFA-9AE55A0202F8}"/>
                </a:ext>
              </a:extLst>
            </p:cNvPr>
            <p:cNvSpPr/>
            <p:nvPr/>
          </p:nvSpPr>
          <p:spPr>
            <a:xfrm>
              <a:off x="9862236" y="1683711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8327B69F-F85E-412C-9B19-F543EE090CBA}"/>
                </a:ext>
              </a:extLst>
            </p:cNvPr>
            <p:cNvSpPr/>
            <p:nvPr/>
          </p:nvSpPr>
          <p:spPr>
            <a:xfrm>
              <a:off x="6706749" y="1683711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FF20E53C-660B-408F-804C-52D8ECA2E2AE}"/>
                </a:ext>
              </a:extLst>
            </p:cNvPr>
            <p:cNvSpPr/>
            <p:nvPr/>
          </p:nvSpPr>
          <p:spPr>
            <a:xfrm>
              <a:off x="9862236" y="1802267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2B30EE0A-36C7-435D-8D5B-1FB22CEE7208}"/>
                </a:ext>
              </a:extLst>
            </p:cNvPr>
            <p:cNvSpPr/>
            <p:nvPr/>
          </p:nvSpPr>
          <p:spPr>
            <a:xfrm>
              <a:off x="9947993" y="1920740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0A92B887-F3A6-4A25-A8DC-B55711731BDC}"/>
                </a:ext>
              </a:extLst>
            </p:cNvPr>
            <p:cNvSpPr/>
            <p:nvPr/>
          </p:nvSpPr>
          <p:spPr>
            <a:xfrm>
              <a:off x="9908584" y="1565155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8CF9F513-CCBF-428E-91F5-0744D69B9849}"/>
                </a:ext>
              </a:extLst>
            </p:cNvPr>
            <p:cNvSpPr/>
            <p:nvPr/>
          </p:nvSpPr>
          <p:spPr>
            <a:xfrm>
              <a:off x="6886028" y="1565155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05EE80F6-355A-4175-883D-FC8A883889FD}"/>
                </a:ext>
              </a:extLst>
            </p:cNvPr>
            <p:cNvSpPr/>
            <p:nvPr/>
          </p:nvSpPr>
          <p:spPr>
            <a:xfrm>
              <a:off x="6759458" y="1565155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A0D6CBD2-C78F-49B4-972A-5758CA26709F}"/>
                </a:ext>
              </a:extLst>
            </p:cNvPr>
            <p:cNvSpPr/>
            <p:nvPr/>
          </p:nvSpPr>
          <p:spPr>
            <a:xfrm>
              <a:off x="6090257" y="1565155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61E81430-DAFB-468C-A375-A55799E3E8B5}"/>
                </a:ext>
              </a:extLst>
            </p:cNvPr>
            <p:cNvSpPr/>
            <p:nvPr/>
          </p:nvSpPr>
          <p:spPr>
            <a:xfrm>
              <a:off x="6025982" y="1683711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C597FC02-929E-44EB-9801-F15859BEED6E}"/>
                </a:ext>
              </a:extLst>
            </p:cNvPr>
            <p:cNvSpPr/>
            <p:nvPr/>
          </p:nvSpPr>
          <p:spPr>
            <a:xfrm>
              <a:off x="5950138" y="1802267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6343B759-0939-4849-B8C0-61B360909F47}"/>
                </a:ext>
              </a:extLst>
            </p:cNvPr>
            <p:cNvSpPr/>
            <p:nvPr/>
          </p:nvSpPr>
          <p:spPr>
            <a:xfrm>
              <a:off x="5845462" y="1920740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4C83F488-8494-4126-A549-3095BFC7B97F}"/>
                </a:ext>
              </a:extLst>
            </p:cNvPr>
            <p:cNvSpPr/>
            <p:nvPr/>
          </p:nvSpPr>
          <p:spPr>
            <a:xfrm>
              <a:off x="5845462" y="2039296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C80DE091-BC87-4E64-8E2E-CE0D7EB31AA4}"/>
                </a:ext>
              </a:extLst>
            </p:cNvPr>
            <p:cNvSpPr/>
            <p:nvPr/>
          </p:nvSpPr>
          <p:spPr>
            <a:xfrm>
              <a:off x="5556301" y="2039296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7C8AC55A-51DC-4A23-8766-4EEF12B61965}"/>
                </a:ext>
              </a:extLst>
            </p:cNvPr>
            <p:cNvSpPr/>
            <p:nvPr/>
          </p:nvSpPr>
          <p:spPr>
            <a:xfrm>
              <a:off x="5512762" y="2157852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C5C386E4-A8F8-4435-9963-2E827AF2EE6A}"/>
                </a:ext>
              </a:extLst>
            </p:cNvPr>
            <p:cNvSpPr/>
            <p:nvPr/>
          </p:nvSpPr>
          <p:spPr>
            <a:xfrm>
              <a:off x="5940059" y="2157852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3B058D31-4D39-488E-83C2-9B0974862660}"/>
                </a:ext>
              </a:extLst>
            </p:cNvPr>
            <p:cNvSpPr/>
            <p:nvPr/>
          </p:nvSpPr>
          <p:spPr>
            <a:xfrm>
              <a:off x="6059689" y="2157852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9C5F7F60-6FE4-495E-81C7-E965381F50D6}"/>
                </a:ext>
              </a:extLst>
            </p:cNvPr>
            <p:cNvSpPr/>
            <p:nvPr/>
          </p:nvSpPr>
          <p:spPr>
            <a:xfrm>
              <a:off x="5607277" y="2276408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B5734991-D41A-40D3-AAF5-D6E922BE9A03}"/>
                </a:ext>
              </a:extLst>
            </p:cNvPr>
            <p:cNvSpPr/>
            <p:nvPr/>
          </p:nvSpPr>
          <p:spPr>
            <a:xfrm>
              <a:off x="5457244" y="2276408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7D612EC9-77ED-4461-A96C-26D13D080CFB}"/>
                </a:ext>
              </a:extLst>
            </p:cNvPr>
            <p:cNvSpPr/>
            <p:nvPr/>
          </p:nvSpPr>
          <p:spPr>
            <a:xfrm>
              <a:off x="6008880" y="2039296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88E6B424-8864-4CBA-9467-0F81B4840E11}"/>
                </a:ext>
              </a:extLst>
            </p:cNvPr>
            <p:cNvSpPr/>
            <p:nvPr/>
          </p:nvSpPr>
          <p:spPr>
            <a:xfrm>
              <a:off x="6259293" y="1802267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A1D38D36-49C6-420F-8852-F3FA72450A58}"/>
                </a:ext>
              </a:extLst>
            </p:cNvPr>
            <p:cNvSpPr/>
            <p:nvPr/>
          </p:nvSpPr>
          <p:spPr>
            <a:xfrm>
              <a:off x="6259293" y="1920740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D5A78F3A-D694-4EDE-905A-519A49AADF58}"/>
                </a:ext>
              </a:extLst>
            </p:cNvPr>
            <p:cNvSpPr/>
            <p:nvPr/>
          </p:nvSpPr>
          <p:spPr>
            <a:xfrm>
              <a:off x="6329435" y="2039296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60CFD576-9CCD-4C88-8AA0-C3D2B036B535}"/>
                </a:ext>
              </a:extLst>
            </p:cNvPr>
            <p:cNvSpPr/>
            <p:nvPr/>
          </p:nvSpPr>
          <p:spPr>
            <a:xfrm>
              <a:off x="6274742" y="2157852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1F14F6B4-9706-43D2-9CA2-DE239BFE03D2}"/>
                </a:ext>
              </a:extLst>
            </p:cNvPr>
            <p:cNvSpPr/>
            <p:nvPr/>
          </p:nvSpPr>
          <p:spPr>
            <a:xfrm>
              <a:off x="5850172" y="2276408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D7B64135-9EDF-4DD0-985A-5744F67FC32A}"/>
                </a:ext>
              </a:extLst>
            </p:cNvPr>
            <p:cNvSpPr/>
            <p:nvPr/>
          </p:nvSpPr>
          <p:spPr>
            <a:xfrm>
              <a:off x="5757475" y="2394881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1D7E652B-97C3-493C-9306-D679893D1D0C}"/>
                </a:ext>
              </a:extLst>
            </p:cNvPr>
            <p:cNvSpPr/>
            <p:nvPr/>
          </p:nvSpPr>
          <p:spPr>
            <a:xfrm>
              <a:off x="7197909" y="2513438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505D7113-8669-4ED7-BC1C-43D0AB90C111}"/>
                </a:ext>
              </a:extLst>
            </p:cNvPr>
            <p:cNvSpPr/>
            <p:nvPr/>
          </p:nvSpPr>
          <p:spPr>
            <a:xfrm>
              <a:off x="6781021" y="2513438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9F8521FE-C7F9-4E56-A5C6-B56E394104AC}"/>
                </a:ext>
              </a:extLst>
            </p:cNvPr>
            <p:cNvSpPr/>
            <p:nvPr/>
          </p:nvSpPr>
          <p:spPr>
            <a:xfrm>
              <a:off x="5670561" y="251343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E0CD2846-5817-4606-9E49-58F4FFA54BAC}"/>
                </a:ext>
              </a:extLst>
            </p:cNvPr>
            <p:cNvSpPr/>
            <p:nvPr/>
          </p:nvSpPr>
          <p:spPr>
            <a:xfrm>
              <a:off x="5483516" y="2631993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17F95A6B-D91D-4EF0-95E4-C6830DA09B6D}"/>
                </a:ext>
              </a:extLst>
            </p:cNvPr>
            <p:cNvSpPr/>
            <p:nvPr/>
          </p:nvSpPr>
          <p:spPr>
            <a:xfrm>
              <a:off x="6013423" y="2631993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717EB4FC-7C50-4F84-8C8E-FF76496AF042}"/>
                </a:ext>
              </a:extLst>
            </p:cNvPr>
            <p:cNvSpPr/>
            <p:nvPr/>
          </p:nvSpPr>
          <p:spPr>
            <a:xfrm>
              <a:off x="6177832" y="2631993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75CD1206-691E-4ABF-974F-393202CA55E2}"/>
                </a:ext>
              </a:extLst>
            </p:cNvPr>
            <p:cNvSpPr/>
            <p:nvPr/>
          </p:nvSpPr>
          <p:spPr>
            <a:xfrm>
              <a:off x="6858681" y="2631993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AD5EDFD2-6B09-4B12-A5E9-9A0BAD904DB9}"/>
                </a:ext>
              </a:extLst>
            </p:cNvPr>
            <p:cNvSpPr/>
            <p:nvPr/>
          </p:nvSpPr>
          <p:spPr>
            <a:xfrm>
              <a:off x="7197909" y="2631993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973A24B7-AE02-40C1-9696-5261C4177E69}"/>
                </a:ext>
              </a:extLst>
            </p:cNvPr>
            <p:cNvSpPr/>
            <p:nvPr/>
          </p:nvSpPr>
          <p:spPr>
            <a:xfrm>
              <a:off x="7225833" y="2750549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1F5ED01C-8A13-4BBA-8F78-C78DC4CD6A98}"/>
                </a:ext>
              </a:extLst>
            </p:cNvPr>
            <p:cNvSpPr/>
            <p:nvPr/>
          </p:nvSpPr>
          <p:spPr>
            <a:xfrm>
              <a:off x="5483516" y="2750549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C4A12F7C-379C-4E83-893B-7608B84886F5}"/>
                </a:ext>
              </a:extLst>
            </p:cNvPr>
            <p:cNvSpPr/>
            <p:nvPr/>
          </p:nvSpPr>
          <p:spPr>
            <a:xfrm>
              <a:off x="5961457" y="2750549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814111DC-32C1-40F7-8F78-D163096B76FE}"/>
                </a:ext>
              </a:extLst>
            </p:cNvPr>
            <p:cNvSpPr/>
            <p:nvPr/>
          </p:nvSpPr>
          <p:spPr>
            <a:xfrm>
              <a:off x="613916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E39850F-224D-4217-A38F-FC4812A4C408}"/>
                </a:ext>
              </a:extLst>
            </p:cNvPr>
            <p:cNvSpPr/>
            <p:nvPr/>
          </p:nvSpPr>
          <p:spPr>
            <a:xfrm>
              <a:off x="629035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0C40E59E-33BA-4825-9EBB-033A5BCD0735}"/>
                </a:ext>
              </a:extLst>
            </p:cNvPr>
            <p:cNvSpPr/>
            <p:nvPr/>
          </p:nvSpPr>
          <p:spPr>
            <a:xfrm>
              <a:off x="6485995" y="2750549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81149F3B-22EC-40FF-98B2-E498B64E9A7C}"/>
                </a:ext>
              </a:extLst>
            </p:cNvPr>
            <p:cNvSpPr/>
            <p:nvPr/>
          </p:nvSpPr>
          <p:spPr>
            <a:xfrm>
              <a:off x="9664120" y="2157852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A2F656AF-CFC8-47DE-B725-CFB4002E064C}"/>
                </a:ext>
              </a:extLst>
            </p:cNvPr>
            <p:cNvSpPr/>
            <p:nvPr/>
          </p:nvSpPr>
          <p:spPr>
            <a:xfrm>
              <a:off x="9664120" y="2147938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26F62CE8-D1EC-4866-94CC-2A4FA0A68A6E}"/>
                </a:ext>
              </a:extLst>
            </p:cNvPr>
            <p:cNvSpPr/>
            <p:nvPr/>
          </p:nvSpPr>
          <p:spPr>
            <a:xfrm>
              <a:off x="9664120" y="2276408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B74050E5-5546-446B-AFDE-983328321F86}"/>
                </a:ext>
              </a:extLst>
            </p:cNvPr>
            <p:cNvSpPr/>
            <p:nvPr/>
          </p:nvSpPr>
          <p:spPr>
            <a:xfrm>
              <a:off x="9710468" y="2394881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D52BBD7B-B651-4B94-BEAF-6146F58262CE}"/>
                </a:ext>
              </a:extLst>
            </p:cNvPr>
            <p:cNvSpPr/>
            <p:nvPr/>
          </p:nvSpPr>
          <p:spPr>
            <a:xfrm>
              <a:off x="9710468" y="2386702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68FB6D91-448B-42B1-A70F-155023DB7452}"/>
                </a:ext>
              </a:extLst>
            </p:cNvPr>
            <p:cNvSpPr/>
            <p:nvPr/>
          </p:nvSpPr>
          <p:spPr>
            <a:xfrm>
              <a:off x="9693284" y="2513438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75CEFE15-2B28-4878-B259-01EA01736781}"/>
                </a:ext>
              </a:extLst>
            </p:cNvPr>
            <p:cNvSpPr/>
            <p:nvPr/>
          </p:nvSpPr>
          <p:spPr>
            <a:xfrm>
              <a:off x="9718069" y="2631993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3BBAE81E-C42F-4009-9A2B-50A187B26BF1}"/>
                </a:ext>
              </a:extLst>
            </p:cNvPr>
            <p:cNvSpPr/>
            <p:nvPr/>
          </p:nvSpPr>
          <p:spPr>
            <a:xfrm>
              <a:off x="9664120" y="2750549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853A8BD0-2C99-45CA-A226-0BF6F12CF474}"/>
                </a:ext>
              </a:extLst>
            </p:cNvPr>
            <p:cNvSpPr/>
            <p:nvPr/>
          </p:nvSpPr>
          <p:spPr>
            <a:xfrm>
              <a:off x="9376364" y="2750549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FA98C9B7-2901-464D-B01B-9F3C392358DF}"/>
                </a:ext>
              </a:extLst>
            </p:cNvPr>
            <p:cNvSpPr/>
            <p:nvPr/>
          </p:nvSpPr>
          <p:spPr>
            <a:xfrm>
              <a:off x="9228065" y="2631993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D5ED9CE8-389D-4C64-8ACD-FFA8511597A5}"/>
                </a:ext>
              </a:extLst>
            </p:cNvPr>
            <p:cNvSpPr/>
            <p:nvPr/>
          </p:nvSpPr>
          <p:spPr>
            <a:xfrm>
              <a:off x="6337862" y="1683711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FE960F53-BC57-4392-B0F8-36F269233948}"/>
                </a:ext>
              </a:extLst>
            </p:cNvPr>
            <p:cNvSpPr/>
            <p:nvPr/>
          </p:nvSpPr>
          <p:spPr>
            <a:xfrm>
              <a:off x="7139581" y="1446599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0F8ECD5F-99CC-468B-AAD5-BD819BABC4D7}"/>
                </a:ext>
              </a:extLst>
            </p:cNvPr>
            <p:cNvSpPr/>
            <p:nvPr/>
          </p:nvSpPr>
          <p:spPr>
            <a:xfrm>
              <a:off x="6158830" y="1446599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48CC5091-1916-43DE-B7B7-60A45E14C150}"/>
                </a:ext>
              </a:extLst>
            </p:cNvPr>
            <p:cNvSpPr/>
            <p:nvPr/>
          </p:nvSpPr>
          <p:spPr>
            <a:xfrm>
              <a:off x="7263590" y="1328044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CA7CC39A-552C-4384-BF1B-BBEB5527760C}"/>
                </a:ext>
              </a:extLst>
            </p:cNvPr>
            <p:cNvSpPr/>
            <p:nvPr/>
          </p:nvSpPr>
          <p:spPr>
            <a:xfrm>
              <a:off x="8836377" y="735428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ED5E9F92-74B9-4C4C-9A86-419E5D8524DB}"/>
                </a:ext>
              </a:extLst>
            </p:cNvPr>
            <p:cNvSpPr/>
            <p:nvPr/>
          </p:nvSpPr>
          <p:spPr>
            <a:xfrm>
              <a:off x="8432377" y="853902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6521A258-A756-4B20-B099-7CC8B335E52D}"/>
                </a:ext>
              </a:extLst>
            </p:cNvPr>
            <p:cNvSpPr/>
            <p:nvPr/>
          </p:nvSpPr>
          <p:spPr>
            <a:xfrm>
              <a:off x="8224017" y="853902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772D723C-2555-496A-8CA8-E661E9F4037D}"/>
                </a:ext>
              </a:extLst>
            </p:cNvPr>
            <p:cNvSpPr/>
            <p:nvPr/>
          </p:nvSpPr>
          <p:spPr>
            <a:xfrm>
              <a:off x="9282097" y="735428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417DB2ED-6BB9-4BE4-8555-C8870A16F574}"/>
                </a:ext>
              </a:extLst>
            </p:cNvPr>
            <p:cNvSpPr/>
            <p:nvPr/>
          </p:nvSpPr>
          <p:spPr>
            <a:xfrm>
              <a:off x="9618598" y="735428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E57AEBA1-4576-4015-B80A-F87FB204F557}"/>
                </a:ext>
              </a:extLst>
            </p:cNvPr>
            <p:cNvSpPr/>
            <p:nvPr/>
          </p:nvSpPr>
          <p:spPr>
            <a:xfrm>
              <a:off x="8836377" y="853902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B474D3A9-5F17-42AE-BF1E-4CE2CD2AD725}"/>
                </a:ext>
              </a:extLst>
            </p:cNvPr>
            <p:cNvSpPr/>
            <p:nvPr/>
          </p:nvSpPr>
          <p:spPr>
            <a:xfrm>
              <a:off x="7783418" y="616873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1FFA0360-6B3F-4B82-90AE-9460148B1A31}"/>
                </a:ext>
              </a:extLst>
            </p:cNvPr>
            <p:cNvSpPr/>
            <p:nvPr/>
          </p:nvSpPr>
          <p:spPr>
            <a:xfrm>
              <a:off x="8574975" y="498317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9A3B1800-3E33-410C-9446-BA135FC2FFC8}"/>
                </a:ext>
              </a:extLst>
            </p:cNvPr>
            <p:cNvSpPr/>
            <p:nvPr/>
          </p:nvSpPr>
          <p:spPr>
            <a:xfrm>
              <a:off x="8823983" y="498317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08871F3B-4F19-4A66-B3DD-A924B4E633B7}"/>
                </a:ext>
              </a:extLst>
            </p:cNvPr>
            <p:cNvSpPr/>
            <p:nvPr/>
          </p:nvSpPr>
          <p:spPr>
            <a:xfrm>
              <a:off x="7398504" y="379761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C353126C-0CCD-4A02-A95A-78065D55376D}"/>
                </a:ext>
              </a:extLst>
            </p:cNvPr>
            <p:cNvSpPr/>
            <p:nvPr/>
          </p:nvSpPr>
          <p:spPr>
            <a:xfrm>
              <a:off x="6722446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10849807"/>
      </p:ext>
    </p:extLst>
  </p:cSld>
  <p:clrMapOvr>
    <a:masterClrMapping/>
  </p:clrMapOvr>
  <p:transition spd="slow"/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D50A966-90B3-4C64-AF5D-99D388D29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Europe and Asia highlighted</a:t>
            </a:r>
            <a:endParaRPr lang="en-US" dirty="0"/>
          </a:p>
        </p:txBody>
      </p:sp>
      <p:sp>
        <p:nvSpPr>
          <p:cNvPr id="291" name="Text Placeholder 29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Date Placeholder 29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98" name="Footer Placeholder 29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299" name="Slide Number Placeholder 29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6</a:t>
            </a:fld>
            <a:endParaRPr lang="en-US" dirty="0"/>
          </a:p>
        </p:txBody>
      </p:sp>
      <p:grpSp>
        <p:nvGrpSpPr>
          <p:cNvPr id="572" name="Gruppieren 571">
            <a:extLst>
              <a:ext uri="{FF2B5EF4-FFF2-40B4-BE49-F238E27FC236}">
                <a16:creationId xmlns:a16="http://schemas.microsoft.com/office/drawing/2014/main" id="{34CF0B14-C627-43C8-9E91-F8867A4F8FCD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1299607" y="261288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6B15F81-4EA9-4645-B6E9-4F131326FBF9}"/>
                </a:ext>
              </a:extLst>
            </p:cNvPr>
            <p:cNvSpPr/>
            <p:nvPr/>
          </p:nvSpPr>
          <p:spPr>
            <a:xfrm>
              <a:off x="4068611" y="379761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AD8A22E7-D30F-47B7-B65D-E7018F5CC01A}"/>
                </a:ext>
              </a:extLst>
            </p:cNvPr>
            <p:cNvSpPr/>
            <p:nvPr/>
          </p:nvSpPr>
          <p:spPr>
            <a:xfrm>
              <a:off x="3511109" y="3698832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08196A11-8D59-4847-926F-19B641D883C6}"/>
                </a:ext>
              </a:extLst>
            </p:cNvPr>
            <p:cNvSpPr/>
            <p:nvPr/>
          </p:nvSpPr>
          <p:spPr>
            <a:xfrm>
              <a:off x="3346369" y="4054417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98BB2287-0F8E-4084-8876-2AE4BA600EE3}"/>
                </a:ext>
              </a:extLst>
            </p:cNvPr>
            <p:cNvSpPr/>
            <p:nvPr/>
          </p:nvSpPr>
          <p:spPr>
            <a:xfrm>
              <a:off x="3337199" y="4172972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D545BF94-B357-49D7-B579-7A48AB061E03}"/>
                </a:ext>
              </a:extLst>
            </p:cNvPr>
            <p:cNvSpPr/>
            <p:nvPr/>
          </p:nvSpPr>
          <p:spPr>
            <a:xfrm>
              <a:off x="3448897" y="4410084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91D55C6-3F0D-4D2A-890D-2DBB24902AD2}"/>
                </a:ext>
              </a:extLst>
            </p:cNvPr>
            <p:cNvSpPr/>
            <p:nvPr/>
          </p:nvSpPr>
          <p:spPr>
            <a:xfrm>
              <a:off x="3542668" y="4528557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4308575-817E-48F9-A1DC-F5AE74F1F7A3}"/>
                </a:ext>
              </a:extLst>
            </p:cNvPr>
            <p:cNvSpPr/>
            <p:nvPr/>
          </p:nvSpPr>
          <p:spPr>
            <a:xfrm>
              <a:off x="3666429" y="4765670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C79D20D8-EACC-4714-8469-5D964966E612}"/>
                </a:ext>
              </a:extLst>
            </p:cNvPr>
            <p:cNvSpPr/>
            <p:nvPr/>
          </p:nvSpPr>
          <p:spPr>
            <a:xfrm>
              <a:off x="3666429" y="5002699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890C6FA1-5206-4A14-BA34-8BB61194647C}"/>
                </a:ext>
              </a:extLst>
            </p:cNvPr>
            <p:cNvSpPr/>
            <p:nvPr/>
          </p:nvSpPr>
          <p:spPr>
            <a:xfrm>
              <a:off x="3666429" y="5239811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E12E753-640C-475D-8196-20C9B67A36C0}"/>
                </a:ext>
              </a:extLst>
            </p:cNvPr>
            <p:cNvSpPr/>
            <p:nvPr/>
          </p:nvSpPr>
          <p:spPr>
            <a:xfrm>
              <a:off x="3666429" y="5595396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43417F39-57A2-40EE-AA0A-050156BC1EC0}"/>
                </a:ext>
              </a:extLst>
            </p:cNvPr>
            <p:cNvSpPr/>
            <p:nvPr/>
          </p:nvSpPr>
          <p:spPr>
            <a:xfrm>
              <a:off x="3666429" y="5476922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EE07870-1FF4-496A-93AB-E9EA4A860610}"/>
                </a:ext>
              </a:extLst>
            </p:cNvPr>
            <p:cNvSpPr/>
            <p:nvPr/>
          </p:nvSpPr>
          <p:spPr>
            <a:xfrm>
              <a:off x="3666429" y="4884225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7DE696D0-E8A8-4E97-A0AC-EB173A823018}"/>
                </a:ext>
              </a:extLst>
            </p:cNvPr>
            <p:cNvSpPr/>
            <p:nvPr/>
          </p:nvSpPr>
          <p:spPr>
            <a:xfrm>
              <a:off x="3666429" y="5121255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CB5D175E-9E26-4673-A312-4F26771A6272}"/>
                </a:ext>
              </a:extLst>
            </p:cNvPr>
            <p:cNvSpPr/>
            <p:nvPr/>
          </p:nvSpPr>
          <p:spPr>
            <a:xfrm>
              <a:off x="3666429" y="5358366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E7FAF304-2F5D-4966-A568-009A4DF8E24B}"/>
                </a:ext>
              </a:extLst>
            </p:cNvPr>
            <p:cNvSpPr/>
            <p:nvPr/>
          </p:nvSpPr>
          <p:spPr>
            <a:xfrm>
              <a:off x="3666429" y="4647113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7D6E158C-66B1-452C-B66B-46DDC116E650}"/>
                </a:ext>
              </a:extLst>
            </p:cNvPr>
            <p:cNvSpPr/>
            <p:nvPr/>
          </p:nvSpPr>
          <p:spPr>
            <a:xfrm>
              <a:off x="3400814" y="4291528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4102BD1-F6DE-4C14-8F97-8A6758CB0D5F}"/>
                </a:ext>
              </a:extLst>
            </p:cNvPr>
            <p:cNvSpPr/>
            <p:nvPr/>
          </p:nvSpPr>
          <p:spPr>
            <a:xfrm>
              <a:off x="3440801" y="3935943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6EA3FCB-03B8-47DD-B533-1D9DEFC188B9}"/>
                </a:ext>
              </a:extLst>
            </p:cNvPr>
            <p:cNvSpPr/>
            <p:nvPr/>
          </p:nvSpPr>
          <p:spPr>
            <a:xfrm>
              <a:off x="3440801" y="3817387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770D5EF1-6397-4D30-8D5C-3E4C56B626AF}"/>
                </a:ext>
              </a:extLst>
            </p:cNvPr>
            <p:cNvSpPr/>
            <p:nvPr/>
          </p:nvSpPr>
          <p:spPr>
            <a:xfrm>
              <a:off x="3838108" y="5951064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BB7FE1E8-988B-4F0E-ADB6-84658DF7BF1D}"/>
                </a:ext>
              </a:extLst>
            </p:cNvPr>
            <p:cNvSpPr/>
            <p:nvPr/>
          </p:nvSpPr>
          <p:spPr>
            <a:xfrm>
              <a:off x="3733680" y="5832508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D413BA12-8340-4356-8FD3-35EEEFA03C2E}"/>
                </a:ext>
              </a:extLst>
            </p:cNvPr>
            <p:cNvSpPr/>
            <p:nvPr/>
          </p:nvSpPr>
          <p:spPr>
            <a:xfrm>
              <a:off x="3666429" y="5713951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439CC71-C2D3-4497-8660-429201F10E33}"/>
                </a:ext>
              </a:extLst>
            </p:cNvPr>
            <p:cNvSpPr/>
            <p:nvPr/>
          </p:nvSpPr>
          <p:spPr>
            <a:xfrm>
              <a:off x="10413294" y="5832508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A2F55D7E-D379-4F97-B4A2-6D2B760B8128}"/>
                </a:ext>
              </a:extLst>
            </p:cNvPr>
            <p:cNvSpPr/>
            <p:nvPr/>
          </p:nvSpPr>
          <p:spPr>
            <a:xfrm>
              <a:off x="10527306" y="5713951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164EB3D-7784-4792-85F3-FD53F0B68D19}"/>
                </a:ext>
              </a:extLst>
            </p:cNvPr>
            <p:cNvSpPr/>
            <p:nvPr/>
          </p:nvSpPr>
          <p:spPr>
            <a:xfrm>
              <a:off x="10634048" y="5595396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AA82D44-8332-489D-8810-747D4C46D0CA}"/>
                </a:ext>
              </a:extLst>
            </p:cNvPr>
            <p:cNvSpPr/>
            <p:nvPr/>
          </p:nvSpPr>
          <p:spPr>
            <a:xfrm>
              <a:off x="10715260" y="5595396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362006C6-86E1-480F-9CAA-5B8CE3E4C056}"/>
                </a:ext>
              </a:extLst>
            </p:cNvPr>
            <p:cNvSpPr/>
            <p:nvPr/>
          </p:nvSpPr>
          <p:spPr>
            <a:xfrm>
              <a:off x="9847778" y="5595396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503C20A-ADF5-4B0B-BED3-1552904D09E3}"/>
                </a:ext>
              </a:extLst>
            </p:cNvPr>
            <p:cNvSpPr/>
            <p:nvPr/>
          </p:nvSpPr>
          <p:spPr>
            <a:xfrm>
              <a:off x="9752438" y="5358366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3CD62D82-2D19-439B-AF03-162EFF46C355}"/>
                </a:ext>
              </a:extLst>
            </p:cNvPr>
            <p:cNvSpPr/>
            <p:nvPr/>
          </p:nvSpPr>
          <p:spPr>
            <a:xfrm>
              <a:off x="9722696" y="5239811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470CAB6-D4B6-48D5-964B-D49921794EC9}"/>
                </a:ext>
              </a:extLst>
            </p:cNvPr>
            <p:cNvSpPr/>
            <p:nvPr/>
          </p:nvSpPr>
          <p:spPr>
            <a:xfrm>
              <a:off x="9629503" y="5121255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88199D4-A7CE-40B9-84F8-214AF63930BD}"/>
                </a:ext>
              </a:extLst>
            </p:cNvPr>
            <p:cNvSpPr/>
            <p:nvPr/>
          </p:nvSpPr>
          <p:spPr>
            <a:xfrm>
              <a:off x="9063491" y="5121255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D2D33708-72A6-4F51-97EA-778EE98DFCD5}"/>
                </a:ext>
              </a:extLst>
            </p:cNvPr>
            <p:cNvSpPr/>
            <p:nvPr/>
          </p:nvSpPr>
          <p:spPr>
            <a:xfrm>
              <a:off x="9063491" y="4884225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A3973809-FBEF-4463-9631-0EC591F21080}"/>
                </a:ext>
              </a:extLst>
            </p:cNvPr>
            <p:cNvSpPr/>
            <p:nvPr/>
          </p:nvSpPr>
          <p:spPr>
            <a:xfrm>
              <a:off x="9087698" y="4765670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DA00ABD4-3565-4AA8-8774-6122FAC70624}"/>
                </a:ext>
              </a:extLst>
            </p:cNvPr>
            <p:cNvSpPr/>
            <p:nvPr/>
          </p:nvSpPr>
          <p:spPr>
            <a:xfrm>
              <a:off x="9322745" y="4647113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F996083-92A0-4581-B79D-AFA85C1DCF43}"/>
                </a:ext>
              </a:extLst>
            </p:cNvPr>
            <p:cNvSpPr/>
            <p:nvPr/>
          </p:nvSpPr>
          <p:spPr>
            <a:xfrm>
              <a:off x="9426182" y="4528557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4B8F7D2F-9483-4216-AA50-7793D7CF0831}"/>
                </a:ext>
              </a:extLst>
            </p:cNvPr>
            <p:cNvSpPr/>
            <p:nvPr/>
          </p:nvSpPr>
          <p:spPr>
            <a:xfrm>
              <a:off x="9940888" y="4528557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2F89BC1-AE7E-4A88-8D2C-02EC4BE2FAEF}"/>
                </a:ext>
              </a:extLst>
            </p:cNvPr>
            <p:cNvSpPr/>
            <p:nvPr/>
          </p:nvSpPr>
          <p:spPr>
            <a:xfrm>
              <a:off x="9940888" y="4410084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65C6567A-273C-4AAE-B88B-E083565DE5C5}"/>
                </a:ext>
              </a:extLst>
            </p:cNvPr>
            <p:cNvSpPr/>
            <p:nvPr/>
          </p:nvSpPr>
          <p:spPr>
            <a:xfrm>
              <a:off x="9571589" y="4410084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21376F5-029B-4C5F-A9BD-5FD7BD764F1D}"/>
                </a:ext>
              </a:extLst>
            </p:cNvPr>
            <p:cNvSpPr/>
            <p:nvPr/>
          </p:nvSpPr>
          <p:spPr>
            <a:xfrm>
              <a:off x="9088029" y="5002699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6B12593-ADB2-4D68-8BE6-D7A2E0D3CA7F}"/>
                </a:ext>
              </a:extLst>
            </p:cNvPr>
            <p:cNvSpPr/>
            <p:nvPr/>
          </p:nvSpPr>
          <p:spPr>
            <a:xfrm>
              <a:off x="10750951" y="5358366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1638C707-019D-44C3-A9ED-EB8CE8FAF3B4}"/>
                </a:ext>
              </a:extLst>
            </p:cNvPr>
            <p:cNvSpPr/>
            <p:nvPr/>
          </p:nvSpPr>
          <p:spPr>
            <a:xfrm>
              <a:off x="10734097" y="5476922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E224253-E61A-49E0-BAB8-63D5DC8B9C5D}"/>
                </a:ext>
              </a:extLst>
            </p:cNvPr>
            <p:cNvSpPr/>
            <p:nvPr/>
          </p:nvSpPr>
          <p:spPr>
            <a:xfrm>
              <a:off x="6220711" y="5002699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07DB5EE-6663-4EF5-96F3-705FEE8D7972}"/>
                </a:ext>
              </a:extLst>
            </p:cNvPr>
            <p:cNvSpPr/>
            <p:nvPr/>
          </p:nvSpPr>
          <p:spPr>
            <a:xfrm>
              <a:off x="6173866" y="4884225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3AD97B42-C8BB-4B39-842C-33F08A90AF1C}"/>
                </a:ext>
              </a:extLst>
            </p:cNvPr>
            <p:cNvSpPr/>
            <p:nvPr/>
          </p:nvSpPr>
          <p:spPr>
            <a:xfrm>
              <a:off x="6145528" y="4765670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84E5AE8B-8583-4003-814A-01B216C3AEF3}"/>
                </a:ext>
              </a:extLst>
            </p:cNvPr>
            <p:cNvSpPr/>
            <p:nvPr/>
          </p:nvSpPr>
          <p:spPr>
            <a:xfrm>
              <a:off x="6107855" y="4647113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459C9154-4251-4DC7-B30C-A9C63DA368A5}"/>
                </a:ext>
              </a:extLst>
            </p:cNvPr>
            <p:cNvSpPr/>
            <p:nvPr/>
          </p:nvSpPr>
          <p:spPr>
            <a:xfrm>
              <a:off x="7030856" y="4647113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8ECF14F0-87EB-4740-A62A-DA2340467752}"/>
                </a:ext>
              </a:extLst>
            </p:cNvPr>
            <p:cNvSpPr/>
            <p:nvPr/>
          </p:nvSpPr>
          <p:spPr>
            <a:xfrm>
              <a:off x="7030856" y="4528557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F1D97E74-C234-47FC-AA98-552070A32C8D}"/>
                </a:ext>
              </a:extLst>
            </p:cNvPr>
            <p:cNvSpPr/>
            <p:nvPr/>
          </p:nvSpPr>
          <p:spPr>
            <a:xfrm>
              <a:off x="7165027" y="4410084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0A1C6C1-BE40-40A8-B726-88F6FBB3D7BC}"/>
                </a:ext>
              </a:extLst>
            </p:cNvPr>
            <p:cNvSpPr/>
            <p:nvPr/>
          </p:nvSpPr>
          <p:spPr>
            <a:xfrm>
              <a:off x="7010036" y="4765670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5EE76E77-D0DB-429B-9FC2-2049CCF88E94}"/>
                </a:ext>
              </a:extLst>
            </p:cNvPr>
            <p:cNvSpPr/>
            <p:nvPr/>
          </p:nvSpPr>
          <p:spPr>
            <a:xfrm>
              <a:off x="6075965" y="4528557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DB9D652-05B9-46E0-8935-8CA9D6713FD8}"/>
                </a:ext>
              </a:extLst>
            </p:cNvPr>
            <p:cNvSpPr/>
            <p:nvPr/>
          </p:nvSpPr>
          <p:spPr>
            <a:xfrm>
              <a:off x="6115208" y="4291528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6CC4B584-8E47-41F9-8E7C-886BD28F452D}"/>
                </a:ext>
              </a:extLst>
            </p:cNvPr>
            <p:cNvSpPr/>
            <p:nvPr/>
          </p:nvSpPr>
          <p:spPr>
            <a:xfrm>
              <a:off x="6072578" y="4172972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6C33BCBC-BAE7-429D-A740-D260013ABF9A}"/>
                </a:ext>
              </a:extLst>
            </p:cNvPr>
            <p:cNvSpPr/>
            <p:nvPr/>
          </p:nvSpPr>
          <p:spPr>
            <a:xfrm>
              <a:off x="5994421" y="4054417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B0ABCE19-E5E1-49AA-911A-9675C2114FF3}"/>
                </a:ext>
              </a:extLst>
            </p:cNvPr>
            <p:cNvSpPr/>
            <p:nvPr/>
          </p:nvSpPr>
          <p:spPr>
            <a:xfrm>
              <a:off x="6026890" y="3935943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29F27495-605F-469D-9073-1C3D00E81279}"/>
                </a:ext>
              </a:extLst>
            </p:cNvPr>
            <p:cNvSpPr/>
            <p:nvPr/>
          </p:nvSpPr>
          <p:spPr>
            <a:xfrm>
              <a:off x="5354220" y="3817387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55441EA5-4B34-44AE-AF96-CF8D5DB1D562}"/>
                </a:ext>
              </a:extLst>
            </p:cNvPr>
            <p:cNvSpPr/>
            <p:nvPr/>
          </p:nvSpPr>
          <p:spPr>
            <a:xfrm>
              <a:off x="5250204" y="3698832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1BBA3F84-E85A-45B1-B99A-4D8BE7B05FCA}"/>
                </a:ext>
              </a:extLst>
            </p:cNvPr>
            <p:cNvSpPr/>
            <p:nvPr/>
          </p:nvSpPr>
          <p:spPr>
            <a:xfrm>
              <a:off x="5225171" y="3580276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C7C888B4-5467-49AA-8877-71547A3380ED}"/>
                </a:ext>
              </a:extLst>
            </p:cNvPr>
            <p:cNvSpPr/>
            <p:nvPr/>
          </p:nvSpPr>
          <p:spPr>
            <a:xfrm>
              <a:off x="5225171" y="3343246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86D62B9-4F99-4526-ADD0-5EA2FA2F58AE}"/>
                </a:ext>
              </a:extLst>
            </p:cNvPr>
            <p:cNvSpPr/>
            <p:nvPr/>
          </p:nvSpPr>
          <p:spPr>
            <a:xfrm>
              <a:off x="5324064" y="3224690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F32CA641-9509-4728-9CBE-2F0A3FF8229B}"/>
                </a:ext>
              </a:extLst>
            </p:cNvPr>
            <p:cNvSpPr/>
            <p:nvPr/>
          </p:nvSpPr>
          <p:spPr>
            <a:xfrm>
              <a:off x="6748718" y="3106051"/>
              <a:ext cx="397885" cy="70308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1BF3414A-39FA-4BDD-8C18-BF27DCC7582E}"/>
                </a:ext>
              </a:extLst>
            </p:cNvPr>
            <p:cNvSpPr/>
            <p:nvPr/>
          </p:nvSpPr>
          <p:spPr>
            <a:xfrm>
              <a:off x="5542504" y="2987578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9A67E781-4CFE-4FBE-AFF9-A9AC9DE9ABAE}"/>
                </a:ext>
              </a:extLst>
            </p:cNvPr>
            <p:cNvSpPr/>
            <p:nvPr/>
          </p:nvSpPr>
          <p:spPr>
            <a:xfrm>
              <a:off x="5776642" y="2869105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A077D447-73CE-4F38-B48E-3372A5BB43D2}"/>
                </a:ext>
              </a:extLst>
            </p:cNvPr>
            <p:cNvSpPr/>
            <p:nvPr/>
          </p:nvSpPr>
          <p:spPr>
            <a:xfrm>
              <a:off x="5483764" y="2869105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CAF09611-04FF-4A9A-8A83-B80D592967CF}"/>
                </a:ext>
              </a:extLst>
            </p:cNvPr>
            <p:cNvSpPr/>
            <p:nvPr/>
          </p:nvSpPr>
          <p:spPr>
            <a:xfrm>
              <a:off x="6084309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F3507F38-AE4A-4CC5-9294-6386CFBC213B}"/>
                </a:ext>
              </a:extLst>
            </p:cNvPr>
            <p:cNvSpPr/>
            <p:nvPr/>
          </p:nvSpPr>
          <p:spPr>
            <a:xfrm>
              <a:off x="6314564" y="2869105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B647B5EC-BA28-4384-B82F-98D34C0D829B}"/>
                </a:ext>
              </a:extLst>
            </p:cNvPr>
            <p:cNvSpPr/>
            <p:nvPr/>
          </p:nvSpPr>
          <p:spPr>
            <a:xfrm>
              <a:off x="5260036" y="3461719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B1F48CC9-73A0-4DB7-A2FA-0356B10895EE}"/>
                </a:ext>
              </a:extLst>
            </p:cNvPr>
            <p:cNvSpPr/>
            <p:nvPr/>
          </p:nvSpPr>
          <p:spPr>
            <a:xfrm>
              <a:off x="6115208" y="4410084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4C1F7A6C-D069-4711-A269-94BAEBB15361}"/>
                </a:ext>
              </a:extLst>
            </p:cNvPr>
            <p:cNvSpPr/>
            <p:nvPr/>
          </p:nvSpPr>
          <p:spPr>
            <a:xfrm>
              <a:off x="3006647" y="3580276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A17F809-2CD7-4859-9D7E-0C23227ECB26}"/>
                </a:ext>
              </a:extLst>
            </p:cNvPr>
            <p:cNvSpPr/>
            <p:nvPr/>
          </p:nvSpPr>
          <p:spPr>
            <a:xfrm>
              <a:off x="3052003" y="3461719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54CAB82C-4674-4CB8-966B-56EF67F328E8}"/>
                </a:ext>
              </a:extLst>
            </p:cNvPr>
            <p:cNvSpPr/>
            <p:nvPr/>
          </p:nvSpPr>
          <p:spPr>
            <a:xfrm>
              <a:off x="3594718" y="3461719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B36531F4-D075-4126-BA46-C1CAEF9AEAF7}"/>
                </a:ext>
              </a:extLst>
            </p:cNvPr>
            <p:cNvSpPr/>
            <p:nvPr/>
          </p:nvSpPr>
          <p:spPr>
            <a:xfrm>
              <a:off x="3766396" y="3461719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429C942-2745-4764-B640-6EC2181F35B6}"/>
                </a:ext>
              </a:extLst>
            </p:cNvPr>
            <p:cNvSpPr/>
            <p:nvPr/>
          </p:nvSpPr>
          <p:spPr>
            <a:xfrm>
              <a:off x="2690635" y="3461719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7E900D32-5866-45F5-85B6-352F0D39478E}"/>
                </a:ext>
              </a:extLst>
            </p:cNvPr>
            <p:cNvSpPr/>
            <p:nvPr/>
          </p:nvSpPr>
          <p:spPr>
            <a:xfrm>
              <a:off x="2635365" y="3343246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464C44-A4B5-4ADD-99AE-3AABD3B00458}"/>
                </a:ext>
              </a:extLst>
            </p:cNvPr>
            <p:cNvSpPr/>
            <p:nvPr/>
          </p:nvSpPr>
          <p:spPr>
            <a:xfrm>
              <a:off x="3266148" y="3343246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B77A9C66-CF83-4CC9-8B61-662612C4F046}"/>
                </a:ext>
              </a:extLst>
            </p:cNvPr>
            <p:cNvSpPr/>
            <p:nvPr/>
          </p:nvSpPr>
          <p:spPr>
            <a:xfrm>
              <a:off x="3341908" y="3224690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449F473-28BD-429F-9E90-B9B5D49E316C}"/>
                </a:ext>
              </a:extLst>
            </p:cNvPr>
            <p:cNvSpPr/>
            <p:nvPr/>
          </p:nvSpPr>
          <p:spPr>
            <a:xfrm>
              <a:off x="2564479" y="3224690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901CDAB0-E9AA-476F-807E-CC9A1C1AE1D8}"/>
                </a:ext>
              </a:extLst>
            </p:cNvPr>
            <p:cNvSpPr/>
            <p:nvPr/>
          </p:nvSpPr>
          <p:spPr>
            <a:xfrm>
              <a:off x="2477070" y="3106134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1C9C53EE-7F96-4D75-8E2D-8FECDED6FC9C}"/>
                </a:ext>
              </a:extLst>
            </p:cNvPr>
            <p:cNvSpPr/>
            <p:nvPr/>
          </p:nvSpPr>
          <p:spPr>
            <a:xfrm>
              <a:off x="2350830" y="2987578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022E4A7C-F924-4C57-AF36-B8CC1B51710D}"/>
                </a:ext>
              </a:extLst>
            </p:cNvPr>
            <p:cNvSpPr/>
            <p:nvPr/>
          </p:nvSpPr>
          <p:spPr>
            <a:xfrm>
              <a:off x="2243593" y="2869105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AC277CA2-F27C-465E-8247-E8B8F83AB6AB}"/>
                </a:ext>
              </a:extLst>
            </p:cNvPr>
            <p:cNvSpPr/>
            <p:nvPr/>
          </p:nvSpPr>
          <p:spPr>
            <a:xfrm>
              <a:off x="2212364" y="2750549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4942E1D2-97A9-420E-AF59-5A56CF5B23D7}"/>
                </a:ext>
              </a:extLst>
            </p:cNvPr>
            <p:cNvSpPr/>
            <p:nvPr/>
          </p:nvSpPr>
          <p:spPr>
            <a:xfrm>
              <a:off x="2212364" y="2631993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CE02BF19-A76F-4FCB-A5E8-3E858BDEEB47}"/>
                </a:ext>
              </a:extLst>
            </p:cNvPr>
            <p:cNvSpPr/>
            <p:nvPr/>
          </p:nvSpPr>
          <p:spPr>
            <a:xfrm>
              <a:off x="2212364" y="2513438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21D4FAAA-13C3-4B75-AB52-69916E389B75}"/>
                </a:ext>
              </a:extLst>
            </p:cNvPr>
            <p:cNvSpPr/>
            <p:nvPr/>
          </p:nvSpPr>
          <p:spPr>
            <a:xfrm>
              <a:off x="2212364" y="2039296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E340C4E-6137-4080-B9BE-09618E64A0B1}"/>
                </a:ext>
              </a:extLst>
            </p:cNvPr>
            <p:cNvSpPr/>
            <p:nvPr/>
          </p:nvSpPr>
          <p:spPr>
            <a:xfrm>
              <a:off x="2212364" y="1920740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2A69128A-6A0E-48C6-B6D2-5DD110B1C005}"/>
                </a:ext>
              </a:extLst>
            </p:cNvPr>
            <p:cNvSpPr/>
            <p:nvPr/>
          </p:nvSpPr>
          <p:spPr>
            <a:xfrm>
              <a:off x="2183447" y="1802267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3FB9A151-A2DE-462A-9EA8-A0E352AB133A}"/>
                </a:ext>
              </a:extLst>
            </p:cNvPr>
            <p:cNvSpPr/>
            <p:nvPr/>
          </p:nvSpPr>
          <p:spPr>
            <a:xfrm>
              <a:off x="2104217" y="1683711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6A15A596-3FBB-4161-980B-ECC05A11986A}"/>
                </a:ext>
              </a:extLst>
            </p:cNvPr>
            <p:cNvSpPr/>
            <p:nvPr/>
          </p:nvSpPr>
          <p:spPr>
            <a:xfrm>
              <a:off x="1484917" y="1683711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A788E4BF-3CF4-40D7-9FCD-4E2EF0B36F41}"/>
                </a:ext>
              </a:extLst>
            </p:cNvPr>
            <p:cNvSpPr/>
            <p:nvPr/>
          </p:nvSpPr>
          <p:spPr>
            <a:xfrm>
              <a:off x="1299607" y="1802267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F189D4FE-F76E-4453-A9E4-250A6875F364}"/>
                </a:ext>
              </a:extLst>
            </p:cNvPr>
            <p:cNvSpPr/>
            <p:nvPr/>
          </p:nvSpPr>
          <p:spPr>
            <a:xfrm>
              <a:off x="1518212" y="1565155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87926880-CF11-467D-82CE-4021FDF346BD}"/>
                </a:ext>
              </a:extLst>
            </p:cNvPr>
            <p:cNvSpPr/>
            <p:nvPr/>
          </p:nvSpPr>
          <p:spPr>
            <a:xfrm>
              <a:off x="1994254" y="1565155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41DBC633-3430-4A60-9FDD-7A299A45319D}"/>
                </a:ext>
              </a:extLst>
            </p:cNvPr>
            <p:cNvSpPr/>
            <p:nvPr/>
          </p:nvSpPr>
          <p:spPr>
            <a:xfrm>
              <a:off x="1478721" y="1446599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012958CF-8838-4EF8-ADC7-50F0DB015EB4}"/>
                </a:ext>
              </a:extLst>
            </p:cNvPr>
            <p:cNvSpPr/>
            <p:nvPr/>
          </p:nvSpPr>
          <p:spPr>
            <a:xfrm>
              <a:off x="1478721" y="1328044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A922751F-7825-429C-AC3C-666ADC85CA77}"/>
                </a:ext>
              </a:extLst>
            </p:cNvPr>
            <p:cNvSpPr/>
            <p:nvPr/>
          </p:nvSpPr>
          <p:spPr>
            <a:xfrm>
              <a:off x="1716494" y="1209570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27844EF8-959C-4DD3-9A25-3B70DF756EC1}"/>
                </a:ext>
              </a:extLst>
            </p:cNvPr>
            <p:cNvSpPr/>
            <p:nvPr/>
          </p:nvSpPr>
          <p:spPr>
            <a:xfrm>
              <a:off x="1587693" y="1091014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9660CDA6-2417-429B-BC42-E99590906314}"/>
                </a:ext>
              </a:extLst>
            </p:cNvPr>
            <p:cNvSpPr/>
            <p:nvPr/>
          </p:nvSpPr>
          <p:spPr>
            <a:xfrm>
              <a:off x="3003672" y="1091014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BB666301-AFFD-422B-97E2-FF9A479AEFC7}"/>
                </a:ext>
              </a:extLst>
            </p:cNvPr>
            <p:cNvSpPr/>
            <p:nvPr/>
          </p:nvSpPr>
          <p:spPr>
            <a:xfrm>
              <a:off x="3472774" y="1091014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A63D209C-FCD7-405C-92E1-8CEF1D439A09}"/>
                </a:ext>
              </a:extLst>
            </p:cNvPr>
            <p:cNvSpPr/>
            <p:nvPr/>
          </p:nvSpPr>
          <p:spPr>
            <a:xfrm>
              <a:off x="3497063" y="972458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BC416D4C-DBB4-4749-841D-D9D56A2D17C7}"/>
                </a:ext>
              </a:extLst>
            </p:cNvPr>
            <p:cNvSpPr/>
            <p:nvPr/>
          </p:nvSpPr>
          <p:spPr>
            <a:xfrm>
              <a:off x="3786885" y="853902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17B5B4CC-B203-4669-A5ED-DFE19DD1FC75}"/>
                </a:ext>
              </a:extLst>
            </p:cNvPr>
            <p:cNvSpPr/>
            <p:nvPr/>
          </p:nvSpPr>
          <p:spPr>
            <a:xfrm>
              <a:off x="3228227" y="735428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8D069714-4499-41ED-8AE7-5A0AF702B465}"/>
                </a:ext>
              </a:extLst>
            </p:cNvPr>
            <p:cNvSpPr/>
            <p:nvPr/>
          </p:nvSpPr>
          <p:spPr>
            <a:xfrm>
              <a:off x="3565719" y="735428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5D757496-6892-4FEA-B8BE-9EABEC6F8669}"/>
                </a:ext>
              </a:extLst>
            </p:cNvPr>
            <p:cNvSpPr/>
            <p:nvPr/>
          </p:nvSpPr>
          <p:spPr>
            <a:xfrm>
              <a:off x="3759787" y="735428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FA31C389-7F04-4BC1-A9A6-B05C9B40EE8B}"/>
                </a:ext>
              </a:extLst>
            </p:cNvPr>
            <p:cNvSpPr/>
            <p:nvPr/>
          </p:nvSpPr>
          <p:spPr>
            <a:xfrm>
              <a:off x="3169238" y="616873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0D5A047A-F463-4FDF-B51C-DF5A16CC3111}"/>
                </a:ext>
              </a:extLst>
            </p:cNvPr>
            <p:cNvSpPr/>
            <p:nvPr/>
          </p:nvSpPr>
          <p:spPr>
            <a:xfrm>
              <a:off x="3496402" y="498317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AB308732-C9CE-459D-A573-C1013ABCE078}"/>
                </a:ext>
              </a:extLst>
            </p:cNvPr>
            <p:cNvSpPr/>
            <p:nvPr/>
          </p:nvSpPr>
          <p:spPr>
            <a:xfrm>
              <a:off x="3679070" y="498317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8F903B79-D681-4776-968F-2ED74C51FA8C}"/>
                </a:ext>
              </a:extLst>
            </p:cNvPr>
            <p:cNvSpPr/>
            <p:nvPr/>
          </p:nvSpPr>
          <p:spPr>
            <a:xfrm>
              <a:off x="3900815" y="498317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188E471A-7B5F-477A-906F-D1B786B15CC5}"/>
                </a:ext>
              </a:extLst>
            </p:cNvPr>
            <p:cNvSpPr/>
            <p:nvPr/>
          </p:nvSpPr>
          <p:spPr>
            <a:xfrm>
              <a:off x="3985084" y="379761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2EB1700F-BCAF-49E3-96C9-8E209F87BC4C}"/>
                </a:ext>
              </a:extLst>
            </p:cNvPr>
            <p:cNvSpPr/>
            <p:nvPr/>
          </p:nvSpPr>
          <p:spPr>
            <a:xfrm>
              <a:off x="4107275" y="379761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6F410C0C-8386-4881-92D1-BD5859025FB2}"/>
                </a:ext>
              </a:extLst>
            </p:cNvPr>
            <p:cNvSpPr/>
            <p:nvPr/>
          </p:nvSpPr>
          <p:spPr>
            <a:xfrm>
              <a:off x="4314150" y="261288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CDF2CD25-A34C-4FCC-8F1B-BEDFF07CD4BB}"/>
                </a:ext>
              </a:extLst>
            </p:cNvPr>
            <p:cNvSpPr/>
            <p:nvPr/>
          </p:nvSpPr>
          <p:spPr>
            <a:xfrm>
              <a:off x="3679070" y="616873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82B92E9D-1F8E-457E-AFFF-DB93316FB042}"/>
                </a:ext>
              </a:extLst>
            </p:cNvPr>
            <p:cNvSpPr/>
            <p:nvPr/>
          </p:nvSpPr>
          <p:spPr>
            <a:xfrm>
              <a:off x="3900815" y="616873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3191A337-0E2C-46DB-8088-8389511CD9F9}"/>
                </a:ext>
              </a:extLst>
            </p:cNvPr>
            <p:cNvSpPr/>
            <p:nvPr/>
          </p:nvSpPr>
          <p:spPr>
            <a:xfrm>
              <a:off x="3934853" y="972458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FC50CCC3-0861-4EBF-B4D9-30B573670E99}"/>
                </a:ext>
              </a:extLst>
            </p:cNvPr>
            <p:cNvSpPr/>
            <p:nvPr/>
          </p:nvSpPr>
          <p:spPr>
            <a:xfrm>
              <a:off x="3472774" y="1209570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EF728622-4CAA-4C1E-8082-7348630907F4}"/>
                </a:ext>
              </a:extLst>
            </p:cNvPr>
            <p:cNvSpPr/>
            <p:nvPr/>
          </p:nvSpPr>
          <p:spPr>
            <a:xfrm>
              <a:off x="3680144" y="1209570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0379C8A2-D7B4-4DA4-AC6B-BE885A0B11A3}"/>
                </a:ext>
              </a:extLst>
            </p:cNvPr>
            <p:cNvSpPr/>
            <p:nvPr/>
          </p:nvSpPr>
          <p:spPr>
            <a:xfrm>
              <a:off x="3715256" y="1091014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8E1BD271-7971-44E3-8868-95596A2CD23D}"/>
                </a:ext>
              </a:extLst>
            </p:cNvPr>
            <p:cNvSpPr/>
            <p:nvPr/>
          </p:nvSpPr>
          <p:spPr>
            <a:xfrm>
              <a:off x="3472774" y="1328044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625D6A42-335E-4425-94EB-722DE884A111}"/>
                </a:ext>
              </a:extLst>
            </p:cNvPr>
            <p:cNvSpPr/>
            <p:nvPr/>
          </p:nvSpPr>
          <p:spPr>
            <a:xfrm>
              <a:off x="3724592" y="1328044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95327E42-993B-41D2-B6EF-5B466B474387}"/>
                </a:ext>
              </a:extLst>
            </p:cNvPr>
            <p:cNvSpPr/>
            <p:nvPr/>
          </p:nvSpPr>
          <p:spPr>
            <a:xfrm>
              <a:off x="3933862" y="1328044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73B7F433-6B0B-4C8F-81B7-AC88A7EF7E6C}"/>
                </a:ext>
              </a:extLst>
            </p:cNvPr>
            <p:cNvSpPr/>
            <p:nvPr/>
          </p:nvSpPr>
          <p:spPr>
            <a:xfrm>
              <a:off x="3995081" y="1446599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2E620113-AF81-493A-BD50-2D81F0EE7C49}"/>
                </a:ext>
              </a:extLst>
            </p:cNvPr>
            <p:cNvSpPr/>
            <p:nvPr/>
          </p:nvSpPr>
          <p:spPr>
            <a:xfrm>
              <a:off x="3922874" y="1683711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E6348539-3198-4139-8288-E8D6CEAE3F4A}"/>
                </a:ext>
              </a:extLst>
            </p:cNvPr>
            <p:cNvSpPr/>
            <p:nvPr/>
          </p:nvSpPr>
          <p:spPr>
            <a:xfrm>
              <a:off x="3923700" y="1565155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8C01B890-556C-4886-88E8-89F21027BC66}"/>
                </a:ext>
              </a:extLst>
            </p:cNvPr>
            <p:cNvSpPr/>
            <p:nvPr/>
          </p:nvSpPr>
          <p:spPr>
            <a:xfrm>
              <a:off x="3003672" y="972458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B75AF422-1934-4C88-8B2E-173E915DD1B9}"/>
                </a:ext>
              </a:extLst>
            </p:cNvPr>
            <p:cNvSpPr/>
            <p:nvPr/>
          </p:nvSpPr>
          <p:spPr>
            <a:xfrm>
              <a:off x="2940470" y="853902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9C4220B9-D959-429C-93FD-1B18ADE7F8C6}"/>
                </a:ext>
              </a:extLst>
            </p:cNvPr>
            <p:cNvSpPr/>
            <p:nvPr/>
          </p:nvSpPr>
          <p:spPr>
            <a:xfrm>
              <a:off x="1776144" y="972458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2FBF3271-F59F-482F-98E2-0287373987A3}"/>
                </a:ext>
              </a:extLst>
            </p:cNvPr>
            <p:cNvSpPr/>
            <p:nvPr/>
          </p:nvSpPr>
          <p:spPr>
            <a:xfrm>
              <a:off x="1776144" y="853902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B23A4CCF-5289-4245-88F2-1D0A3431E670}"/>
                </a:ext>
              </a:extLst>
            </p:cNvPr>
            <p:cNvSpPr/>
            <p:nvPr/>
          </p:nvSpPr>
          <p:spPr>
            <a:xfrm>
              <a:off x="1970791" y="735428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B813B1D7-D099-4590-9B8D-E5070A6CBD4B}"/>
                </a:ext>
              </a:extLst>
            </p:cNvPr>
            <p:cNvSpPr/>
            <p:nvPr/>
          </p:nvSpPr>
          <p:spPr>
            <a:xfrm>
              <a:off x="3704185" y="2039296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956F0854-F27B-449B-B3B0-601627E6C4B1}"/>
                </a:ext>
              </a:extLst>
            </p:cNvPr>
            <p:cNvSpPr/>
            <p:nvPr/>
          </p:nvSpPr>
          <p:spPr>
            <a:xfrm>
              <a:off x="3704185" y="1920740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9A7E2EAD-2149-44DD-ABD3-49466F534D0C}"/>
                </a:ext>
              </a:extLst>
            </p:cNvPr>
            <p:cNvSpPr/>
            <p:nvPr/>
          </p:nvSpPr>
          <p:spPr>
            <a:xfrm>
              <a:off x="3751525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6005A6E1-6A38-41ED-92EE-76894690DB7A}"/>
                </a:ext>
              </a:extLst>
            </p:cNvPr>
            <p:cNvSpPr/>
            <p:nvPr/>
          </p:nvSpPr>
          <p:spPr>
            <a:xfrm>
              <a:off x="4476741" y="1802267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F633F7DD-DDC4-424D-AB33-0061A57DDA01}"/>
                </a:ext>
              </a:extLst>
            </p:cNvPr>
            <p:cNvSpPr/>
            <p:nvPr/>
          </p:nvSpPr>
          <p:spPr>
            <a:xfrm>
              <a:off x="4451294" y="1683711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EA47E095-0B41-4102-86B8-E03DC0672D99}"/>
                </a:ext>
              </a:extLst>
            </p:cNvPr>
            <p:cNvSpPr/>
            <p:nvPr/>
          </p:nvSpPr>
          <p:spPr>
            <a:xfrm>
              <a:off x="5147015" y="1683711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D9ED0156-E601-4BCF-A5C1-1CAC0D896D45}"/>
                </a:ext>
              </a:extLst>
            </p:cNvPr>
            <p:cNvSpPr/>
            <p:nvPr/>
          </p:nvSpPr>
          <p:spPr>
            <a:xfrm>
              <a:off x="4451294" y="1565155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4A8055A7-7F55-49F9-B04C-CEA86EF64C76}"/>
                </a:ext>
              </a:extLst>
            </p:cNvPr>
            <p:cNvSpPr/>
            <p:nvPr/>
          </p:nvSpPr>
          <p:spPr>
            <a:xfrm>
              <a:off x="4451294" y="1446599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911D32DD-D9F0-487A-BF6C-F5E6CF8BB2AB}"/>
                </a:ext>
              </a:extLst>
            </p:cNvPr>
            <p:cNvSpPr/>
            <p:nvPr/>
          </p:nvSpPr>
          <p:spPr>
            <a:xfrm>
              <a:off x="4451294" y="1516906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CFDE3393-AB3D-47EB-B17E-3B76E06709AB}"/>
                </a:ext>
              </a:extLst>
            </p:cNvPr>
            <p:cNvSpPr/>
            <p:nvPr/>
          </p:nvSpPr>
          <p:spPr>
            <a:xfrm>
              <a:off x="4451294" y="1328044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F2C9EEAD-1E06-44D5-B1E4-D0FD67D91B80}"/>
                </a:ext>
              </a:extLst>
            </p:cNvPr>
            <p:cNvSpPr/>
            <p:nvPr/>
          </p:nvSpPr>
          <p:spPr>
            <a:xfrm>
              <a:off x="4485580" y="1209570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7E8F84FB-FC3A-4557-94DA-EFBDE63ADFB3}"/>
                </a:ext>
              </a:extLst>
            </p:cNvPr>
            <p:cNvSpPr/>
            <p:nvPr/>
          </p:nvSpPr>
          <p:spPr>
            <a:xfrm>
              <a:off x="4273584" y="853902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3D4A6D03-0475-4028-A574-5359C8BC4DEF}"/>
                </a:ext>
              </a:extLst>
            </p:cNvPr>
            <p:cNvSpPr/>
            <p:nvPr/>
          </p:nvSpPr>
          <p:spPr>
            <a:xfrm>
              <a:off x="5925766" y="853902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7F2EB18F-3992-4CED-803C-49FCF5CC1EFE}"/>
                </a:ext>
              </a:extLst>
            </p:cNvPr>
            <p:cNvSpPr/>
            <p:nvPr/>
          </p:nvSpPr>
          <p:spPr>
            <a:xfrm>
              <a:off x="6066133" y="735428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4FEEFE9B-D9B5-4C94-814B-4F4DC12EE8E0}"/>
                </a:ext>
              </a:extLst>
            </p:cNvPr>
            <p:cNvSpPr/>
            <p:nvPr/>
          </p:nvSpPr>
          <p:spPr>
            <a:xfrm>
              <a:off x="6006731" y="972458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BF0378CE-5B98-46EA-A75A-58A9D7D82949}"/>
                </a:ext>
              </a:extLst>
            </p:cNvPr>
            <p:cNvSpPr/>
            <p:nvPr/>
          </p:nvSpPr>
          <p:spPr>
            <a:xfrm>
              <a:off x="4273584" y="735428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B9F29B3C-0C49-420B-9A34-B78BC193A7F0}"/>
                </a:ext>
              </a:extLst>
            </p:cNvPr>
            <p:cNvSpPr/>
            <p:nvPr/>
          </p:nvSpPr>
          <p:spPr>
            <a:xfrm>
              <a:off x="4470378" y="616873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690F4969-3055-4D7D-971C-5234076E6C08}"/>
                </a:ext>
              </a:extLst>
            </p:cNvPr>
            <p:cNvSpPr/>
            <p:nvPr/>
          </p:nvSpPr>
          <p:spPr>
            <a:xfrm>
              <a:off x="4540025" y="498317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2430730E-B77F-461B-9961-078C92F743ED}"/>
                </a:ext>
              </a:extLst>
            </p:cNvPr>
            <p:cNvSpPr/>
            <p:nvPr/>
          </p:nvSpPr>
          <p:spPr>
            <a:xfrm>
              <a:off x="4972445" y="379761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FCD485FD-379E-47CF-85DC-0C69A5144E23}"/>
                </a:ext>
              </a:extLst>
            </p:cNvPr>
            <p:cNvSpPr/>
            <p:nvPr/>
          </p:nvSpPr>
          <p:spPr>
            <a:xfrm>
              <a:off x="4485580" y="972458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4349A400-0FC2-4B2A-BB42-0FEBE3E87E52}"/>
                </a:ext>
              </a:extLst>
            </p:cNvPr>
            <p:cNvSpPr/>
            <p:nvPr/>
          </p:nvSpPr>
          <p:spPr>
            <a:xfrm>
              <a:off x="4485580" y="1091014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FC509DC2-9FA5-4311-A0B9-202EE977B4BD}"/>
                </a:ext>
              </a:extLst>
            </p:cNvPr>
            <p:cNvSpPr/>
            <p:nvPr/>
          </p:nvSpPr>
          <p:spPr>
            <a:xfrm>
              <a:off x="4567289" y="1920740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23D527B0-9650-4531-92ED-17570F892E08}"/>
                </a:ext>
              </a:extLst>
            </p:cNvPr>
            <p:cNvSpPr/>
            <p:nvPr/>
          </p:nvSpPr>
          <p:spPr>
            <a:xfrm>
              <a:off x="4021849" y="1920740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340DFAAE-19A3-459D-BEF9-551A9B1A0A8C}"/>
                </a:ext>
              </a:extLst>
            </p:cNvPr>
            <p:cNvSpPr/>
            <p:nvPr/>
          </p:nvSpPr>
          <p:spPr>
            <a:xfrm>
              <a:off x="2277713" y="2394881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57808E81-C4D8-4040-8B61-7B070AD7B4BA}"/>
                </a:ext>
              </a:extLst>
            </p:cNvPr>
            <p:cNvSpPr/>
            <p:nvPr/>
          </p:nvSpPr>
          <p:spPr>
            <a:xfrm>
              <a:off x="4119255" y="2394881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94214DF3-F608-4DD1-95C3-8317582D3129}"/>
                </a:ext>
              </a:extLst>
            </p:cNvPr>
            <p:cNvSpPr/>
            <p:nvPr/>
          </p:nvSpPr>
          <p:spPr>
            <a:xfrm>
              <a:off x="2277713" y="2276408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370D0BA5-1BE4-4C2A-9888-BCD5D758D833}"/>
                </a:ext>
              </a:extLst>
            </p:cNvPr>
            <p:cNvSpPr/>
            <p:nvPr/>
          </p:nvSpPr>
          <p:spPr>
            <a:xfrm>
              <a:off x="3619750" y="2157852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B56E1A0B-949F-4F92-8234-F994C9B679B1}"/>
                </a:ext>
              </a:extLst>
            </p:cNvPr>
            <p:cNvSpPr/>
            <p:nvPr/>
          </p:nvSpPr>
          <p:spPr>
            <a:xfrm>
              <a:off x="2277713" y="2157852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E6B5346E-6BC0-4BBE-8D7D-7DADDB0E3F2C}"/>
                </a:ext>
              </a:extLst>
            </p:cNvPr>
            <p:cNvSpPr/>
            <p:nvPr/>
          </p:nvSpPr>
          <p:spPr>
            <a:xfrm>
              <a:off x="2400153" y="3106134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125B2982-E6E7-4BE4-BB87-71FE0C91626D}"/>
                </a:ext>
              </a:extLst>
            </p:cNvPr>
            <p:cNvSpPr/>
            <p:nvPr/>
          </p:nvSpPr>
          <p:spPr>
            <a:xfrm>
              <a:off x="3341908" y="3106134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1FC4960B-8B88-4869-A70C-05192498B802}"/>
                </a:ext>
              </a:extLst>
            </p:cNvPr>
            <p:cNvSpPr/>
            <p:nvPr/>
          </p:nvSpPr>
          <p:spPr>
            <a:xfrm>
              <a:off x="2456250" y="3224690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B6008EAB-4A9F-4FD0-B7FC-081A018236D5}"/>
                </a:ext>
              </a:extLst>
            </p:cNvPr>
            <p:cNvSpPr/>
            <p:nvPr/>
          </p:nvSpPr>
          <p:spPr>
            <a:xfrm>
              <a:off x="7985913" y="3698832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01706DF4-CE62-4D54-875E-CEE1DDD84AC7}"/>
                </a:ext>
              </a:extLst>
            </p:cNvPr>
            <p:cNvSpPr/>
            <p:nvPr/>
          </p:nvSpPr>
          <p:spPr>
            <a:xfrm>
              <a:off x="7928825" y="3580276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4010237B-CB46-4050-AFCB-DD7E68679ACB}"/>
                </a:ext>
              </a:extLst>
            </p:cNvPr>
            <p:cNvSpPr/>
            <p:nvPr/>
          </p:nvSpPr>
          <p:spPr>
            <a:xfrm>
              <a:off x="7002436" y="3580276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C8E4E0E0-6950-4032-A8FC-979FDC2AEA82}"/>
                </a:ext>
              </a:extLst>
            </p:cNvPr>
            <p:cNvSpPr/>
            <p:nvPr/>
          </p:nvSpPr>
          <p:spPr>
            <a:xfrm>
              <a:off x="7889829" y="3461719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99243556-A57A-4657-9C45-C15761FFBB3C}"/>
                </a:ext>
              </a:extLst>
            </p:cNvPr>
            <p:cNvSpPr/>
            <p:nvPr/>
          </p:nvSpPr>
          <p:spPr>
            <a:xfrm>
              <a:off x="6944604" y="3461719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2F6ECC33-8FB3-40D6-9D5A-17BF08D14EE2}"/>
                </a:ext>
              </a:extLst>
            </p:cNvPr>
            <p:cNvSpPr/>
            <p:nvPr/>
          </p:nvSpPr>
          <p:spPr>
            <a:xfrm>
              <a:off x="6867770" y="3343246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E2403C48-02E6-48A2-8AA2-FE8A1C2CB0A1}"/>
                </a:ext>
              </a:extLst>
            </p:cNvPr>
            <p:cNvSpPr/>
            <p:nvPr/>
          </p:nvSpPr>
          <p:spPr>
            <a:xfrm>
              <a:off x="6787879" y="3224690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D142CFDD-E6AA-4884-A516-BF5D49434AAD}"/>
                </a:ext>
              </a:extLst>
            </p:cNvPr>
            <p:cNvSpPr/>
            <p:nvPr/>
          </p:nvSpPr>
          <p:spPr>
            <a:xfrm>
              <a:off x="6748718" y="2987578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9E6B21CF-352E-40E8-B027-AA4BAEF16F0F}"/>
                </a:ext>
              </a:extLst>
            </p:cNvPr>
            <p:cNvSpPr/>
            <p:nvPr/>
          </p:nvSpPr>
          <p:spPr>
            <a:xfrm>
              <a:off x="6484673" y="2869105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2D87DDDC-2757-4878-9D31-1CEFBA55CD17}"/>
                </a:ext>
              </a:extLst>
            </p:cNvPr>
            <p:cNvSpPr/>
            <p:nvPr/>
          </p:nvSpPr>
          <p:spPr>
            <a:xfrm>
              <a:off x="9511774" y="2869105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C15A30E3-B9AC-49B2-9C71-4B4BF7DC78EB}"/>
                </a:ext>
              </a:extLst>
            </p:cNvPr>
            <p:cNvSpPr/>
            <p:nvPr/>
          </p:nvSpPr>
          <p:spPr>
            <a:xfrm>
              <a:off x="8524496" y="3461719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ED98D81C-95AF-4A2A-9415-AF12CD818370}"/>
                </a:ext>
              </a:extLst>
            </p:cNvPr>
            <p:cNvSpPr/>
            <p:nvPr/>
          </p:nvSpPr>
          <p:spPr>
            <a:xfrm>
              <a:off x="8959476" y="3461719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C778501D-E92B-403B-B9E7-1D9A339A5226}"/>
                </a:ext>
              </a:extLst>
            </p:cNvPr>
            <p:cNvSpPr/>
            <p:nvPr/>
          </p:nvSpPr>
          <p:spPr>
            <a:xfrm>
              <a:off x="8650901" y="3580276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8FA7930F-C34E-4A8F-8E91-5526004C43A5}"/>
                </a:ext>
              </a:extLst>
            </p:cNvPr>
            <p:cNvSpPr/>
            <p:nvPr/>
          </p:nvSpPr>
          <p:spPr>
            <a:xfrm>
              <a:off x="8822331" y="3698832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8292281C-414C-492B-9F70-E21CC992B45E}"/>
                </a:ext>
              </a:extLst>
            </p:cNvPr>
            <p:cNvSpPr/>
            <p:nvPr/>
          </p:nvSpPr>
          <p:spPr>
            <a:xfrm>
              <a:off x="8671720" y="369883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1548ABFA-E5DC-43A9-8324-117355C20BD0}"/>
                </a:ext>
              </a:extLst>
            </p:cNvPr>
            <p:cNvSpPr/>
            <p:nvPr/>
          </p:nvSpPr>
          <p:spPr>
            <a:xfrm>
              <a:off x="8715177" y="3817387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1E91C8E4-8E23-4184-AC14-641A8F7DDD2A}"/>
                </a:ext>
              </a:extLst>
            </p:cNvPr>
            <p:cNvSpPr/>
            <p:nvPr/>
          </p:nvSpPr>
          <p:spPr>
            <a:xfrm>
              <a:off x="8793167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0C99C2B5-A505-4E12-A2A5-AB0090ADA0B7}"/>
                </a:ext>
              </a:extLst>
            </p:cNvPr>
            <p:cNvSpPr/>
            <p:nvPr/>
          </p:nvSpPr>
          <p:spPr>
            <a:xfrm>
              <a:off x="9100835" y="3935943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A9307C1F-151D-4AA3-A18E-FAF332E473E5}"/>
                </a:ext>
              </a:extLst>
            </p:cNvPr>
            <p:cNvSpPr/>
            <p:nvPr/>
          </p:nvSpPr>
          <p:spPr>
            <a:xfrm>
              <a:off x="8998471" y="4054417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15C5DCFF-4CC7-47BD-8ECE-980B4FBEA185}"/>
                </a:ext>
              </a:extLst>
            </p:cNvPr>
            <p:cNvSpPr/>
            <p:nvPr/>
          </p:nvSpPr>
          <p:spPr>
            <a:xfrm>
              <a:off x="9117358" y="4172972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A34EC3CE-325C-4A75-BC45-DF15A577F499}"/>
                </a:ext>
              </a:extLst>
            </p:cNvPr>
            <p:cNvSpPr/>
            <p:nvPr/>
          </p:nvSpPr>
          <p:spPr>
            <a:xfrm>
              <a:off x="9287137" y="4172972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65755B32-7620-47E1-A7FA-D8885E5063F0}"/>
                </a:ext>
              </a:extLst>
            </p:cNvPr>
            <p:cNvSpPr/>
            <p:nvPr/>
          </p:nvSpPr>
          <p:spPr>
            <a:xfrm>
              <a:off x="9751611" y="4172972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24B13DF0-1543-43C9-9A76-521B50560C0F}"/>
                </a:ext>
              </a:extLst>
            </p:cNvPr>
            <p:cNvSpPr/>
            <p:nvPr/>
          </p:nvSpPr>
          <p:spPr>
            <a:xfrm>
              <a:off x="9866945" y="4291528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70F35B17-576C-4B3E-A9F3-13D3F22E0EAB}"/>
                </a:ext>
              </a:extLst>
            </p:cNvPr>
            <p:cNvSpPr/>
            <p:nvPr/>
          </p:nvSpPr>
          <p:spPr>
            <a:xfrm>
              <a:off x="10117028" y="4291528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CE3DBB9C-C83D-4D34-B9D4-483266D38A5D}"/>
                </a:ext>
              </a:extLst>
            </p:cNvPr>
            <p:cNvSpPr/>
            <p:nvPr/>
          </p:nvSpPr>
          <p:spPr>
            <a:xfrm>
              <a:off x="10278049" y="4172972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70602470-3E43-4D16-AFD2-9CAA2F05AA8E}"/>
                </a:ext>
              </a:extLst>
            </p:cNvPr>
            <p:cNvSpPr/>
            <p:nvPr/>
          </p:nvSpPr>
          <p:spPr>
            <a:xfrm>
              <a:off x="9652884" y="4054417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64AB61B0-354D-4EA3-BB34-3F0C5F93AB2B}"/>
                </a:ext>
              </a:extLst>
            </p:cNvPr>
            <p:cNvSpPr/>
            <p:nvPr/>
          </p:nvSpPr>
          <p:spPr>
            <a:xfrm>
              <a:off x="9652884" y="4052268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9C0939D4-D200-48DA-8FA8-DD5C4134AEB2}"/>
                </a:ext>
              </a:extLst>
            </p:cNvPr>
            <p:cNvSpPr/>
            <p:nvPr/>
          </p:nvSpPr>
          <p:spPr>
            <a:xfrm>
              <a:off x="9307213" y="4054417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779103F6-1A15-4E6B-852F-F3EC1C308620}"/>
                </a:ext>
              </a:extLst>
            </p:cNvPr>
            <p:cNvSpPr/>
            <p:nvPr/>
          </p:nvSpPr>
          <p:spPr>
            <a:xfrm>
              <a:off x="8780279" y="4172972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BDC5524C-9F61-4E5B-99BF-4DE11DB1B077}"/>
                </a:ext>
              </a:extLst>
            </p:cNvPr>
            <p:cNvSpPr/>
            <p:nvPr/>
          </p:nvSpPr>
          <p:spPr>
            <a:xfrm>
              <a:off x="8722695" y="4054417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E01F033F-410F-4A0F-A1A8-486C9C897C3C}"/>
                </a:ext>
              </a:extLst>
            </p:cNvPr>
            <p:cNvSpPr/>
            <p:nvPr/>
          </p:nvSpPr>
          <p:spPr>
            <a:xfrm>
              <a:off x="9214268" y="3817387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44570D6D-C028-40A8-A4C8-10D8D47A827A}"/>
                </a:ext>
              </a:extLst>
            </p:cNvPr>
            <p:cNvSpPr/>
            <p:nvPr/>
          </p:nvSpPr>
          <p:spPr>
            <a:xfrm>
              <a:off x="9411889" y="3817387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6ECBC315-998E-4FDE-AA93-7A363A3A389F}"/>
                </a:ext>
              </a:extLst>
            </p:cNvPr>
            <p:cNvSpPr/>
            <p:nvPr/>
          </p:nvSpPr>
          <p:spPr>
            <a:xfrm>
              <a:off x="9383964" y="3698832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E88652CF-E9A2-4BF6-93DB-B1B7E7207C49}"/>
                </a:ext>
              </a:extLst>
            </p:cNvPr>
            <p:cNvSpPr/>
            <p:nvPr/>
          </p:nvSpPr>
          <p:spPr>
            <a:xfrm>
              <a:off x="9314979" y="3580276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983E3A91-91DF-4BE9-A416-A2BEA588815E}"/>
                </a:ext>
              </a:extLst>
            </p:cNvPr>
            <p:cNvSpPr/>
            <p:nvPr/>
          </p:nvSpPr>
          <p:spPr>
            <a:xfrm>
              <a:off x="9314979" y="3461719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861ADEF3-5D3A-4638-A8F0-DD42CFF76C2C}"/>
                </a:ext>
              </a:extLst>
            </p:cNvPr>
            <p:cNvSpPr/>
            <p:nvPr/>
          </p:nvSpPr>
          <p:spPr>
            <a:xfrm>
              <a:off x="9277718" y="3224690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2E384001-953B-45CA-8A37-7D367B7965CE}"/>
                </a:ext>
              </a:extLst>
            </p:cNvPr>
            <p:cNvSpPr/>
            <p:nvPr/>
          </p:nvSpPr>
          <p:spPr>
            <a:xfrm>
              <a:off x="7294654" y="3224690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DA8E27C0-BBE5-443B-A7AD-6086B5A9DF48}"/>
                </a:ext>
              </a:extLst>
            </p:cNvPr>
            <p:cNvSpPr/>
            <p:nvPr/>
          </p:nvSpPr>
          <p:spPr>
            <a:xfrm>
              <a:off x="7216249" y="3106134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C8E3F4D5-CCE7-476F-858A-01CED2906F55}"/>
                </a:ext>
              </a:extLst>
            </p:cNvPr>
            <p:cNvSpPr/>
            <p:nvPr/>
          </p:nvSpPr>
          <p:spPr>
            <a:xfrm>
              <a:off x="8654453" y="3935943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71B4780A-5502-426C-819A-0985FBD065ED}"/>
                </a:ext>
              </a:extLst>
            </p:cNvPr>
            <p:cNvSpPr/>
            <p:nvPr/>
          </p:nvSpPr>
          <p:spPr>
            <a:xfrm>
              <a:off x="8449231" y="3343246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9E3531D0-D60B-4032-95DE-177779CEF6DD}"/>
                </a:ext>
              </a:extLst>
            </p:cNvPr>
            <p:cNvSpPr/>
            <p:nvPr/>
          </p:nvSpPr>
          <p:spPr>
            <a:xfrm>
              <a:off x="7767803" y="3343246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CD67A96C-FC85-422B-A4A1-44A7E22EE546}"/>
                </a:ext>
              </a:extLst>
            </p:cNvPr>
            <p:cNvSpPr/>
            <p:nvPr/>
          </p:nvSpPr>
          <p:spPr>
            <a:xfrm>
              <a:off x="8124215" y="3817387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DF667F1E-7787-4B4C-B99F-0F238B74934D}"/>
                </a:ext>
              </a:extLst>
            </p:cNvPr>
            <p:cNvSpPr/>
            <p:nvPr/>
          </p:nvSpPr>
          <p:spPr>
            <a:xfrm>
              <a:off x="6557707" y="616873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22E3C010-1EE7-47B2-97F8-B639ED0E4870}"/>
                </a:ext>
              </a:extLst>
            </p:cNvPr>
            <p:cNvSpPr/>
            <p:nvPr/>
          </p:nvSpPr>
          <p:spPr>
            <a:xfrm>
              <a:off x="6722446" y="616873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D4B79DF2-05EB-4262-9E65-EA45AC645424}"/>
                </a:ext>
              </a:extLst>
            </p:cNvPr>
            <p:cNvSpPr/>
            <p:nvPr/>
          </p:nvSpPr>
          <p:spPr>
            <a:xfrm>
              <a:off x="6831831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98D3070A-6EC2-4190-B76E-9FF33D797B1D}"/>
                </a:ext>
              </a:extLst>
            </p:cNvPr>
            <p:cNvSpPr/>
            <p:nvPr/>
          </p:nvSpPr>
          <p:spPr>
            <a:xfrm>
              <a:off x="7429981" y="498317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E9F21A1C-FB2A-4FBB-B212-25356A236F3B}"/>
                </a:ext>
              </a:extLst>
            </p:cNvPr>
            <p:cNvSpPr/>
            <p:nvPr/>
          </p:nvSpPr>
          <p:spPr>
            <a:xfrm>
              <a:off x="7673124" y="498317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E3AAE2BD-EEAA-471F-A846-8ED8E43C3A95}"/>
                </a:ext>
              </a:extLst>
            </p:cNvPr>
            <p:cNvSpPr/>
            <p:nvPr/>
          </p:nvSpPr>
          <p:spPr>
            <a:xfrm>
              <a:off x="7673124" y="616873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07FF2125-144C-4B96-BC49-0C74D96F3094}"/>
                </a:ext>
              </a:extLst>
            </p:cNvPr>
            <p:cNvSpPr/>
            <p:nvPr/>
          </p:nvSpPr>
          <p:spPr>
            <a:xfrm>
              <a:off x="7783418" y="735428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C232AFF8-92AA-4DF5-9737-04D00E8542F8}"/>
                </a:ext>
              </a:extLst>
            </p:cNvPr>
            <p:cNvSpPr/>
            <p:nvPr/>
          </p:nvSpPr>
          <p:spPr>
            <a:xfrm>
              <a:off x="7624793" y="853902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739CECBA-FA6A-47D5-A2DE-A13988058D34}"/>
                </a:ext>
              </a:extLst>
            </p:cNvPr>
            <p:cNvSpPr/>
            <p:nvPr/>
          </p:nvSpPr>
          <p:spPr>
            <a:xfrm>
              <a:off x="7562334" y="972458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CA7DFAC0-3E86-47B2-9433-CA4A0BBF8BDD}"/>
                </a:ext>
              </a:extLst>
            </p:cNvPr>
            <p:cNvSpPr/>
            <p:nvPr/>
          </p:nvSpPr>
          <p:spPr>
            <a:xfrm>
              <a:off x="7504997" y="1091014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B90DCB82-2EAD-4839-9E56-71B787D48FF7}"/>
                </a:ext>
              </a:extLst>
            </p:cNvPr>
            <p:cNvSpPr/>
            <p:nvPr/>
          </p:nvSpPr>
          <p:spPr>
            <a:xfrm>
              <a:off x="7389746" y="1209570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5014DB0C-400D-45DE-BE54-C5430118192F}"/>
                </a:ext>
              </a:extLst>
            </p:cNvPr>
            <p:cNvSpPr/>
            <p:nvPr/>
          </p:nvSpPr>
          <p:spPr>
            <a:xfrm>
              <a:off x="7263590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9B335D3C-1363-4BB8-BC8F-1E62ED38E8B8}"/>
                </a:ext>
              </a:extLst>
            </p:cNvPr>
            <p:cNvSpPr/>
            <p:nvPr/>
          </p:nvSpPr>
          <p:spPr>
            <a:xfrm>
              <a:off x="6896438" y="1209570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087D64CF-EC01-4A90-BE7F-F26E26E231B2}"/>
                </a:ext>
              </a:extLst>
            </p:cNvPr>
            <p:cNvSpPr/>
            <p:nvPr/>
          </p:nvSpPr>
          <p:spPr>
            <a:xfrm>
              <a:off x="6937829" y="1328044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F8AC63CF-1275-4E97-8177-E741C38E5127}"/>
                </a:ext>
              </a:extLst>
            </p:cNvPr>
            <p:cNvSpPr/>
            <p:nvPr/>
          </p:nvSpPr>
          <p:spPr>
            <a:xfrm>
              <a:off x="6896438" y="1091014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41B8F2BD-592B-4025-B5A6-E832921ECF91}"/>
                </a:ext>
              </a:extLst>
            </p:cNvPr>
            <p:cNvSpPr/>
            <p:nvPr/>
          </p:nvSpPr>
          <p:spPr>
            <a:xfrm>
              <a:off x="6972363" y="972458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D583AD5D-CA01-4213-BA1C-1E643532272C}"/>
                </a:ext>
              </a:extLst>
            </p:cNvPr>
            <p:cNvSpPr/>
            <p:nvPr/>
          </p:nvSpPr>
          <p:spPr>
            <a:xfrm>
              <a:off x="7079187" y="853902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26342ED5-14E2-4A64-9580-9182C6B8D6D9}"/>
                </a:ext>
              </a:extLst>
            </p:cNvPr>
            <p:cNvSpPr/>
            <p:nvPr/>
          </p:nvSpPr>
          <p:spPr>
            <a:xfrm>
              <a:off x="9917673" y="1328044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B92D7864-F204-49C2-AF2C-10D55B522B2C}"/>
                </a:ext>
              </a:extLst>
            </p:cNvPr>
            <p:cNvSpPr/>
            <p:nvPr/>
          </p:nvSpPr>
          <p:spPr>
            <a:xfrm>
              <a:off x="7445926" y="1328044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F80887FA-4167-4B8E-9E2B-AAFB3CBAB042}"/>
                </a:ext>
              </a:extLst>
            </p:cNvPr>
            <p:cNvSpPr/>
            <p:nvPr/>
          </p:nvSpPr>
          <p:spPr>
            <a:xfrm>
              <a:off x="7512350" y="1446599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5138EA02-A291-477C-9847-EBF2C2624BC3}"/>
                </a:ext>
              </a:extLst>
            </p:cNvPr>
            <p:cNvSpPr/>
            <p:nvPr/>
          </p:nvSpPr>
          <p:spPr>
            <a:xfrm>
              <a:off x="9908584" y="1446599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00BCB7CC-0E42-43E9-B5FE-964D4877C39B}"/>
                </a:ext>
              </a:extLst>
            </p:cNvPr>
            <p:cNvSpPr/>
            <p:nvPr/>
          </p:nvSpPr>
          <p:spPr>
            <a:xfrm>
              <a:off x="9862236" y="1683711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F03A44F5-5A44-4EEB-94C8-D12FCC159360}"/>
                </a:ext>
              </a:extLst>
            </p:cNvPr>
            <p:cNvSpPr/>
            <p:nvPr/>
          </p:nvSpPr>
          <p:spPr>
            <a:xfrm>
              <a:off x="6706749" y="1683711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A7EE052C-A141-4C62-8C3A-43EDEA684317}"/>
                </a:ext>
              </a:extLst>
            </p:cNvPr>
            <p:cNvSpPr/>
            <p:nvPr/>
          </p:nvSpPr>
          <p:spPr>
            <a:xfrm>
              <a:off x="9862236" y="1802267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5E348200-5A48-483C-9B94-CD6D3B23C49D}"/>
                </a:ext>
              </a:extLst>
            </p:cNvPr>
            <p:cNvSpPr/>
            <p:nvPr/>
          </p:nvSpPr>
          <p:spPr>
            <a:xfrm>
              <a:off x="9947993" y="1920740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91B0D654-3B43-4FA5-A558-AF3AD8F7296D}"/>
                </a:ext>
              </a:extLst>
            </p:cNvPr>
            <p:cNvSpPr/>
            <p:nvPr/>
          </p:nvSpPr>
          <p:spPr>
            <a:xfrm>
              <a:off x="9908584" y="1565155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73FF5508-72AE-4E1B-9F58-E8072DC70E3B}"/>
                </a:ext>
              </a:extLst>
            </p:cNvPr>
            <p:cNvSpPr/>
            <p:nvPr/>
          </p:nvSpPr>
          <p:spPr>
            <a:xfrm>
              <a:off x="6886028" y="1565155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7906D8A4-5F91-4E0D-AFC6-75AE51138E58}"/>
                </a:ext>
              </a:extLst>
            </p:cNvPr>
            <p:cNvSpPr/>
            <p:nvPr/>
          </p:nvSpPr>
          <p:spPr>
            <a:xfrm>
              <a:off x="6759458" y="1565155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596AAFB6-C82A-40CE-B01C-3F10778E3C0D}"/>
                </a:ext>
              </a:extLst>
            </p:cNvPr>
            <p:cNvSpPr/>
            <p:nvPr/>
          </p:nvSpPr>
          <p:spPr>
            <a:xfrm>
              <a:off x="6090257" y="1565155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363984EE-3B6F-4E06-AB98-896B8D579ABB}"/>
                </a:ext>
              </a:extLst>
            </p:cNvPr>
            <p:cNvSpPr/>
            <p:nvPr/>
          </p:nvSpPr>
          <p:spPr>
            <a:xfrm>
              <a:off x="6025982" y="1683711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0F33031D-0D31-4801-9150-FE6C48685B55}"/>
                </a:ext>
              </a:extLst>
            </p:cNvPr>
            <p:cNvSpPr/>
            <p:nvPr/>
          </p:nvSpPr>
          <p:spPr>
            <a:xfrm>
              <a:off x="5950138" y="1802267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679CFDD5-6C8E-4BBE-BC35-126C198950DA}"/>
                </a:ext>
              </a:extLst>
            </p:cNvPr>
            <p:cNvSpPr/>
            <p:nvPr/>
          </p:nvSpPr>
          <p:spPr>
            <a:xfrm>
              <a:off x="5845462" y="1920740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78C7FD13-C9EA-436C-9A76-43533205B6E1}"/>
                </a:ext>
              </a:extLst>
            </p:cNvPr>
            <p:cNvSpPr/>
            <p:nvPr/>
          </p:nvSpPr>
          <p:spPr>
            <a:xfrm>
              <a:off x="5845462" y="2039296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8913E731-E483-411C-96A8-5C7400F183CD}"/>
                </a:ext>
              </a:extLst>
            </p:cNvPr>
            <p:cNvSpPr/>
            <p:nvPr/>
          </p:nvSpPr>
          <p:spPr>
            <a:xfrm>
              <a:off x="5556301" y="2039296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887BF586-8D35-4BA5-9E98-EFFEC475F2D8}"/>
                </a:ext>
              </a:extLst>
            </p:cNvPr>
            <p:cNvSpPr/>
            <p:nvPr/>
          </p:nvSpPr>
          <p:spPr>
            <a:xfrm>
              <a:off x="5512762" y="2157852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0A01494C-B589-494E-8820-3D8E38B2B86C}"/>
                </a:ext>
              </a:extLst>
            </p:cNvPr>
            <p:cNvSpPr/>
            <p:nvPr/>
          </p:nvSpPr>
          <p:spPr>
            <a:xfrm>
              <a:off x="5940059" y="2157852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08DFCAC1-C45F-4358-AD1B-90598944D421}"/>
                </a:ext>
              </a:extLst>
            </p:cNvPr>
            <p:cNvSpPr/>
            <p:nvPr/>
          </p:nvSpPr>
          <p:spPr>
            <a:xfrm>
              <a:off x="6059689" y="2157852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47EA494B-3684-46AE-9E33-5BC6F50F3B6D}"/>
                </a:ext>
              </a:extLst>
            </p:cNvPr>
            <p:cNvSpPr/>
            <p:nvPr/>
          </p:nvSpPr>
          <p:spPr>
            <a:xfrm>
              <a:off x="5607277" y="2276408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6319792A-CFA3-43A8-87DC-52F42DB686FE}"/>
                </a:ext>
              </a:extLst>
            </p:cNvPr>
            <p:cNvSpPr/>
            <p:nvPr/>
          </p:nvSpPr>
          <p:spPr>
            <a:xfrm>
              <a:off x="5457244" y="2276408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263DEDD3-7C81-444D-830F-95B10B925E87}"/>
                </a:ext>
              </a:extLst>
            </p:cNvPr>
            <p:cNvSpPr/>
            <p:nvPr/>
          </p:nvSpPr>
          <p:spPr>
            <a:xfrm>
              <a:off x="6008880" y="2039296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4E2E555C-3FC8-4830-A496-C26FE36E7859}"/>
                </a:ext>
              </a:extLst>
            </p:cNvPr>
            <p:cNvSpPr/>
            <p:nvPr/>
          </p:nvSpPr>
          <p:spPr>
            <a:xfrm>
              <a:off x="6259293" y="1802267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B0C4F6EF-C981-4C98-A2D9-887DA804F27A}"/>
                </a:ext>
              </a:extLst>
            </p:cNvPr>
            <p:cNvSpPr/>
            <p:nvPr/>
          </p:nvSpPr>
          <p:spPr>
            <a:xfrm>
              <a:off x="6259293" y="1920740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30660AA7-5607-4336-A1C0-B95C3308A442}"/>
                </a:ext>
              </a:extLst>
            </p:cNvPr>
            <p:cNvSpPr/>
            <p:nvPr/>
          </p:nvSpPr>
          <p:spPr>
            <a:xfrm>
              <a:off x="6329435" y="2039296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362C2464-A573-4A34-BD04-5645BEB5CCD2}"/>
                </a:ext>
              </a:extLst>
            </p:cNvPr>
            <p:cNvSpPr/>
            <p:nvPr/>
          </p:nvSpPr>
          <p:spPr>
            <a:xfrm>
              <a:off x="6274742" y="2157852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B712781D-E94B-4BA7-A8AE-50803A7EC181}"/>
                </a:ext>
              </a:extLst>
            </p:cNvPr>
            <p:cNvSpPr/>
            <p:nvPr/>
          </p:nvSpPr>
          <p:spPr>
            <a:xfrm>
              <a:off x="5850172" y="2276408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1D94CF76-BC6F-4C95-83FE-58C021201CB0}"/>
                </a:ext>
              </a:extLst>
            </p:cNvPr>
            <p:cNvSpPr/>
            <p:nvPr/>
          </p:nvSpPr>
          <p:spPr>
            <a:xfrm>
              <a:off x="5757475" y="2394881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4F259B3E-A44D-4D16-BC4F-C9437139E087}"/>
                </a:ext>
              </a:extLst>
            </p:cNvPr>
            <p:cNvSpPr/>
            <p:nvPr/>
          </p:nvSpPr>
          <p:spPr>
            <a:xfrm>
              <a:off x="7197909" y="2513438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94D5B903-8110-40B5-B97E-D976DF2C4E34}"/>
                </a:ext>
              </a:extLst>
            </p:cNvPr>
            <p:cNvSpPr/>
            <p:nvPr/>
          </p:nvSpPr>
          <p:spPr>
            <a:xfrm>
              <a:off x="6781021" y="2513438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D36FAB8A-B1E2-476F-B8D1-29DF65A228C2}"/>
                </a:ext>
              </a:extLst>
            </p:cNvPr>
            <p:cNvSpPr/>
            <p:nvPr/>
          </p:nvSpPr>
          <p:spPr>
            <a:xfrm>
              <a:off x="5670561" y="251343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0C890ED6-45D6-478C-94FA-5F748DC90813}"/>
                </a:ext>
              </a:extLst>
            </p:cNvPr>
            <p:cNvSpPr/>
            <p:nvPr/>
          </p:nvSpPr>
          <p:spPr>
            <a:xfrm>
              <a:off x="5483516" y="2631993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BB1357B3-5D50-4092-85C1-F95F8FD728CD}"/>
                </a:ext>
              </a:extLst>
            </p:cNvPr>
            <p:cNvSpPr/>
            <p:nvPr/>
          </p:nvSpPr>
          <p:spPr>
            <a:xfrm>
              <a:off x="6013423" y="2631993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E2B5045D-2AE2-432E-8AAF-2CF9AE6E35AB}"/>
                </a:ext>
              </a:extLst>
            </p:cNvPr>
            <p:cNvSpPr/>
            <p:nvPr/>
          </p:nvSpPr>
          <p:spPr>
            <a:xfrm>
              <a:off x="6177832" y="2631993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19CF774A-8016-4D45-BB1B-0332ED339437}"/>
                </a:ext>
              </a:extLst>
            </p:cNvPr>
            <p:cNvSpPr/>
            <p:nvPr/>
          </p:nvSpPr>
          <p:spPr>
            <a:xfrm>
              <a:off x="6858681" y="2631993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6EDB8A8E-9832-4AB0-8972-001DCAA23858}"/>
                </a:ext>
              </a:extLst>
            </p:cNvPr>
            <p:cNvSpPr/>
            <p:nvPr/>
          </p:nvSpPr>
          <p:spPr>
            <a:xfrm>
              <a:off x="7197909" y="2631993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EC42D073-2ED1-4CC7-BB5C-B11791CC4973}"/>
                </a:ext>
              </a:extLst>
            </p:cNvPr>
            <p:cNvSpPr/>
            <p:nvPr/>
          </p:nvSpPr>
          <p:spPr>
            <a:xfrm>
              <a:off x="7225833" y="2750549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56C7A15B-B767-4EE0-BC68-E1F49D0F49AA}"/>
                </a:ext>
              </a:extLst>
            </p:cNvPr>
            <p:cNvSpPr/>
            <p:nvPr/>
          </p:nvSpPr>
          <p:spPr>
            <a:xfrm>
              <a:off x="5483516" y="2750549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A1F7CD0D-68F1-4177-ADF1-2B0A0A5DEEFF}"/>
                </a:ext>
              </a:extLst>
            </p:cNvPr>
            <p:cNvSpPr/>
            <p:nvPr/>
          </p:nvSpPr>
          <p:spPr>
            <a:xfrm>
              <a:off x="5961457" y="2750549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BA1C6745-5658-4796-A954-1D0F06481D0A}"/>
                </a:ext>
              </a:extLst>
            </p:cNvPr>
            <p:cNvSpPr/>
            <p:nvPr/>
          </p:nvSpPr>
          <p:spPr>
            <a:xfrm>
              <a:off x="613916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C69B2C29-68ED-42C2-8873-DA4522EEF1EC}"/>
                </a:ext>
              </a:extLst>
            </p:cNvPr>
            <p:cNvSpPr/>
            <p:nvPr/>
          </p:nvSpPr>
          <p:spPr>
            <a:xfrm>
              <a:off x="6290357" y="2750549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A7B34439-D71A-4451-9BF2-B600C61CA67E}"/>
                </a:ext>
              </a:extLst>
            </p:cNvPr>
            <p:cNvSpPr/>
            <p:nvPr/>
          </p:nvSpPr>
          <p:spPr>
            <a:xfrm>
              <a:off x="6485995" y="2750549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EAD8294A-E3E7-488A-B8B6-2BC86B8B6F30}"/>
                </a:ext>
              </a:extLst>
            </p:cNvPr>
            <p:cNvSpPr/>
            <p:nvPr/>
          </p:nvSpPr>
          <p:spPr>
            <a:xfrm>
              <a:off x="9664120" y="2157852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F48ACFB7-7210-4466-8717-0395E6AD399C}"/>
                </a:ext>
              </a:extLst>
            </p:cNvPr>
            <p:cNvSpPr/>
            <p:nvPr/>
          </p:nvSpPr>
          <p:spPr>
            <a:xfrm>
              <a:off x="9664120" y="2147938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7FE2DD3F-A046-4814-8228-F2B01C86589E}"/>
                </a:ext>
              </a:extLst>
            </p:cNvPr>
            <p:cNvSpPr/>
            <p:nvPr/>
          </p:nvSpPr>
          <p:spPr>
            <a:xfrm>
              <a:off x="9664120" y="2276408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28D8E040-CACE-47F0-9FA8-123B45FD8298}"/>
                </a:ext>
              </a:extLst>
            </p:cNvPr>
            <p:cNvSpPr/>
            <p:nvPr/>
          </p:nvSpPr>
          <p:spPr>
            <a:xfrm>
              <a:off x="9710468" y="2394881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27365EC0-1C1A-499B-BC67-E4121888B44A}"/>
                </a:ext>
              </a:extLst>
            </p:cNvPr>
            <p:cNvSpPr/>
            <p:nvPr/>
          </p:nvSpPr>
          <p:spPr>
            <a:xfrm>
              <a:off x="9710468" y="2386702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A61B9B18-7E87-4CD2-AF4A-17AA854F7626}"/>
                </a:ext>
              </a:extLst>
            </p:cNvPr>
            <p:cNvSpPr/>
            <p:nvPr/>
          </p:nvSpPr>
          <p:spPr>
            <a:xfrm>
              <a:off x="9693284" y="2513438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178474F6-90FA-4692-89F1-7B75221DEC3A}"/>
                </a:ext>
              </a:extLst>
            </p:cNvPr>
            <p:cNvSpPr/>
            <p:nvPr/>
          </p:nvSpPr>
          <p:spPr>
            <a:xfrm>
              <a:off x="9718069" y="2631993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56E7D7F0-A5B0-487F-B0E0-7A584F62BCE4}"/>
                </a:ext>
              </a:extLst>
            </p:cNvPr>
            <p:cNvSpPr/>
            <p:nvPr/>
          </p:nvSpPr>
          <p:spPr>
            <a:xfrm>
              <a:off x="9664120" y="2750549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E60030EB-E49A-4022-AB22-0DA845791FBA}"/>
                </a:ext>
              </a:extLst>
            </p:cNvPr>
            <p:cNvSpPr/>
            <p:nvPr/>
          </p:nvSpPr>
          <p:spPr>
            <a:xfrm>
              <a:off x="9376364" y="2750549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289F3CAB-7EB2-44C6-AC66-24AF04FA74DB}"/>
                </a:ext>
              </a:extLst>
            </p:cNvPr>
            <p:cNvSpPr/>
            <p:nvPr/>
          </p:nvSpPr>
          <p:spPr>
            <a:xfrm>
              <a:off x="9228065" y="2631993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43FD51B9-75EE-435A-9B59-08E175C906D2}"/>
                </a:ext>
              </a:extLst>
            </p:cNvPr>
            <p:cNvSpPr/>
            <p:nvPr/>
          </p:nvSpPr>
          <p:spPr>
            <a:xfrm>
              <a:off x="6337862" y="1683711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61CDAB99-B28E-4F62-A71F-E30A4CE719B4}"/>
                </a:ext>
              </a:extLst>
            </p:cNvPr>
            <p:cNvSpPr/>
            <p:nvPr/>
          </p:nvSpPr>
          <p:spPr>
            <a:xfrm>
              <a:off x="7139581" y="1446599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C3E0838E-D1FA-4ADE-9CAC-953688B7C310}"/>
                </a:ext>
              </a:extLst>
            </p:cNvPr>
            <p:cNvSpPr/>
            <p:nvPr/>
          </p:nvSpPr>
          <p:spPr>
            <a:xfrm>
              <a:off x="6158830" y="1446599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27A80B5A-EC54-42F9-A9CB-C5E6700E1832}"/>
                </a:ext>
              </a:extLst>
            </p:cNvPr>
            <p:cNvSpPr/>
            <p:nvPr/>
          </p:nvSpPr>
          <p:spPr>
            <a:xfrm>
              <a:off x="7263590" y="1328044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A2DAFB05-6BA8-4292-9B82-1A40D4F77A93}"/>
                </a:ext>
              </a:extLst>
            </p:cNvPr>
            <p:cNvSpPr/>
            <p:nvPr/>
          </p:nvSpPr>
          <p:spPr>
            <a:xfrm>
              <a:off x="8836377" y="735428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4091E41F-AC96-4ECC-931B-645FAB28BE57}"/>
                </a:ext>
              </a:extLst>
            </p:cNvPr>
            <p:cNvSpPr/>
            <p:nvPr/>
          </p:nvSpPr>
          <p:spPr>
            <a:xfrm>
              <a:off x="8432377" y="853902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BE1643FF-FD65-4225-9659-415B8B299571}"/>
                </a:ext>
              </a:extLst>
            </p:cNvPr>
            <p:cNvSpPr/>
            <p:nvPr/>
          </p:nvSpPr>
          <p:spPr>
            <a:xfrm>
              <a:off x="8224017" y="853902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410A8D34-EF27-4D6B-9FB2-C0D9F3227542}"/>
                </a:ext>
              </a:extLst>
            </p:cNvPr>
            <p:cNvSpPr/>
            <p:nvPr/>
          </p:nvSpPr>
          <p:spPr>
            <a:xfrm>
              <a:off x="9282097" y="735428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325F6819-5CB8-4864-BD04-14E324EE1A56}"/>
                </a:ext>
              </a:extLst>
            </p:cNvPr>
            <p:cNvSpPr/>
            <p:nvPr/>
          </p:nvSpPr>
          <p:spPr>
            <a:xfrm>
              <a:off x="9618598" y="735428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DEA5355F-0BFA-4344-9F6A-8DD9110C56D4}"/>
                </a:ext>
              </a:extLst>
            </p:cNvPr>
            <p:cNvSpPr/>
            <p:nvPr/>
          </p:nvSpPr>
          <p:spPr>
            <a:xfrm>
              <a:off x="8836377" y="853902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CA4FA719-4CA5-44E3-A51E-1AFEFC9098DF}"/>
                </a:ext>
              </a:extLst>
            </p:cNvPr>
            <p:cNvSpPr/>
            <p:nvPr/>
          </p:nvSpPr>
          <p:spPr>
            <a:xfrm>
              <a:off x="7783418" y="616873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90888F63-4631-4159-B76C-8B0E6ED80CF3}"/>
                </a:ext>
              </a:extLst>
            </p:cNvPr>
            <p:cNvSpPr/>
            <p:nvPr/>
          </p:nvSpPr>
          <p:spPr>
            <a:xfrm>
              <a:off x="8574975" y="498317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013A7F31-1E36-4192-8490-1912F8BFE52A}"/>
                </a:ext>
              </a:extLst>
            </p:cNvPr>
            <p:cNvSpPr/>
            <p:nvPr/>
          </p:nvSpPr>
          <p:spPr>
            <a:xfrm>
              <a:off x="8823983" y="498317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4F841AEE-336D-449A-A06A-32C2DDB59779}"/>
                </a:ext>
              </a:extLst>
            </p:cNvPr>
            <p:cNvSpPr/>
            <p:nvPr/>
          </p:nvSpPr>
          <p:spPr>
            <a:xfrm>
              <a:off x="7398504" y="379761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A0B0C12D-406C-4049-A282-86ECAE597C3E}"/>
                </a:ext>
              </a:extLst>
            </p:cNvPr>
            <p:cNvSpPr/>
            <p:nvPr/>
          </p:nvSpPr>
          <p:spPr>
            <a:xfrm>
              <a:off x="6722446" y="498317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ihandform: Form 131">
              <a:extLst>
                <a:ext uri="{FF2B5EF4-FFF2-40B4-BE49-F238E27FC236}">
                  <a16:creationId xmlns:a16="http://schemas.microsoft.com/office/drawing/2014/main" id="{24117A8C-D08D-4AF7-BB1F-6BDF257B0B35}"/>
                </a:ext>
              </a:extLst>
            </p:cNvPr>
            <p:cNvSpPr/>
            <p:nvPr/>
          </p:nvSpPr>
          <p:spPr>
            <a:xfrm>
              <a:off x="5441917" y="3106051"/>
              <a:ext cx="1306800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-250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40664879"/>
      </p:ext>
    </p:extLst>
  </p:cSld>
  <p:clrMapOvr>
    <a:masterClrMapping/>
  </p:clrMapOvr>
  <p:transition spd="slow"/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1747D8E-9D09-4760-AC7D-E22D212FE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Europe highlighted</a:t>
            </a:r>
            <a:endParaRPr lang="en-US" dirty="0"/>
          </a:p>
        </p:txBody>
      </p:sp>
      <p:sp>
        <p:nvSpPr>
          <p:cNvPr id="299" name="Text Placeholder 29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05" name="Date Placeholder 30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06" name="Footer Placeholder 30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07" name="Slide Number Placeholder 30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7</a:t>
            </a:fld>
            <a:endParaRPr lang="en-US" dirty="0"/>
          </a:p>
        </p:txBody>
      </p:sp>
      <p:grpSp>
        <p:nvGrpSpPr>
          <p:cNvPr id="296" name="Gruppieren 295">
            <a:extLst>
              <a:ext uri="{FF2B5EF4-FFF2-40B4-BE49-F238E27FC236}">
                <a16:creationId xmlns:a16="http://schemas.microsoft.com/office/drawing/2014/main" id="{23FC11F9-B02A-494F-A7BC-B483A1C37896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566738" y="109537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48FB3DC-BAD5-43D6-8A88-B98F78D08566}"/>
                </a:ext>
              </a:extLst>
            </p:cNvPr>
            <p:cNvSpPr/>
            <p:nvPr/>
          </p:nvSpPr>
          <p:spPr>
            <a:xfrm>
              <a:off x="3335742" y="228010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652FA8ED-2859-4C12-93BE-CD1A10D965B7}"/>
                </a:ext>
              </a:extLst>
            </p:cNvPr>
            <p:cNvSpPr/>
            <p:nvPr/>
          </p:nvSpPr>
          <p:spPr>
            <a:xfrm>
              <a:off x="2778240" y="3547081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68833B1-D5FF-444C-8C72-59795678DD46}"/>
                </a:ext>
              </a:extLst>
            </p:cNvPr>
            <p:cNvSpPr/>
            <p:nvPr/>
          </p:nvSpPr>
          <p:spPr>
            <a:xfrm>
              <a:off x="2613500" y="3902666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22F85E8-A810-495A-97C8-9FFAEA76A46E}"/>
                </a:ext>
              </a:extLst>
            </p:cNvPr>
            <p:cNvSpPr/>
            <p:nvPr/>
          </p:nvSpPr>
          <p:spPr>
            <a:xfrm>
              <a:off x="2604330" y="4021221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6FE13281-9723-4674-8BDF-C58336276DD8}"/>
                </a:ext>
              </a:extLst>
            </p:cNvPr>
            <p:cNvSpPr/>
            <p:nvPr/>
          </p:nvSpPr>
          <p:spPr>
            <a:xfrm>
              <a:off x="2716028" y="4258333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0D6F2F2-0358-4CCF-9C58-6F0577D2264F}"/>
                </a:ext>
              </a:extLst>
            </p:cNvPr>
            <p:cNvSpPr/>
            <p:nvPr/>
          </p:nvSpPr>
          <p:spPr>
            <a:xfrm>
              <a:off x="2809799" y="4376806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C6A3B4B-4EA5-4003-B64C-FBD7118B37D2}"/>
                </a:ext>
              </a:extLst>
            </p:cNvPr>
            <p:cNvSpPr/>
            <p:nvPr/>
          </p:nvSpPr>
          <p:spPr>
            <a:xfrm>
              <a:off x="2933560" y="4613919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E4C2A71-2FA9-4C36-A5E2-1D476E3003D0}"/>
                </a:ext>
              </a:extLst>
            </p:cNvPr>
            <p:cNvSpPr/>
            <p:nvPr/>
          </p:nvSpPr>
          <p:spPr>
            <a:xfrm>
              <a:off x="2933560" y="4850948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B6CDD41C-DFA8-4788-9443-4EABFAFCD5B4}"/>
                </a:ext>
              </a:extLst>
            </p:cNvPr>
            <p:cNvSpPr/>
            <p:nvPr/>
          </p:nvSpPr>
          <p:spPr>
            <a:xfrm>
              <a:off x="2933560" y="5088060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A297DAE0-D1F8-469C-BF33-742F5900F8FB}"/>
                </a:ext>
              </a:extLst>
            </p:cNvPr>
            <p:cNvSpPr/>
            <p:nvPr/>
          </p:nvSpPr>
          <p:spPr>
            <a:xfrm>
              <a:off x="2933560" y="5443645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DF41EF4E-6EBE-4894-BE58-71AF72FB6696}"/>
                </a:ext>
              </a:extLst>
            </p:cNvPr>
            <p:cNvSpPr/>
            <p:nvPr/>
          </p:nvSpPr>
          <p:spPr>
            <a:xfrm>
              <a:off x="2933560" y="5325171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9C7CBEB7-C384-4F10-9A8E-5F89D668EE2C}"/>
                </a:ext>
              </a:extLst>
            </p:cNvPr>
            <p:cNvSpPr/>
            <p:nvPr/>
          </p:nvSpPr>
          <p:spPr>
            <a:xfrm>
              <a:off x="2933560" y="4732474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2729B3D-276F-42D8-8B63-152EBCFB7034}"/>
                </a:ext>
              </a:extLst>
            </p:cNvPr>
            <p:cNvSpPr/>
            <p:nvPr/>
          </p:nvSpPr>
          <p:spPr>
            <a:xfrm>
              <a:off x="2933560" y="4969504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A198A9E-EF83-4D00-AC7F-E1B18A5B7AD0}"/>
                </a:ext>
              </a:extLst>
            </p:cNvPr>
            <p:cNvSpPr/>
            <p:nvPr/>
          </p:nvSpPr>
          <p:spPr>
            <a:xfrm>
              <a:off x="2933560" y="5206615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6E1AE2B-D007-4DF4-B394-E09ADADF8429}"/>
                </a:ext>
              </a:extLst>
            </p:cNvPr>
            <p:cNvSpPr/>
            <p:nvPr/>
          </p:nvSpPr>
          <p:spPr>
            <a:xfrm>
              <a:off x="2933560" y="4495362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40DCD7A-D650-427E-B16C-74B947BE6BA2}"/>
                </a:ext>
              </a:extLst>
            </p:cNvPr>
            <p:cNvSpPr/>
            <p:nvPr/>
          </p:nvSpPr>
          <p:spPr>
            <a:xfrm>
              <a:off x="2667945" y="4139777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2DDCEF49-1ABC-4923-B727-60D1F6C9EC31}"/>
                </a:ext>
              </a:extLst>
            </p:cNvPr>
            <p:cNvSpPr/>
            <p:nvPr/>
          </p:nvSpPr>
          <p:spPr>
            <a:xfrm>
              <a:off x="2707932" y="3784192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005B8FA-6A89-4C3F-8851-A5F4E5A11D55}"/>
                </a:ext>
              </a:extLst>
            </p:cNvPr>
            <p:cNvSpPr/>
            <p:nvPr/>
          </p:nvSpPr>
          <p:spPr>
            <a:xfrm>
              <a:off x="2707932" y="3665636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91A7B80F-0B91-41E6-83CA-5320BC1A34FE}"/>
                </a:ext>
              </a:extLst>
            </p:cNvPr>
            <p:cNvSpPr/>
            <p:nvPr/>
          </p:nvSpPr>
          <p:spPr>
            <a:xfrm>
              <a:off x="3105239" y="5799313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E1331F98-C21E-4DCC-AD51-267691DE8E4B}"/>
                </a:ext>
              </a:extLst>
            </p:cNvPr>
            <p:cNvSpPr/>
            <p:nvPr/>
          </p:nvSpPr>
          <p:spPr>
            <a:xfrm>
              <a:off x="3000811" y="5680757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4EE6C238-5600-4E5A-A5DB-89A97F6362FD}"/>
                </a:ext>
              </a:extLst>
            </p:cNvPr>
            <p:cNvSpPr/>
            <p:nvPr/>
          </p:nvSpPr>
          <p:spPr>
            <a:xfrm>
              <a:off x="2933560" y="5562200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CABC84-5ADE-4595-BF44-AE3D125E07FA}"/>
                </a:ext>
              </a:extLst>
            </p:cNvPr>
            <p:cNvSpPr/>
            <p:nvPr/>
          </p:nvSpPr>
          <p:spPr>
            <a:xfrm>
              <a:off x="9680425" y="5680757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047A582D-D569-4AF0-B1E2-DEC2A8AB232A}"/>
                </a:ext>
              </a:extLst>
            </p:cNvPr>
            <p:cNvSpPr/>
            <p:nvPr/>
          </p:nvSpPr>
          <p:spPr>
            <a:xfrm>
              <a:off x="9794437" y="5562200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0890E68E-4497-4DD2-8081-AA2D8D4F6C70}"/>
                </a:ext>
              </a:extLst>
            </p:cNvPr>
            <p:cNvSpPr/>
            <p:nvPr/>
          </p:nvSpPr>
          <p:spPr>
            <a:xfrm>
              <a:off x="9901179" y="5443645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63B690A-6F9A-4FED-A6FB-093A3689EE75}"/>
                </a:ext>
              </a:extLst>
            </p:cNvPr>
            <p:cNvSpPr/>
            <p:nvPr/>
          </p:nvSpPr>
          <p:spPr>
            <a:xfrm>
              <a:off x="9982391" y="5443645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C98D9975-6B09-4660-B5FA-0F7BEBD0FF88}"/>
                </a:ext>
              </a:extLst>
            </p:cNvPr>
            <p:cNvSpPr/>
            <p:nvPr/>
          </p:nvSpPr>
          <p:spPr>
            <a:xfrm>
              <a:off x="9114909" y="5443645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AFFEDE35-33DB-49E3-B95F-041FF44D1CED}"/>
                </a:ext>
              </a:extLst>
            </p:cNvPr>
            <p:cNvSpPr/>
            <p:nvPr/>
          </p:nvSpPr>
          <p:spPr>
            <a:xfrm>
              <a:off x="9019569" y="5206615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2B7451F-0608-4783-B7F0-B55C244EEE82}"/>
                </a:ext>
              </a:extLst>
            </p:cNvPr>
            <p:cNvSpPr/>
            <p:nvPr/>
          </p:nvSpPr>
          <p:spPr>
            <a:xfrm>
              <a:off x="8989827" y="5088060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4896DEA-29F1-4019-A8B1-57521DC84549}"/>
                </a:ext>
              </a:extLst>
            </p:cNvPr>
            <p:cNvSpPr/>
            <p:nvPr/>
          </p:nvSpPr>
          <p:spPr>
            <a:xfrm>
              <a:off x="8896634" y="4969504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339D4854-E354-43F7-BCB2-D75F9C1C54E0}"/>
                </a:ext>
              </a:extLst>
            </p:cNvPr>
            <p:cNvSpPr/>
            <p:nvPr/>
          </p:nvSpPr>
          <p:spPr>
            <a:xfrm>
              <a:off x="8330622" y="4969504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55DDC3D-1C6A-41B2-960B-157676D02292}"/>
                </a:ext>
              </a:extLst>
            </p:cNvPr>
            <p:cNvSpPr/>
            <p:nvPr/>
          </p:nvSpPr>
          <p:spPr>
            <a:xfrm>
              <a:off x="8330622" y="4732474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52409C0-6064-4469-81C1-A5D587E52B3C}"/>
                </a:ext>
              </a:extLst>
            </p:cNvPr>
            <p:cNvSpPr/>
            <p:nvPr/>
          </p:nvSpPr>
          <p:spPr>
            <a:xfrm>
              <a:off x="8354829" y="4613919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7FE5DF11-6137-41DB-9B92-3C9CB5132B4E}"/>
                </a:ext>
              </a:extLst>
            </p:cNvPr>
            <p:cNvSpPr/>
            <p:nvPr/>
          </p:nvSpPr>
          <p:spPr>
            <a:xfrm>
              <a:off x="8589876" y="4495362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54350E4-C2F0-46A9-9D13-BFE491CAE22F}"/>
                </a:ext>
              </a:extLst>
            </p:cNvPr>
            <p:cNvSpPr/>
            <p:nvPr/>
          </p:nvSpPr>
          <p:spPr>
            <a:xfrm>
              <a:off x="8693313" y="4376806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8AADE2E-47D7-4802-B8C0-98E59BD01979}"/>
                </a:ext>
              </a:extLst>
            </p:cNvPr>
            <p:cNvSpPr/>
            <p:nvPr/>
          </p:nvSpPr>
          <p:spPr>
            <a:xfrm>
              <a:off x="9208019" y="4376806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DDF59DB-4183-4D73-A339-2C90802519F6}"/>
                </a:ext>
              </a:extLst>
            </p:cNvPr>
            <p:cNvSpPr/>
            <p:nvPr/>
          </p:nvSpPr>
          <p:spPr>
            <a:xfrm>
              <a:off x="9208019" y="4258333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95F2F30-B30F-4602-B3F3-0913CEC61788}"/>
                </a:ext>
              </a:extLst>
            </p:cNvPr>
            <p:cNvSpPr/>
            <p:nvPr/>
          </p:nvSpPr>
          <p:spPr>
            <a:xfrm>
              <a:off x="8838720" y="4258333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4ADD06A-7A00-4E1A-AA17-215AB14D65E3}"/>
                </a:ext>
              </a:extLst>
            </p:cNvPr>
            <p:cNvSpPr/>
            <p:nvPr/>
          </p:nvSpPr>
          <p:spPr>
            <a:xfrm>
              <a:off x="8355160" y="4850948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D082FF9-DD4E-43A1-93DD-64B989D69B88}"/>
                </a:ext>
              </a:extLst>
            </p:cNvPr>
            <p:cNvSpPr/>
            <p:nvPr/>
          </p:nvSpPr>
          <p:spPr>
            <a:xfrm>
              <a:off x="10018082" y="5206615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65773B72-1C3E-4474-9A50-3648A65E8901}"/>
                </a:ext>
              </a:extLst>
            </p:cNvPr>
            <p:cNvSpPr/>
            <p:nvPr/>
          </p:nvSpPr>
          <p:spPr>
            <a:xfrm>
              <a:off x="10001228" y="5325171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AAD529E-1AD9-4936-B553-8A6FDE77BCBB}"/>
                </a:ext>
              </a:extLst>
            </p:cNvPr>
            <p:cNvSpPr/>
            <p:nvPr/>
          </p:nvSpPr>
          <p:spPr>
            <a:xfrm>
              <a:off x="5487842" y="4850948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FBEA308-4C09-439C-8088-49727EA59A94}"/>
                </a:ext>
              </a:extLst>
            </p:cNvPr>
            <p:cNvSpPr/>
            <p:nvPr/>
          </p:nvSpPr>
          <p:spPr>
            <a:xfrm>
              <a:off x="5440997" y="4732474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2F7522C-37B0-4C3C-B144-8B2FF08F758B}"/>
                </a:ext>
              </a:extLst>
            </p:cNvPr>
            <p:cNvSpPr/>
            <p:nvPr/>
          </p:nvSpPr>
          <p:spPr>
            <a:xfrm>
              <a:off x="5412659" y="4613919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6AD86AF9-DFA7-4A20-BCB4-116303CF39DD}"/>
                </a:ext>
              </a:extLst>
            </p:cNvPr>
            <p:cNvSpPr/>
            <p:nvPr/>
          </p:nvSpPr>
          <p:spPr>
            <a:xfrm>
              <a:off x="5374986" y="4495362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79260BE-81BB-4F24-9A48-28E75C707984}"/>
                </a:ext>
              </a:extLst>
            </p:cNvPr>
            <p:cNvSpPr/>
            <p:nvPr/>
          </p:nvSpPr>
          <p:spPr>
            <a:xfrm>
              <a:off x="6297987" y="4495362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33141F43-0640-4333-9F86-0DB3D6736534}"/>
                </a:ext>
              </a:extLst>
            </p:cNvPr>
            <p:cNvSpPr/>
            <p:nvPr/>
          </p:nvSpPr>
          <p:spPr>
            <a:xfrm>
              <a:off x="6297987" y="4376806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926E8CC5-38D4-4975-9823-F09A61C1F0B0}"/>
                </a:ext>
              </a:extLst>
            </p:cNvPr>
            <p:cNvSpPr/>
            <p:nvPr/>
          </p:nvSpPr>
          <p:spPr>
            <a:xfrm>
              <a:off x="6432158" y="4258333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D2F85201-A460-435E-944D-98844C0C0B9D}"/>
                </a:ext>
              </a:extLst>
            </p:cNvPr>
            <p:cNvSpPr/>
            <p:nvPr/>
          </p:nvSpPr>
          <p:spPr>
            <a:xfrm>
              <a:off x="6277167" y="4613919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0ADB4D00-B035-4902-8C2B-F7F044A86933}"/>
                </a:ext>
              </a:extLst>
            </p:cNvPr>
            <p:cNvSpPr/>
            <p:nvPr/>
          </p:nvSpPr>
          <p:spPr>
            <a:xfrm>
              <a:off x="5343096" y="4376806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B7E805C-E725-4FBD-B499-5FBCA22B7EB6}"/>
                </a:ext>
              </a:extLst>
            </p:cNvPr>
            <p:cNvSpPr/>
            <p:nvPr/>
          </p:nvSpPr>
          <p:spPr>
            <a:xfrm>
              <a:off x="5382339" y="4139777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10C1E387-4583-4D77-A992-5E3E819B9A53}"/>
                </a:ext>
              </a:extLst>
            </p:cNvPr>
            <p:cNvSpPr/>
            <p:nvPr/>
          </p:nvSpPr>
          <p:spPr>
            <a:xfrm>
              <a:off x="5339709" y="4021221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5D9E2F87-3296-4744-9827-F7DEEB915C87}"/>
                </a:ext>
              </a:extLst>
            </p:cNvPr>
            <p:cNvSpPr/>
            <p:nvPr/>
          </p:nvSpPr>
          <p:spPr>
            <a:xfrm>
              <a:off x="5261552" y="3902666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6910BEEE-EEB5-4A9C-A474-02B32C9D8639}"/>
                </a:ext>
              </a:extLst>
            </p:cNvPr>
            <p:cNvSpPr/>
            <p:nvPr/>
          </p:nvSpPr>
          <p:spPr>
            <a:xfrm>
              <a:off x="5294021" y="3784192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D760895-026F-436A-BABA-B3B780F22683}"/>
                </a:ext>
              </a:extLst>
            </p:cNvPr>
            <p:cNvSpPr/>
            <p:nvPr/>
          </p:nvSpPr>
          <p:spPr>
            <a:xfrm>
              <a:off x="4621351" y="3665636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4A1A5932-F77C-454E-A503-5F404F0A46D6}"/>
                </a:ext>
              </a:extLst>
            </p:cNvPr>
            <p:cNvSpPr/>
            <p:nvPr/>
          </p:nvSpPr>
          <p:spPr>
            <a:xfrm>
              <a:off x="4517335" y="3547081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B8CEDFF0-6E16-4EDC-A8A0-1D4DA89A84EA}"/>
                </a:ext>
              </a:extLst>
            </p:cNvPr>
            <p:cNvSpPr/>
            <p:nvPr/>
          </p:nvSpPr>
          <p:spPr>
            <a:xfrm>
              <a:off x="4492302" y="3428525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4BD2F002-BEE3-459F-9954-46B191820250}"/>
                </a:ext>
              </a:extLst>
            </p:cNvPr>
            <p:cNvSpPr/>
            <p:nvPr/>
          </p:nvSpPr>
          <p:spPr>
            <a:xfrm>
              <a:off x="4492302" y="3191495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843F8A75-168F-4FFA-818F-4F40170B8755}"/>
                </a:ext>
              </a:extLst>
            </p:cNvPr>
            <p:cNvSpPr/>
            <p:nvPr/>
          </p:nvSpPr>
          <p:spPr>
            <a:xfrm>
              <a:off x="4591195" y="3072939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F7AEF1DB-D298-4104-9C9F-D1FEB58E67F8}"/>
                </a:ext>
              </a:extLst>
            </p:cNvPr>
            <p:cNvSpPr/>
            <p:nvPr/>
          </p:nvSpPr>
          <p:spPr>
            <a:xfrm>
              <a:off x="4703637" y="2954383"/>
              <a:ext cx="1710096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50D5F611-60B4-4858-A96F-4C0A225B5725}"/>
                </a:ext>
              </a:extLst>
            </p:cNvPr>
            <p:cNvSpPr/>
            <p:nvPr/>
          </p:nvSpPr>
          <p:spPr>
            <a:xfrm>
              <a:off x="4809635" y="2835827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0CE2EE05-9817-49D9-8BCA-A21C67BD968D}"/>
                </a:ext>
              </a:extLst>
            </p:cNvPr>
            <p:cNvSpPr/>
            <p:nvPr/>
          </p:nvSpPr>
          <p:spPr>
            <a:xfrm>
              <a:off x="5043773" y="2717354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2DB1B642-2739-4D6E-BD6E-FD82C1FE5AD2}"/>
                </a:ext>
              </a:extLst>
            </p:cNvPr>
            <p:cNvSpPr/>
            <p:nvPr/>
          </p:nvSpPr>
          <p:spPr>
            <a:xfrm>
              <a:off x="4750895" y="2717354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4BF3C473-8832-4836-B3B9-DAF23AFEC4BB}"/>
                </a:ext>
              </a:extLst>
            </p:cNvPr>
            <p:cNvSpPr/>
            <p:nvPr/>
          </p:nvSpPr>
          <p:spPr>
            <a:xfrm>
              <a:off x="5351440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F9A347EC-E1BA-4E68-965E-2FDAB03CD02C}"/>
                </a:ext>
              </a:extLst>
            </p:cNvPr>
            <p:cNvSpPr/>
            <p:nvPr/>
          </p:nvSpPr>
          <p:spPr>
            <a:xfrm>
              <a:off x="5581695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EE7392DB-9F7C-4F46-B313-2304F4F61E2B}"/>
                </a:ext>
              </a:extLst>
            </p:cNvPr>
            <p:cNvSpPr/>
            <p:nvPr/>
          </p:nvSpPr>
          <p:spPr>
            <a:xfrm>
              <a:off x="4527167" y="3309968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8443F990-6B55-421C-B79A-444BC05831F2}"/>
                </a:ext>
              </a:extLst>
            </p:cNvPr>
            <p:cNvSpPr/>
            <p:nvPr/>
          </p:nvSpPr>
          <p:spPr>
            <a:xfrm>
              <a:off x="5382339" y="4258333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05C8F5B6-CE29-4239-A817-DFB530825F40}"/>
                </a:ext>
              </a:extLst>
            </p:cNvPr>
            <p:cNvSpPr/>
            <p:nvPr/>
          </p:nvSpPr>
          <p:spPr>
            <a:xfrm>
              <a:off x="2273778" y="3428525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72EC3632-B338-4C98-826D-27268EB77135}"/>
                </a:ext>
              </a:extLst>
            </p:cNvPr>
            <p:cNvSpPr/>
            <p:nvPr/>
          </p:nvSpPr>
          <p:spPr>
            <a:xfrm>
              <a:off x="2319134" y="3309968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559302CD-196C-4ECA-905F-CA7A0C35F829}"/>
                </a:ext>
              </a:extLst>
            </p:cNvPr>
            <p:cNvSpPr/>
            <p:nvPr/>
          </p:nvSpPr>
          <p:spPr>
            <a:xfrm>
              <a:off x="2861849" y="3309968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F32ABE57-7F7C-4782-9035-900B63B7F0CE}"/>
                </a:ext>
              </a:extLst>
            </p:cNvPr>
            <p:cNvSpPr/>
            <p:nvPr/>
          </p:nvSpPr>
          <p:spPr>
            <a:xfrm>
              <a:off x="3033527" y="3309968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91C34C7F-7D81-45E8-8E9F-942D1B699E5A}"/>
                </a:ext>
              </a:extLst>
            </p:cNvPr>
            <p:cNvSpPr/>
            <p:nvPr/>
          </p:nvSpPr>
          <p:spPr>
            <a:xfrm>
              <a:off x="1957766" y="3309968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9A9463F-7531-4EF5-9A02-B91A6FB93650}"/>
                </a:ext>
              </a:extLst>
            </p:cNvPr>
            <p:cNvSpPr/>
            <p:nvPr/>
          </p:nvSpPr>
          <p:spPr>
            <a:xfrm>
              <a:off x="1902496" y="3191495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96794DE-D972-4376-BC8D-960D04884B36}"/>
                </a:ext>
              </a:extLst>
            </p:cNvPr>
            <p:cNvSpPr/>
            <p:nvPr/>
          </p:nvSpPr>
          <p:spPr>
            <a:xfrm>
              <a:off x="2533279" y="3191495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707840B4-8D8C-46D4-80DF-5BD7D8DACEFD}"/>
                </a:ext>
              </a:extLst>
            </p:cNvPr>
            <p:cNvSpPr/>
            <p:nvPr/>
          </p:nvSpPr>
          <p:spPr>
            <a:xfrm>
              <a:off x="2609039" y="3072939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B8256DB-EABF-4DE3-94E6-8C18254DC04C}"/>
                </a:ext>
              </a:extLst>
            </p:cNvPr>
            <p:cNvSpPr/>
            <p:nvPr/>
          </p:nvSpPr>
          <p:spPr>
            <a:xfrm>
              <a:off x="1831610" y="3072939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C8C51929-9BA9-4A9B-BE5B-22FF46B941AB}"/>
                </a:ext>
              </a:extLst>
            </p:cNvPr>
            <p:cNvSpPr/>
            <p:nvPr/>
          </p:nvSpPr>
          <p:spPr>
            <a:xfrm>
              <a:off x="1744201" y="2954383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CD5B5455-D6A8-4C55-8080-9F05CD9D0E1B}"/>
                </a:ext>
              </a:extLst>
            </p:cNvPr>
            <p:cNvSpPr/>
            <p:nvPr/>
          </p:nvSpPr>
          <p:spPr>
            <a:xfrm>
              <a:off x="1617961" y="2835827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9117BC24-0F72-440D-ACD2-F7E7FCCF64C0}"/>
                </a:ext>
              </a:extLst>
            </p:cNvPr>
            <p:cNvSpPr/>
            <p:nvPr/>
          </p:nvSpPr>
          <p:spPr>
            <a:xfrm>
              <a:off x="1510724" y="2717354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127B5DCC-330F-4ADD-BA3E-BCEB28F06EFA}"/>
                </a:ext>
              </a:extLst>
            </p:cNvPr>
            <p:cNvSpPr/>
            <p:nvPr/>
          </p:nvSpPr>
          <p:spPr>
            <a:xfrm>
              <a:off x="1479495" y="2598798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42C7C4B-C951-4AF1-942E-7D0B1AE1709D}"/>
                </a:ext>
              </a:extLst>
            </p:cNvPr>
            <p:cNvSpPr/>
            <p:nvPr/>
          </p:nvSpPr>
          <p:spPr>
            <a:xfrm>
              <a:off x="1479495" y="2480242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7BE405C1-0DA9-4F77-90CE-0F290DC4E7B9}"/>
                </a:ext>
              </a:extLst>
            </p:cNvPr>
            <p:cNvSpPr/>
            <p:nvPr/>
          </p:nvSpPr>
          <p:spPr>
            <a:xfrm>
              <a:off x="1479495" y="2361687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01706C85-2AB7-428E-A0C2-58EFCFCC311B}"/>
                </a:ext>
              </a:extLst>
            </p:cNvPr>
            <p:cNvSpPr/>
            <p:nvPr/>
          </p:nvSpPr>
          <p:spPr>
            <a:xfrm>
              <a:off x="1479495" y="1887545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1409F175-DA60-4993-8B35-4E7E2F409200}"/>
                </a:ext>
              </a:extLst>
            </p:cNvPr>
            <p:cNvSpPr/>
            <p:nvPr/>
          </p:nvSpPr>
          <p:spPr>
            <a:xfrm>
              <a:off x="1479495" y="1768989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E55153B8-C891-4B68-A370-474F7AB74128}"/>
                </a:ext>
              </a:extLst>
            </p:cNvPr>
            <p:cNvSpPr/>
            <p:nvPr/>
          </p:nvSpPr>
          <p:spPr>
            <a:xfrm>
              <a:off x="1450578" y="1650516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74FD085A-8A71-4DEC-B3C2-8F2106D825C0}"/>
                </a:ext>
              </a:extLst>
            </p:cNvPr>
            <p:cNvSpPr/>
            <p:nvPr/>
          </p:nvSpPr>
          <p:spPr>
            <a:xfrm>
              <a:off x="1371348" y="1531960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7F3EC424-8333-4B34-821F-76511A665340}"/>
                </a:ext>
              </a:extLst>
            </p:cNvPr>
            <p:cNvSpPr/>
            <p:nvPr/>
          </p:nvSpPr>
          <p:spPr>
            <a:xfrm>
              <a:off x="752048" y="1531960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7B91B04E-25FD-4F84-85BC-EF692FD48108}"/>
                </a:ext>
              </a:extLst>
            </p:cNvPr>
            <p:cNvSpPr/>
            <p:nvPr/>
          </p:nvSpPr>
          <p:spPr>
            <a:xfrm>
              <a:off x="566738" y="1650516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8C57A5A0-75EE-442D-812D-44269684603C}"/>
                </a:ext>
              </a:extLst>
            </p:cNvPr>
            <p:cNvSpPr/>
            <p:nvPr/>
          </p:nvSpPr>
          <p:spPr>
            <a:xfrm>
              <a:off x="785343" y="1413404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106400D0-3E35-4D00-9A86-675F529CDB3D}"/>
                </a:ext>
              </a:extLst>
            </p:cNvPr>
            <p:cNvSpPr/>
            <p:nvPr/>
          </p:nvSpPr>
          <p:spPr>
            <a:xfrm>
              <a:off x="1261385" y="1413404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89C24CC6-D66C-4D5C-BE76-679A3527E10C}"/>
                </a:ext>
              </a:extLst>
            </p:cNvPr>
            <p:cNvSpPr/>
            <p:nvPr/>
          </p:nvSpPr>
          <p:spPr>
            <a:xfrm>
              <a:off x="745852" y="1294848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087BDF6D-DB11-4443-94ED-965E081FA912}"/>
                </a:ext>
              </a:extLst>
            </p:cNvPr>
            <p:cNvSpPr/>
            <p:nvPr/>
          </p:nvSpPr>
          <p:spPr>
            <a:xfrm>
              <a:off x="745852" y="1176293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5659C6AB-0328-4492-9875-F26A2CD39482}"/>
                </a:ext>
              </a:extLst>
            </p:cNvPr>
            <p:cNvSpPr/>
            <p:nvPr/>
          </p:nvSpPr>
          <p:spPr>
            <a:xfrm>
              <a:off x="983625" y="1057819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949AB19A-70A2-44E0-9B04-84A43DEA178D}"/>
                </a:ext>
              </a:extLst>
            </p:cNvPr>
            <p:cNvSpPr/>
            <p:nvPr/>
          </p:nvSpPr>
          <p:spPr>
            <a:xfrm>
              <a:off x="854824" y="939263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12211380-FBEB-42E2-9BF0-121A06D0B994}"/>
                </a:ext>
              </a:extLst>
            </p:cNvPr>
            <p:cNvSpPr/>
            <p:nvPr/>
          </p:nvSpPr>
          <p:spPr>
            <a:xfrm>
              <a:off x="2270803" y="939263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D8128A8A-CAB3-46C3-91CF-4CD34D337999}"/>
                </a:ext>
              </a:extLst>
            </p:cNvPr>
            <p:cNvSpPr/>
            <p:nvPr/>
          </p:nvSpPr>
          <p:spPr>
            <a:xfrm>
              <a:off x="2739905" y="939263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829576D0-5D6D-4970-9643-CDB43207697A}"/>
                </a:ext>
              </a:extLst>
            </p:cNvPr>
            <p:cNvSpPr/>
            <p:nvPr/>
          </p:nvSpPr>
          <p:spPr>
            <a:xfrm>
              <a:off x="2764194" y="820707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2A1C6E78-6DF3-4602-9572-09AEDF0891DD}"/>
                </a:ext>
              </a:extLst>
            </p:cNvPr>
            <p:cNvSpPr/>
            <p:nvPr/>
          </p:nvSpPr>
          <p:spPr>
            <a:xfrm>
              <a:off x="3054016" y="702151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048C32A2-E68E-43F8-AF97-1D26EC18B08A}"/>
                </a:ext>
              </a:extLst>
            </p:cNvPr>
            <p:cNvSpPr/>
            <p:nvPr/>
          </p:nvSpPr>
          <p:spPr>
            <a:xfrm>
              <a:off x="2495358" y="583677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C1A186B1-ADC9-4770-8DED-AE12B430E55C}"/>
                </a:ext>
              </a:extLst>
            </p:cNvPr>
            <p:cNvSpPr/>
            <p:nvPr/>
          </p:nvSpPr>
          <p:spPr>
            <a:xfrm>
              <a:off x="2832850" y="583677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F968D5D3-B1E3-40B2-9850-03865040BE01}"/>
                </a:ext>
              </a:extLst>
            </p:cNvPr>
            <p:cNvSpPr/>
            <p:nvPr/>
          </p:nvSpPr>
          <p:spPr>
            <a:xfrm>
              <a:off x="3026918" y="583677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259EBC5E-B84C-41A9-90F7-784BC18AC43C}"/>
                </a:ext>
              </a:extLst>
            </p:cNvPr>
            <p:cNvSpPr/>
            <p:nvPr/>
          </p:nvSpPr>
          <p:spPr>
            <a:xfrm>
              <a:off x="2436369" y="465122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B5B603C5-2C7C-4D4D-982C-79B6AF829C1D}"/>
                </a:ext>
              </a:extLst>
            </p:cNvPr>
            <p:cNvSpPr/>
            <p:nvPr/>
          </p:nvSpPr>
          <p:spPr>
            <a:xfrm>
              <a:off x="2763533" y="346566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57695F27-7763-4B77-9BFA-6689567B2459}"/>
                </a:ext>
              </a:extLst>
            </p:cNvPr>
            <p:cNvSpPr/>
            <p:nvPr/>
          </p:nvSpPr>
          <p:spPr>
            <a:xfrm>
              <a:off x="2946201" y="346566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12D6F4DB-EAC3-4434-B4AD-ABB6991BB763}"/>
                </a:ext>
              </a:extLst>
            </p:cNvPr>
            <p:cNvSpPr/>
            <p:nvPr/>
          </p:nvSpPr>
          <p:spPr>
            <a:xfrm>
              <a:off x="3167946" y="346566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112D1F7F-2F67-4D87-8493-6516E15DC4F2}"/>
                </a:ext>
              </a:extLst>
            </p:cNvPr>
            <p:cNvSpPr/>
            <p:nvPr/>
          </p:nvSpPr>
          <p:spPr>
            <a:xfrm>
              <a:off x="3252215" y="228010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4AC68FE6-640D-416F-B399-1C926BA8243E}"/>
                </a:ext>
              </a:extLst>
            </p:cNvPr>
            <p:cNvSpPr/>
            <p:nvPr/>
          </p:nvSpPr>
          <p:spPr>
            <a:xfrm>
              <a:off x="3374406" y="228010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7CAF97A2-592B-4539-AD09-ED2AEB9EBFD3}"/>
                </a:ext>
              </a:extLst>
            </p:cNvPr>
            <p:cNvSpPr/>
            <p:nvPr/>
          </p:nvSpPr>
          <p:spPr>
            <a:xfrm>
              <a:off x="3581281" y="109537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DFDE199C-EBC4-472B-B5F0-1B2BC97B195A}"/>
                </a:ext>
              </a:extLst>
            </p:cNvPr>
            <p:cNvSpPr/>
            <p:nvPr/>
          </p:nvSpPr>
          <p:spPr>
            <a:xfrm>
              <a:off x="2946201" y="465122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9A0159F3-AB91-4633-970F-53233838C1FA}"/>
                </a:ext>
              </a:extLst>
            </p:cNvPr>
            <p:cNvSpPr/>
            <p:nvPr/>
          </p:nvSpPr>
          <p:spPr>
            <a:xfrm>
              <a:off x="3167946" y="465122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367D1337-28C7-4B37-9E22-9ACA000431A9}"/>
                </a:ext>
              </a:extLst>
            </p:cNvPr>
            <p:cNvSpPr/>
            <p:nvPr/>
          </p:nvSpPr>
          <p:spPr>
            <a:xfrm>
              <a:off x="3201984" y="820707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5F098737-FEF2-4244-92A1-038FF37537EA}"/>
                </a:ext>
              </a:extLst>
            </p:cNvPr>
            <p:cNvSpPr/>
            <p:nvPr/>
          </p:nvSpPr>
          <p:spPr>
            <a:xfrm>
              <a:off x="2739905" y="1057819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9B883DCA-EEC0-4C2B-9898-B63F34555283}"/>
                </a:ext>
              </a:extLst>
            </p:cNvPr>
            <p:cNvSpPr/>
            <p:nvPr/>
          </p:nvSpPr>
          <p:spPr>
            <a:xfrm>
              <a:off x="2947275" y="1057819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9714764D-B7B5-4D98-AC75-B52897C25E6F}"/>
                </a:ext>
              </a:extLst>
            </p:cNvPr>
            <p:cNvSpPr/>
            <p:nvPr/>
          </p:nvSpPr>
          <p:spPr>
            <a:xfrm>
              <a:off x="2982387" y="939263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EB483CD2-E50C-48BB-AA5E-D14D201B4863}"/>
                </a:ext>
              </a:extLst>
            </p:cNvPr>
            <p:cNvSpPr/>
            <p:nvPr/>
          </p:nvSpPr>
          <p:spPr>
            <a:xfrm>
              <a:off x="2739905" y="1176293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F4E6809-FE0E-4DBB-9416-D05C771989CC}"/>
                </a:ext>
              </a:extLst>
            </p:cNvPr>
            <p:cNvSpPr/>
            <p:nvPr/>
          </p:nvSpPr>
          <p:spPr>
            <a:xfrm>
              <a:off x="2991723" y="1176293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FF95C675-78F1-43FB-A886-33685BCD3ADE}"/>
                </a:ext>
              </a:extLst>
            </p:cNvPr>
            <p:cNvSpPr/>
            <p:nvPr/>
          </p:nvSpPr>
          <p:spPr>
            <a:xfrm>
              <a:off x="3200993" y="1176293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F7672192-E4C7-44DD-A23C-0142E6575F7C}"/>
                </a:ext>
              </a:extLst>
            </p:cNvPr>
            <p:cNvSpPr/>
            <p:nvPr/>
          </p:nvSpPr>
          <p:spPr>
            <a:xfrm>
              <a:off x="3262212" y="1294848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4E231F82-5393-42CC-8187-FCC242D8B1A6}"/>
                </a:ext>
              </a:extLst>
            </p:cNvPr>
            <p:cNvSpPr/>
            <p:nvPr/>
          </p:nvSpPr>
          <p:spPr>
            <a:xfrm>
              <a:off x="3190005" y="1531960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56484746-6D7B-4576-A6CA-61254828923B}"/>
                </a:ext>
              </a:extLst>
            </p:cNvPr>
            <p:cNvSpPr/>
            <p:nvPr/>
          </p:nvSpPr>
          <p:spPr>
            <a:xfrm>
              <a:off x="3190831" y="1413404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8F86C0AA-3E10-400A-A9E6-830352709AF1}"/>
                </a:ext>
              </a:extLst>
            </p:cNvPr>
            <p:cNvSpPr/>
            <p:nvPr/>
          </p:nvSpPr>
          <p:spPr>
            <a:xfrm>
              <a:off x="2270803" y="820707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92F9C3F1-5FE0-4A7B-84D8-2FB37E45DE28}"/>
                </a:ext>
              </a:extLst>
            </p:cNvPr>
            <p:cNvSpPr/>
            <p:nvPr/>
          </p:nvSpPr>
          <p:spPr>
            <a:xfrm>
              <a:off x="2207601" y="702151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20157A19-1A37-4996-895D-0E6D0D01A33B}"/>
                </a:ext>
              </a:extLst>
            </p:cNvPr>
            <p:cNvSpPr/>
            <p:nvPr/>
          </p:nvSpPr>
          <p:spPr>
            <a:xfrm>
              <a:off x="1043275" y="820707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737E5380-5F3D-4A96-8172-56740D6F20E1}"/>
                </a:ext>
              </a:extLst>
            </p:cNvPr>
            <p:cNvSpPr/>
            <p:nvPr/>
          </p:nvSpPr>
          <p:spPr>
            <a:xfrm>
              <a:off x="1043275" y="702151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FC790B04-0E84-434C-80A1-73F93590A79E}"/>
                </a:ext>
              </a:extLst>
            </p:cNvPr>
            <p:cNvSpPr/>
            <p:nvPr/>
          </p:nvSpPr>
          <p:spPr>
            <a:xfrm>
              <a:off x="1237922" y="583677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51927B0F-1665-4207-81F3-A012C0A14118}"/>
                </a:ext>
              </a:extLst>
            </p:cNvPr>
            <p:cNvSpPr/>
            <p:nvPr/>
          </p:nvSpPr>
          <p:spPr>
            <a:xfrm>
              <a:off x="2971316" y="1887545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5698F58B-FBEA-418E-95A1-1EA79140ECD3}"/>
                </a:ext>
              </a:extLst>
            </p:cNvPr>
            <p:cNvSpPr/>
            <p:nvPr/>
          </p:nvSpPr>
          <p:spPr>
            <a:xfrm>
              <a:off x="2971316" y="1768989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5EF44EBA-59C0-4071-ADF7-73AFFE67C6D6}"/>
                </a:ext>
              </a:extLst>
            </p:cNvPr>
            <p:cNvSpPr/>
            <p:nvPr/>
          </p:nvSpPr>
          <p:spPr>
            <a:xfrm>
              <a:off x="3018656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1980FD63-792A-4909-A516-ADC7345FE766}"/>
                </a:ext>
              </a:extLst>
            </p:cNvPr>
            <p:cNvSpPr/>
            <p:nvPr/>
          </p:nvSpPr>
          <p:spPr>
            <a:xfrm>
              <a:off x="3743872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BD595207-2ED2-4001-BAE3-4309CD0D1194}"/>
                </a:ext>
              </a:extLst>
            </p:cNvPr>
            <p:cNvSpPr/>
            <p:nvPr/>
          </p:nvSpPr>
          <p:spPr>
            <a:xfrm>
              <a:off x="3718425" y="1531960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6004A612-095F-4E44-88A8-A042AF4A2C43}"/>
                </a:ext>
              </a:extLst>
            </p:cNvPr>
            <p:cNvSpPr/>
            <p:nvPr/>
          </p:nvSpPr>
          <p:spPr>
            <a:xfrm>
              <a:off x="4414146" y="1531960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80915A54-448D-42C5-9E5A-B8E01C6121CA}"/>
                </a:ext>
              </a:extLst>
            </p:cNvPr>
            <p:cNvSpPr/>
            <p:nvPr/>
          </p:nvSpPr>
          <p:spPr>
            <a:xfrm>
              <a:off x="3718425" y="1413404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ACEEDDBB-4C9E-4AFE-8CC4-468ABB58C66F}"/>
                </a:ext>
              </a:extLst>
            </p:cNvPr>
            <p:cNvSpPr/>
            <p:nvPr/>
          </p:nvSpPr>
          <p:spPr>
            <a:xfrm>
              <a:off x="3718425" y="1294848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CBE5344D-755F-447B-9384-090A093143CF}"/>
                </a:ext>
              </a:extLst>
            </p:cNvPr>
            <p:cNvSpPr/>
            <p:nvPr/>
          </p:nvSpPr>
          <p:spPr>
            <a:xfrm>
              <a:off x="3718425" y="1365155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0ADCC70D-63D5-42B2-8B93-291BE160F035}"/>
                </a:ext>
              </a:extLst>
            </p:cNvPr>
            <p:cNvSpPr/>
            <p:nvPr/>
          </p:nvSpPr>
          <p:spPr>
            <a:xfrm>
              <a:off x="3718425" y="1176293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4558336E-B5E1-4086-AA93-117F88F23136}"/>
                </a:ext>
              </a:extLst>
            </p:cNvPr>
            <p:cNvSpPr/>
            <p:nvPr/>
          </p:nvSpPr>
          <p:spPr>
            <a:xfrm>
              <a:off x="3752711" y="1057819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79AD4434-981A-4E63-B01D-1C145FCFCB96}"/>
                </a:ext>
              </a:extLst>
            </p:cNvPr>
            <p:cNvSpPr/>
            <p:nvPr/>
          </p:nvSpPr>
          <p:spPr>
            <a:xfrm>
              <a:off x="3540715" y="702151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29E32E3E-932C-4AA8-A4A6-40962D9B7E77}"/>
                </a:ext>
              </a:extLst>
            </p:cNvPr>
            <p:cNvSpPr/>
            <p:nvPr/>
          </p:nvSpPr>
          <p:spPr>
            <a:xfrm>
              <a:off x="5192897" y="702151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C5291E78-B71C-40E0-969A-A608DFAE01F9}"/>
                </a:ext>
              </a:extLst>
            </p:cNvPr>
            <p:cNvSpPr/>
            <p:nvPr/>
          </p:nvSpPr>
          <p:spPr>
            <a:xfrm>
              <a:off x="5333264" y="583677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F1C4BF19-D270-4A87-93E7-029723A83732}"/>
                </a:ext>
              </a:extLst>
            </p:cNvPr>
            <p:cNvSpPr/>
            <p:nvPr/>
          </p:nvSpPr>
          <p:spPr>
            <a:xfrm>
              <a:off x="5273862" y="820707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89467385-EC95-40DD-B00C-CC47CC6D795C}"/>
                </a:ext>
              </a:extLst>
            </p:cNvPr>
            <p:cNvSpPr/>
            <p:nvPr/>
          </p:nvSpPr>
          <p:spPr>
            <a:xfrm>
              <a:off x="3540715" y="583677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122C9429-5493-468C-87E6-336A518AC4F1}"/>
                </a:ext>
              </a:extLst>
            </p:cNvPr>
            <p:cNvSpPr/>
            <p:nvPr/>
          </p:nvSpPr>
          <p:spPr>
            <a:xfrm>
              <a:off x="3737509" y="465122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174799F6-9A7A-4E46-B504-64BC4D30E591}"/>
                </a:ext>
              </a:extLst>
            </p:cNvPr>
            <p:cNvSpPr/>
            <p:nvPr/>
          </p:nvSpPr>
          <p:spPr>
            <a:xfrm>
              <a:off x="3807156" y="346566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FD637D6C-AA59-4FA4-86B7-47325025D3AD}"/>
                </a:ext>
              </a:extLst>
            </p:cNvPr>
            <p:cNvSpPr/>
            <p:nvPr/>
          </p:nvSpPr>
          <p:spPr>
            <a:xfrm>
              <a:off x="4239576" y="228010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3E1FE288-AD36-428D-A7EC-A6C2D3A531DF}"/>
                </a:ext>
              </a:extLst>
            </p:cNvPr>
            <p:cNvSpPr/>
            <p:nvPr/>
          </p:nvSpPr>
          <p:spPr>
            <a:xfrm>
              <a:off x="3752711" y="820707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3A8DDA01-C1EB-4C8F-8881-CB9E9B72AD74}"/>
                </a:ext>
              </a:extLst>
            </p:cNvPr>
            <p:cNvSpPr/>
            <p:nvPr/>
          </p:nvSpPr>
          <p:spPr>
            <a:xfrm>
              <a:off x="3752711" y="939263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E6233FA8-E5D7-4685-8B7A-4F6E085FEBCE}"/>
                </a:ext>
              </a:extLst>
            </p:cNvPr>
            <p:cNvSpPr/>
            <p:nvPr/>
          </p:nvSpPr>
          <p:spPr>
            <a:xfrm>
              <a:off x="3834420" y="1768989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17D92506-1165-4DC2-BDB8-1390FD64C858}"/>
                </a:ext>
              </a:extLst>
            </p:cNvPr>
            <p:cNvSpPr/>
            <p:nvPr/>
          </p:nvSpPr>
          <p:spPr>
            <a:xfrm>
              <a:off x="3288980" y="1768989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3E7125AE-FE72-40F8-AD4C-B4D47F775669}"/>
                </a:ext>
              </a:extLst>
            </p:cNvPr>
            <p:cNvSpPr/>
            <p:nvPr/>
          </p:nvSpPr>
          <p:spPr>
            <a:xfrm>
              <a:off x="1544844" y="2243130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A58BFB76-67B7-4D81-AAEA-4FA813B8737A}"/>
                </a:ext>
              </a:extLst>
            </p:cNvPr>
            <p:cNvSpPr/>
            <p:nvPr/>
          </p:nvSpPr>
          <p:spPr>
            <a:xfrm>
              <a:off x="3386386" y="2243130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3CCC2256-CFED-43DF-A6F1-8057AB0D392B}"/>
                </a:ext>
              </a:extLst>
            </p:cNvPr>
            <p:cNvSpPr/>
            <p:nvPr/>
          </p:nvSpPr>
          <p:spPr>
            <a:xfrm>
              <a:off x="1544844" y="2124657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0AC528C6-EDE9-41D6-BB50-DA163DC8E318}"/>
                </a:ext>
              </a:extLst>
            </p:cNvPr>
            <p:cNvSpPr/>
            <p:nvPr/>
          </p:nvSpPr>
          <p:spPr>
            <a:xfrm>
              <a:off x="2886881" y="2006101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7B41C922-C0DB-49FA-A638-D3AC46FCF157}"/>
                </a:ext>
              </a:extLst>
            </p:cNvPr>
            <p:cNvSpPr/>
            <p:nvPr/>
          </p:nvSpPr>
          <p:spPr>
            <a:xfrm>
              <a:off x="1544844" y="2006101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9891F35F-EA3C-4B8F-8F9A-7E917AC1C424}"/>
                </a:ext>
              </a:extLst>
            </p:cNvPr>
            <p:cNvSpPr/>
            <p:nvPr/>
          </p:nvSpPr>
          <p:spPr>
            <a:xfrm>
              <a:off x="1667284" y="2954383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DB0EE2A6-4C57-4B26-9F07-6627BCF618A8}"/>
                </a:ext>
              </a:extLst>
            </p:cNvPr>
            <p:cNvSpPr/>
            <p:nvPr/>
          </p:nvSpPr>
          <p:spPr>
            <a:xfrm>
              <a:off x="2609039" y="2954383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FF24228D-FE3D-4BE2-A7B6-93D29F99CA9C}"/>
                </a:ext>
              </a:extLst>
            </p:cNvPr>
            <p:cNvSpPr/>
            <p:nvPr/>
          </p:nvSpPr>
          <p:spPr>
            <a:xfrm>
              <a:off x="1723381" y="3072939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61037992-323E-4460-942B-126CF09C7E6D}"/>
                </a:ext>
              </a:extLst>
            </p:cNvPr>
            <p:cNvSpPr/>
            <p:nvPr/>
          </p:nvSpPr>
          <p:spPr>
            <a:xfrm>
              <a:off x="7253044" y="3547081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E5D22A4B-06FB-4391-BE46-C126CD5878BD}"/>
                </a:ext>
              </a:extLst>
            </p:cNvPr>
            <p:cNvSpPr/>
            <p:nvPr/>
          </p:nvSpPr>
          <p:spPr>
            <a:xfrm>
              <a:off x="7195956" y="3428525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5A3CB803-A949-4934-8F4B-F7631A03B260}"/>
                </a:ext>
              </a:extLst>
            </p:cNvPr>
            <p:cNvSpPr/>
            <p:nvPr/>
          </p:nvSpPr>
          <p:spPr>
            <a:xfrm>
              <a:off x="6269567" y="3428525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8369F0C7-878C-46C4-9011-CEF549FD731A}"/>
                </a:ext>
              </a:extLst>
            </p:cNvPr>
            <p:cNvSpPr/>
            <p:nvPr/>
          </p:nvSpPr>
          <p:spPr>
            <a:xfrm>
              <a:off x="7156960" y="3309968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B05A376F-8858-46C6-90F5-05B8F626337A}"/>
                </a:ext>
              </a:extLst>
            </p:cNvPr>
            <p:cNvSpPr/>
            <p:nvPr/>
          </p:nvSpPr>
          <p:spPr>
            <a:xfrm>
              <a:off x="6211735" y="3309968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3F249369-EAEE-4567-9A7E-0E63612FA1A8}"/>
                </a:ext>
              </a:extLst>
            </p:cNvPr>
            <p:cNvSpPr/>
            <p:nvPr/>
          </p:nvSpPr>
          <p:spPr>
            <a:xfrm>
              <a:off x="6134901" y="3191495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0BC006F5-FDEC-451D-A1FC-1786C700528E}"/>
                </a:ext>
              </a:extLst>
            </p:cNvPr>
            <p:cNvSpPr/>
            <p:nvPr/>
          </p:nvSpPr>
          <p:spPr>
            <a:xfrm>
              <a:off x="6055010" y="3072939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B5006008-E7C4-4764-BA9B-EF8F48923714}"/>
                </a:ext>
              </a:extLst>
            </p:cNvPr>
            <p:cNvSpPr/>
            <p:nvPr/>
          </p:nvSpPr>
          <p:spPr>
            <a:xfrm>
              <a:off x="6015849" y="2835827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EC04E635-D164-4843-B1C2-9066CF9F175F}"/>
                </a:ext>
              </a:extLst>
            </p:cNvPr>
            <p:cNvSpPr/>
            <p:nvPr/>
          </p:nvSpPr>
          <p:spPr>
            <a:xfrm>
              <a:off x="5751804" y="2717354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4A0A8A01-6F74-49CB-BC35-DC090D0781F2}"/>
                </a:ext>
              </a:extLst>
            </p:cNvPr>
            <p:cNvSpPr/>
            <p:nvPr/>
          </p:nvSpPr>
          <p:spPr>
            <a:xfrm>
              <a:off x="8778905" y="2717354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E262B87F-F690-4758-ABEF-9BBE70A798DA}"/>
                </a:ext>
              </a:extLst>
            </p:cNvPr>
            <p:cNvSpPr/>
            <p:nvPr/>
          </p:nvSpPr>
          <p:spPr>
            <a:xfrm>
              <a:off x="7791627" y="3309968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86F071E1-C834-4A8D-9DBA-D5B1C7719FE5}"/>
                </a:ext>
              </a:extLst>
            </p:cNvPr>
            <p:cNvSpPr/>
            <p:nvPr/>
          </p:nvSpPr>
          <p:spPr>
            <a:xfrm>
              <a:off x="8226607" y="3309968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EA76AB0A-E7BE-47BD-AAF1-85F7C0C5EC80}"/>
                </a:ext>
              </a:extLst>
            </p:cNvPr>
            <p:cNvSpPr/>
            <p:nvPr/>
          </p:nvSpPr>
          <p:spPr>
            <a:xfrm>
              <a:off x="7918032" y="3428525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4F797F2A-E245-4814-8CE0-7C826875B135}"/>
                </a:ext>
              </a:extLst>
            </p:cNvPr>
            <p:cNvSpPr/>
            <p:nvPr/>
          </p:nvSpPr>
          <p:spPr>
            <a:xfrm>
              <a:off x="8089462" y="3547081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CC484844-0E4F-46C3-A02E-D6BF4096BFDC}"/>
                </a:ext>
              </a:extLst>
            </p:cNvPr>
            <p:cNvSpPr/>
            <p:nvPr/>
          </p:nvSpPr>
          <p:spPr>
            <a:xfrm>
              <a:off x="7938851" y="3547081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006544C4-6EFC-461E-8580-80FD9229106F}"/>
                </a:ext>
              </a:extLst>
            </p:cNvPr>
            <p:cNvSpPr/>
            <p:nvPr/>
          </p:nvSpPr>
          <p:spPr>
            <a:xfrm>
              <a:off x="7982308" y="3665636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EFB18484-96F7-4BCE-8FDA-1BC8BE84B1CD}"/>
                </a:ext>
              </a:extLst>
            </p:cNvPr>
            <p:cNvSpPr/>
            <p:nvPr/>
          </p:nvSpPr>
          <p:spPr>
            <a:xfrm>
              <a:off x="8060298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564EE739-614B-4FFF-9D05-1D7434619F13}"/>
                </a:ext>
              </a:extLst>
            </p:cNvPr>
            <p:cNvSpPr/>
            <p:nvPr/>
          </p:nvSpPr>
          <p:spPr>
            <a:xfrm>
              <a:off x="8367966" y="3784192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3ABD95D2-3ABF-4F1D-8053-AEF87F653F56}"/>
                </a:ext>
              </a:extLst>
            </p:cNvPr>
            <p:cNvSpPr/>
            <p:nvPr/>
          </p:nvSpPr>
          <p:spPr>
            <a:xfrm>
              <a:off x="8265602" y="3902666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04E0C44F-4C10-49EE-9B63-9E8E1C0A2AE6}"/>
                </a:ext>
              </a:extLst>
            </p:cNvPr>
            <p:cNvSpPr/>
            <p:nvPr/>
          </p:nvSpPr>
          <p:spPr>
            <a:xfrm>
              <a:off x="8384489" y="4021221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776386C4-75B6-44B9-90D5-8B9FD914644C}"/>
                </a:ext>
              </a:extLst>
            </p:cNvPr>
            <p:cNvSpPr/>
            <p:nvPr/>
          </p:nvSpPr>
          <p:spPr>
            <a:xfrm>
              <a:off x="8554268" y="4021221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9942D8C2-6BE9-4F5A-B102-CBBF7E066B08}"/>
                </a:ext>
              </a:extLst>
            </p:cNvPr>
            <p:cNvSpPr/>
            <p:nvPr/>
          </p:nvSpPr>
          <p:spPr>
            <a:xfrm>
              <a:off x="9018742" y="4021221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D3BEC85E-8D58-4C9A-AC53-3CCC4B1A1980}"/>
                </a:ext>
              </a:extLst>
            </p:cNvPr>
            <p:cNvSpPr/>
            <p:nvPr/>
          </p:nvSpPr>
          <p:spPr>
            <a:xfrm>
              <a:off x="9134076" y="4139777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3E0B4439-121C-46D5-A3EA-E9E66F67928F}"/>
                </a:ext>
              </a:extLst>
            </p:cNvPr>
            <p:cNvSpPr/>
            <p:nvPr/>
          </p:nvSpPr>
          <p:spPr>
            <a:xfrm>
              <a:off x="9384159" y="4139777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FE2CD11E-1544-4022-90CF-C1BD48BBC8A2}"/>
                </a:ext>
              </a:extLst>
            </p:cNvPr>
            <p:cNvSpPr/>
            <p:nvPr/>
          </p:nvSpPr>
          <p:spPr>
            <a:xfrm>
              <a:off x="9545180" y="4021221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C1095201-9796-428E-9304-AAA330ADB859}"/>
                </a:ext>
              </a:extLst>
            </p:cNvPr>
            <p:cNvSpPr/>
            <p:nvPr/>
          </p:nvSpPr>
          <p:spPr>
            <a:xfrm>
              <a:off x="8920015" y="3902666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79E6558D-277B-4F5F-A411-CB2AFAEF4EB4}"/>
                </a:ext>
              </a:extLst>
            </p:cNvPr>
            <p:cNvSpPr/>
            <p:nvPr/>
          </p:nvSpPr>
          <p:spPr>
            <a:xfrm>
              <a:off x="8920015" y="3900517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EF75002C-9094-41F6-82F4-33867C253F7B}"/>
                </a:ext>
              </a:extLst>
            </p:cNvPr>
            <p:cNvSpPr/>
            <p:nvPr/>
          </p:nvSpPr>
          <p:spPr>
            <a:xfrm>
              <a:off x="8574344" y="3902666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1AD20E24-98D0-42CF-AD8F-12B57DF1C623}"/>
                </a:ext>
              </a:extLst>
            </p:cNvPr>
            <p:cNvSpPr/>
            <p:nvPr/>
          </p:nvSpPr>
          <p:spPr>
            <a:xfrm>
              <a:off x="8047410" y="4021221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1194525D-1ACF-4BA7-AFAA-6AB37AE44A94}"/>
                </a:ext>
              </a:extLst>
            </p:cNvPr>
            <p:cNvSpPr/>
            <p:nvPr/>
          </p:nvSpPr>
          <p:spPr>
            <a:xfrm>
              <a:off x="7989826" y="3902666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FEB05053-3E21-4C2F-A333-3693E0509E6C}"/>
                </a:ext>
              </a:extLst>
            </p:cNvPr>
            <p:cNvSpPr/>
            <p:nvPr/>
          </p:nvSpPr>
          <p:spPr>
            <a:xfrm>
              <a:off x="8481399" y="3665636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F240C564-5FB4-481F-A142-44D90F5253C4}"/>
                </a:ext>
              </a:extLst>
            </p:cNvPr>
            <p:cNvSpPr/>
            <p:nvPr/>
          </p:nvSpPr>
          <p:spPr>
            <a:xfrm>
              <a:off x="8679020" y="3665636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57CEFE23-80FA-4236-AE8D-DD50FF223EB5}"/>
                </a:ext>
              </a:extLst>
            </p:cNvPr>
            <p:cNvSpPr/>
            <p:nvPr/>
          </p:nvSpPr>
          <p:spPr>
            <a:xfrm>
              <a:off x="8651095" y="3547081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5BB7F4D0-4D20-40DB-BF31-D2EB95007F3C}"/>
                </a:ext>
              </a:extLst>
            </p:cNvPr>
            <p:cNvSpPr/>
            <p:nvPr/>
          </p:nvSpPr>
          <p:spPr>
            <a:xfrm>
              <a:off x="8582110" y="3428525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D93704CE-2E04-4547-9766-D1E61CDEE40E}"/>
                </a:ext>
              </a:extLst>
            </p:cNvPr>
            <p:cNvSpPr/>
            <p:nvPr/>
          </p:nvSpPr>
          <p:spPr>
            <a:xfrm>
              <a:off x="8582110" y="3309968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BA59B755-F557-449C-99D4-39FAE2465BBF}"/>
                </a:ext>
              </a:extLst>
            </p:cNvPr>
            <p:cNvSpPr/>
            <p:nvPr/>
          </p:nvSpPr>
          <p:spPr>
            <a:xfrm>
              <a:off x="8544849" y="3072939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1B1FC10-B9E2-4288-8A3C-79C84AB2C546}"/>
                </a:ext>
              </a:extLst>
            </p:cNvPr>
            <p:cNvSpPr/>
            <p:nvPr/>
          </p:nvSpPr>
          <p:spPr>
            <a:xfrm>
              <a:off x="6561785" y="3072939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31685407-D060-4B4D-A430-AB9C46F3A4C4}"/>
                </a:ext>
              </a:extLst>
            </p:cNvPr>
            <p:cNvSpPr/>
            <p:nvPr/>
          </p:nvSpPr>
          <p:spPr>
            <a:xfrm>
              <a:off x="6483380" y="2954383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EC40499-3DE7-4701-844B-97AEA0581B6A}"/>
                </a:ext>
              </a:extLst>
            </p:cNvPr>
            <p:cNvSpPr/>
            <p:nvPr/>
          </p:nvSpPr>
          <p:spPr>
            <a:xfrm>
              <a:off x="7921584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DB5704CA-EC3E-4785-8598-E368DF36BC2E}"/>
                </a:ext>
              </a:extLst>
            </p:cNvPr>
            <p:cNvSpPr/>
            <p:nvPr/>
          </p:nvSpPr>
          <p:spPr>
            <a:xfrm>
              <a:off x="7716362" y="3191495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FA9BA27E-7F20-44DC-9DA9-8B359DBB3F62}"/>
                </a:ext>
              </a:extLst>
            </p:cNvPr>
            <p:cNvSpPr/>
            <p:nvPr/>
          </p:nvSpPr>
          <p:spPr>
            <a:xfrm>
              <a:off x="7034934" y="3191495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862288FB-7FBA-45B6-AC55-61730FAB2B4B}"/>
                </a:ext>
              </a:extLst>
            </p:cNvPr>
            <p:cNvSpPr/>
            <p:nvPr/>
          </p:nvSpPr>
          <p:spPr>
            <a:xfrm>
              <a:off x="7391346" y="3665636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2E2E16FB-A84C-4C70-BAE5-7889727A9D18}"/>
                </a:ext>
              </a:extLst>
            </p:cNvPr>
            <p:cNvSpPr/>
            <p:nvPr/>
          </p:nvSpPr>
          <p:spPr>
            <a:xfrm>
              <a:off x="5824838" y="465122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6E2B49DA-E079-4DB3-9DA1-2F4D5AAA6AA7}"/>
                </a:ext>
              </a:extLst>
            </p:cNvPr>
            <p:cNvSpPr/>
            <p:nvPr/>
          </p:nvSpPr>
          <p:spPr>
            <a:xfrm>
              <a:off x="5989577" y="465122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F1AE9D47-CDF6-4B5B-ADEF-7CA51C862260}"/>
                </a:ext>
              </a:extLst>
            </p:cNvPr>
            <p:cNvSpPr/>
            <p:nvPr/>
          </p:nvSpPr>
          <p:spPr>
            <a:xfrm>
              <a:off x="6098962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E971C015-5BFC-4F89-B859-42794513ED9D}"/>
                </a:ext>
              </a:extLst>
            </p:cNvPr>
            <p:cNvSpPr/>
            <p:nvPr/>
          </p:nvSpPr>
          <p:spPr>
            <a:xfrm>
              <a:off x="6697112" y="346566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05C0D958-D8C2-4A0B-855B-068862EBCD42}"/>
                </a:ext>
              </a:extLst>
            </p:cNvPr>
            <p:cNvSpPr/>
            <p:nvPr/>
          </p:nvSpPr>
          <p:spPr>
            <a:xfrm>
              <a:off x="6940255" y="346566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1E13F576-24BA-4A56-B63B-77F4E6282C0C}"/>
                </a:ext>
              </a:extLst>
            </p:cNvPr>
            <p:cNvSpPr/>
            <p:nvPr/>
          </p:nvSpPr>
          <p:spPr>
            <a:xfrm>
              <a:off x="6940255" y="465122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9A1A8585-0A01-4CDD-B4E6-E549E3FA363A}"/>
                </a:ext>
              </a:extLst>
            </p:cNvPr>
            <p:cNvSpPr/>
            <p:nvPr/>
          </p:nvSpPr>
          <p:spPr>
            <a:xfrm>
              <a:off x="7050549" y="583677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F5222A2A-2F37-484F-B12C-DF538A2C40B4}"/>
                </a:ext>
              </a:extLst>
            </p:cNvPr>
            <p:cNvSpPr/>
            <p:nvPr/>
          </p:nvSpPr>
          <p:spPr>
            <a:xfrm>
              <a:off x="6891924" y="702151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B6CF4295-B3DB-4A81-8016-11FD99A62E43}"/>
                </a:ext>
              </a:extLst>
            </p:cNvPr>
            <p:cNvSpPr/>
            <p:nvPr/>
          </p:nvSpPr>
          <p:spPr>
            <a:xfrm>
              <a:off x="6829465" y="820707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34D620C0-8195-4737-808F-3ECCC89632B7}"/>
                </a:ext>
              </a:extLst>
            </p:cNvPr>
            <p:cNvSpPr/>
            <p:nvPr/>
          </p:nvSpPr>
          <p:spPr>
            <a:xfrm>
              <a:off x="6772128" y="939263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0168E64A-4FEF-45CB-8949-D37C4FEB5CE9}"/>
                </a:ext>
              </a:extLst>
            </p:cNvPr>
            <p:cNvSpPr/>
            <p:nvPr/>
          </p:nvSpPr>
          <p:spPr>
            <a:xfrm>
              <a:off x="6656877" y="1057819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D6C71FBC-D83D-49ED-8FCC-8DC45CCE3A81}"/>
                </a:ext>
              </a:extLst>
            </p:cNvPr>
            <p:cNvSpPr/>
            <p:nvPr/>
          </p:nvSpPr>
          <p:spPr>
            <a:xfrm>
              <a:off x="6530721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3E2FC29D-C76F-4D01-AF4B-424BB5E751E1}"/>
                </a:ext>
              </a:extLst>
            </p:cNvPr>
            <p:cNvSpPr/>
            <p:nvPr/>
          </p:nvSpPr>
          <p:spPr>
            <a:xfrm>
              <a:off x="6163569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B3133863-8958-4BA1-BD10-D98EE14609BD}"/>
                </a:ext>
              </a:extLst>
            </p:cNvPr>
            <p:cNvSpPr/>
            <p:nvPr/>
          </p:nvSpPr>
          <p:spPr>
            <a:xfrm>
              <a:off x="6204960" y="1176293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A45362A0-2D75-4F2E-92A6-DBCC74B5CFB2}"/>
                </a:ext>
              </a:extLst>
            </p:cNvPr>
            <p:cNvSpPr/>
            <p:nvPr/>
          </p:nvSpPr>
          <p:spPr>
            <a:xfrm>
              <a:off x="6163569" y="939263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1D321A52-E2B8-44D8-BEE4-DEC62CF61E54}"/>
                </a:ext>
              </a:extLst>
            </p:cNvPr>
            <p:cNvSpPr/>
            <p:nvPr/>
          </p:nvSpPr>
          <p:spPr>
            <a:xfrm>
              <a:off x="6239494" y="820707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5C4047C3-923E-41D6-8F7B-300C8A658ED9}"/>
                </a:ext>
              </a:extLst>
            </p:cNvPr>
            <p:cNvSpPr/>
            <p:nvPr/>
          </p:nvSpPr>
          <p:spPr>
            <a:xfrm>
              <a:off x="6346318" y="702151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9629FFCB-196B-41B6-916A-DF3360395422}"/>
                </a:ext>
              </a:extLst>
            </p:cNvPr>
            <p:cNvSpPr/>
            <p:nvPr/>
          </p:nvSpPr>
          <p:spPr>
            <a:xfrm>
              <a:off x="9184804" y="1176293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808BBF26-3895-493C-A34C-3AA4DE3F29C4}"/>
                </a:ext>
              </a:extLst>
            </p:cNvPr>
            <p:cNvSpPr/>
            <p:nvPr/>
          </p:nvSpPr>
          <p:spPr>
            <a:xfrm>
              <a:off x="6713057" y="1176293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29D310F5-9532-40D3-909E-AE8EBC98E26A}"/>
                </a:ext>
              </a:extLst>
            </p:cNvPr>
            <p:cNvSpPr/>
            <p:nvPr/>
          </p:nvSpPr>
          <p:spPr>
            <a:xfrm>
              <a:off x="6779481" y="1294848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8FF4641A-5E63-489A-AFD1-0C656F16C563}"/>
                </a:ext>
              </a:extLst>
            </p:cNvPr>
            <p:cNvSpPr/>
            <p:nvPr/>
          </p:nvSpPr>
          <p:spPr>
            <a:xfrm>
              <a:off x="9175715" y="1294848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B831204B-D00C-4A9F-B905-2C2FBDAEA9EF}"/>
                </a:ext>
              </a:extLst>
            </p:cNvPr>
            <p:cNvSpPr/>
            <p:nvPr/>
          </p:nvSpPr>
          <p:spPr>
            <a:xfrm>
              <a:off x="9129367" y="1531960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B06AFAA2-65F5-48C2-9A72-5EE49E7FF772}"/>
                </a:ext>
              </a:extLst>
            </p:cNvPr>
            <p:cNvSpPr/>
            <p:nvPr/>
          </p:nvSpPr>
          <p:spPr>
            <a:xfrm>
              <a:off x="6331075" y="1533438"/>
              <a:ext cx="2381322" cy="71819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538C6E85-4D0B-4FE0-842C-E3DDCE6289CF}"/>
                </a:ext>
              </a:extLst>
            </p:cNvPr>
            <p:cNvSpPr/>
            <p:nvPr/>
          </p:nvSpPr>
          <p:spPr>
            <a:xfrm>
              <a:off x="9129367" y="1650516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BFDF375D-2882-4D5B-B44D-8F80F918A24F}"/>
                </a:ext>
              </a:extLst>
            </p:cNvPr>
            <p:cNvSpPr/>
            <p:nvPr/>
          </p:nvSpPr>
          <p:spPr>
            <a:xfrm>
              <a:off x="9215124" y="1768989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E1361B8C-4AB1-407D-9F55-2CEDCFECF1DA}"/>
                </a:ext>
              </a:extLst>
            </p:cNvPr>
            <p:cNvSpPr/>
            <p:nvPr/>
          </p:nvSpPr>
          <p:spPr>
            <a:xfrm>
              <a:off x="9175715" y="1413404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612D2DBB-600A-4D01-B925-8776D48031D5}"/>
                </a:ext>
              </a:extLst>
            </p:cNvPr>
            <p:cNvSpPr/>
            <p:nvPr/>
          </p:nvSpPr>
          <p:spPr>
            <a:xfrm>
              <a:off x="6026589" y="1413404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10880ED6-306C-43C3-91AF-2D9AE83505EB}"/>
                </a:ext>
              </a:extLst>
            </p:cNvPr>
            <p:cNvSpPr/>
            <p:nvPr/>
          </p:nvSpPr>
          <p:spPr>
            <a:xfrm>
              <a:off x="5357388" y="1413404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D188DABF-748C-4490-AD1D-D54CC36FE6B9}"/>
                </a:ext>
              </a:extLst>
            </p:cNvPr>
            <p:cNvSpPr/>
            <p:nvPr/>
          </p:nvSpPr>
          <p:spPr>
            <a:xfrm>
              <a:off x="5293113" y="1531960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5239531C-E702-442B-B158-058A9FBBB6A1}"/>
                </a:ext>
              </a:extLst>
            </p:cNvPr>
            <p:cNvSpPr/>
            <p:nvPr/>
          </p:nvSpPr>
          <p:spPr>
            <a:xfrm>
              <a:off x="5217269" y="1650516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191DE5D3-D3D5-47F3-9775-A4A615B85B1C}"/>
                </a:ext>
              </a:extLst>
            </p:cNvPr>
            <p:cNvSpPr/>
            <p:nvPr/>
          </p:nvSpPr>
          <p:spPr>
            <a:xfrm>
              <a:off x="5112593" y="1768989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1504409A-25B3-4F48-BE99-3A854D102982}"/>
                </a:ext>
              </a:extLst>
            </p:cNvPr>
            <p:cNvSpPr/>
            <p:nvPr/>
          </p:nvSpPr>
          <p:spPr>
            <a:xfrm>
              <a:off x="5112593" y="1887545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0B7CA7CE-EE30-4B86-B9B0-4D44AA80768E}"/>
                </a:ext>
              </a:extLst>
            </p:cNvPr>
            <p:cNvSpPr/>
            <p:nvPr/>
          </p:nvSpPr>
          <p:spPr>
            <a:xfrm>
              <a:off x="4823432" y="1887545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B85FF877-A788-4C71-9342-F75D234BA620}"/>
                </a:ext>
              </a:extLst>
            </p:cNvPr>
            <p:cNvSpPr/>
            <p:nvPr/>
          </p:nvSpPr>
          <p:spPr>
            <a:xfrm>
              <a:off x="4779893" y="2006101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B4DEA32C-2C63-4DDD-AAA4-EBE1CD12B69D}"/>
                </a:ext>
              </a:extLst>
            </p:cNvPr>
            <p:cNvSpPr/>
            <p:nvPr/>
          </p:nvSpPr>
          <p:spPr>
            <a:xfrm>
              <a:off x="5207190" y="2006101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EBE7AB8F-4398-48BE-8871-25B0A42545CF}"/>
                </a:ext>
              </a:extLst>
            </p:cNvPr>
            <p:cNvSpPr/>
            <p:nvPr/>
          </p:nvSpPr>
          <p:spPr>
            <a:xfrm>
              <a:off x="5326820" y="2006101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B1D93CB6-9FF2-4212-A1D2-69E5A3033475}"/>
                </a:ext>
              </a:extLst>
            </p:cNvPr>
            <p:cNvSpPr/>
            <p:nvPr/>
          </p:nvSpPr>
          <p:spPr>
            <a:xfrm>
              <a:off x="4874408" y="2124657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DC8DE533-E69D-4989-BFFE-078FBDE72240}"/>
                </a:ext>
              </a:extLst>
            </p:cNvPr>
            <p:cNvSpPr/>
            <p:nvPr/>
          </p:nvSpPr>
          <p:spPr>
            <a:xfrm>
              <a:off x="4724375" y="2124657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7859FBCD-84E1-455D-BBFB-95E2B208B7E6}"/>
                </a:ext>
              </a:extLst>
            </p:cNvPr>
            <p:cNvSpPr/>
            <p:nvPr/>
          </p:nvSpPr>
          <p:spPr>
            <a:xfrm>
              <a:off x="5276011" y="1887545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427EA2E5-5376-4282-B6B9-17C8712215AF}"/>
                </a:ext>
              </a:extLst>
            </p:cNvPr>
            <p:cNvSpPr/>
            <p:nvPr/>
          </p:nvSpPr>
          <p:spPr>
            <a:xfrm>
              <a:off x="6455042" y="1768245"/>
              <a:ext cx="2224473" cy="71052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73FC95A-5EF7-465B-B2BF-CB516ED27B10}"/>
                </a:ext>
              </a:extLst>
            </p:cNvPr>
            <p:cNvSpPr/>
            <p:nvPr/>
          </p:nvSpPr>
          <p:spPr>
            <a:xfrm>
              <a:off x="6526506" y="2004250"/>
              <a:ext cx="2354761" cy="72075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CA3BF0EC-BDB2-45E2-B33E-5E87BC6AF1F3}"/>
                </a:ext>
              </a:extLst>
            </p:cNvPr>
            <p:cNvSpPr/>
            <p:nvPr/>
          </p:nvSpPr>
          <p:spPr>
            <a:xfrm>
              <a:off x="6465040" y="2361687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DBDF965F-62D1-493E-BC6D-B523019C26B6}"/>
                </a:ext>
              </a:extLst>
            </p:cNvPr>
            <p:cNvSpPr/>
            <p:nvPr/>
          </p:nvSpPr>
          <p:spPr>
            <a:xfrm>
              <a:off x="6048152" y="2361687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22CA4699-4B98-4CF4-9E64-C1F2602332A0}"/>
                </a:ext>
              </a:extLst>
            </p:cNvPr>
            <p:cNvSpPr/>
            <p:nvPr/>
          </p:nvSpPr>
          <p:spPr>
            <a:xfrm>
              <a:off x="4937692" y="2361687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D32970CF-C5F0-4717-B6AB-C3DDA4163F8A}"/>
                </a:ext>
              </a:extLst>
            </p:cNvPr>
            <p:cNvSpPr/>
            <p:nvPr/>
          </p:nvSpPr>
          <p:spPr>
            <a:xfrm>
              <a:off x="4750647" y="2480242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DEC58E4E-0D91-4396-8D16-F2615904D377}"/>
                </a:ext>
              </a:extLst>
            </p:cNvPr>
            <p:cNvSpPr/>
            <p:nvPr/>
          </p:nvSpPr>
          <p:spPr>
            <a:xfrm>
              <a:off x="5280554" y="2480242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0164C486-396D-43DB-9CFE-4C70D1B7B8C4}"/>
                </a:ext>
              </a:extLst>
            </p:cNvPr>
            <p:cNvSpPr/>
            <p:nvPr/>
          </p:nvSpPr>
          <p:spPr>
            <a:xfrm>
              <a:off x="5444963" y="2480242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F640CBA1-F445-417A-B8AA-6D765462AF77}"/>
                </a:ext>
              </a:extLst>
            </p:cNvPr>
            <p:cNvSpPr/>
            <p:nvPr/>
          </p:nvSpPr>
          <p:spPr>
            <a:xfrm>
              <a:off x="6125812" y="2480242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32DA6DD6-4877-4705-8F00-FFC87081F205}"/>
                </a:ext>
              </a:extLst>
            </p:cNvPr>
            <p:cNvSpPr/>
            <p:nvPr/>
          </p:nvSpPr>
          <p:spPr>
            <a:xfrm>
              <a:off x="6465040" y="2480242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AC12A215-3F1F-4928-A6B8-5FFED0901C39}"/>
                </a:ext>
              </a:extLst>
            </p:cNvPr>
            <p:cNvSpPr/>
            <p:nvPr/>
          </p:nvSpPr>
          <p:spPr>
            <a:xfrm>
              <a:off x="6492964" y="2598798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5BBC80E0-E18C-4CAC-9641-3676429E14BB}"/>
                </a:ext>
              </a:extLst>
            </p:cNvPr>
            <p:cNvSpPr/>
            <p:nvPr/>
          </p:nvSpPr>
          <p:spPr>
            <a:xfrm>
              <a:off x="4750647" y="2598798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BCD5A98D-6821-4E1A-AA63-42A216E2500C}"/>
                </a:ext>
              </a:extLst>
            </p:cNvPr>
            <p:cNvSpPr/>
            <p:nvPr/>
          </p:nvSpPr>
          <p:spPr>
            <a:xfrm>
              <a:off x="5228588" y="2598798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95B91582-ED59-4160-BA25-9236342DDEF3}"/>
                </a:ext>
              </a:extLst>
            </p:cNvPr>
            <p:cNvSpPr/>
            <p:nvPr/>
          </p:nvSpPr>
          <p:spPr>
            <a:xfrm>
              <a:off x="540629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E45AFD7E-88CF-46D1-9C5F-20B36DEB0B31}"/>
                </a:ext>
              </a:extLst>
            </p:cNvPr>
            <p:cNvSpPr/>
            <p:nvPr/>
          </p:nvSpPr>
          <p:spPr>
            <a:xfrm>
              <a:off x="555748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17A94BE3-1886-4A70-9F04-F4B9D802D73E}"/>
                </a:ext>
              </a:extLst>
            </p:cNvPr>
            <p:cNvSpPr/>
            <p:nvPr/>
          </p:nvSpPr>
          <p:spPr>
            <a:xfrm>
              <a:off x="5753126" y="2598798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238BB387-D9D4-43AA-9282-8454BF46F9CA}"/>
                </a:ext>
              </a:extLst>
            </p:cNvPr>
            <p:cNvSpPr/>
            <p:nvPr/>
          </p:nvSpPr>
          <p:spPr>
            <a:xfrm>
              <a:off x="8931251" y="2006101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6C0FED95-36CC-49C0-83FF-0C84673F2BA4}"/>
                </a:ext>
              </a:extLst>
            </p:cNvPr>
            <p:cNvSpPr/>
            <p:nvPr/>
          </p:nvSpPr>
          <p:spPr>
            <a:xfrm>
              <a:off x="8931251" y="1996187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2C37329F-3101-4F7C-8ED7-0DCB1FD2954C}"/>
                </a:ext>
              </a:extLst>
            </p:cNvPr>
            <p:cNvSpPr/>
            <p:nvPr/>
          </p:nvSpPr>
          <p:spPr>
            <a:xfrm>
              <a:off x="8931251" y="2124657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16C0778C-231C-4451-96B1-2F504418F801}"/>
                </a:ext>
              </a:extLst>
            </p:cNvPr>
            <p:cNvSpPr/>
            <p:nvPr/>
          </p:nvSpPr>
          <p:spPr>
            <a:xfrm>
              <a:off x="8977599" y="2243130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3EAA2819-DBDD-4203-B44C-CE70077D205F}"/>
                </a:ext>
              </a:extLst>
            </p:cNvPr>
            <p:cNvSpPr/>
            <p:nvPr/>
          </p:nvSpPr>
          <p:spPr>
            <a:xfrm>
              <a:off x="8977599" y="2234951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6956E269-E62A-49EC-B342-6D688E713D07}"/>
                </a:ext>
              </a:extLst>
            </p:cNvPr>
            <p:cNvSpPr/>
            <p:nvPr/>
          </p:nvSpPr>
          <p:spPr>
            <a:xfrm>
              <a:off x="8960415" y="2361687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46AFBC19-5EC8-46CD-88A1-2E54A1CFC0F3}"/>
                </a:ext>
              </a:extLst>
            </p:cNvPr>
            <p:cNvSpPr/>
            <p:nvPr/>
          </p:nvSpPr>
          <p:spPr>
            <a:xfrm>
              <a:off x="8985200" y="2480242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DECE00B3-058F-42A3-95A9-23A5D0CBDBB7}"/>
                </a:ext>
              </a:extLst>
            </p:cNvPr>
            <p:cNvSpPr/>
            <p:nvPr/>
          </p:nvSpPr>
          <p:spPr>
            <a:xfrm>
              <a:off x="8931251" y="2598798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578B8BDC-E3B3-4641-ABA8-2C7320DA1083}"/>
                </a:ext>
              </a:extLst>
            </p:cNvPr>
            <p:cNvSpPr/>
            <p:nvPr/>
          </p:nvSpPr>
          <p:spPr>
            <a:xfrm>
              <a:off x="8643495" y="2598798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42A3A9BF-0F32-4FB8-815C-8AF711503780}"/>
                </a:ext>
              </a:extLst>
            </p:cNvPr>
            <p:cNvSpPr/>
            <p:nvPr/>
          </p:nvSpPr>
          <p:spPr>
            <a:xfrm>
              <a:off x="8495196" y="2480242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15D99034-FE2F-4A55-80EC-05CD81BECFF1}"/>
                </a:ext>
              </a:extLst>
            </p:cNvPr>
            <p:cNvSpPr/>
            <p:nvPr/>
          </p:nvSpPr>
          <p:spPr>
            <a:xfrm>
              <a:off x="5604993" y="1531960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287818B5-74FB-4F51-9379-9449871CF685}"/>
                </a:ext>
              </a:extLst>
            </p:cNvPr>
            <p:cNvSpPr/>
            <p:nvPr/>
          </p:nvSpPr>
          <p:spPr>
            <a:xfrm>
              <a:off x="6406712" y="1294848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63FE9E69-3C83-4AD3-8C64-F5677A90303F}"/>
                </a:ext>
              </a:extLst>
            </p:cNvPr>
            <p:cNvSpPr/>
            <p:nvPr/>
          </p:nvSpPr>
          <p:spPr>
            <a:xfrm>
              <a:off x="5425961" y="1294848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9C618A22-C380-4AE3-8DAD-B9F6878E1923}"/>
                </a:ext>
              </a:extLst>
            </p:cNvPr>
            <p:cNvSpPr/>
            <p:nvPr/>
          </p:nvSpPr>
          <p:spPr>
            <a:xfrm>
              <a:off x="6530721" y="1176293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4E1C15FD-7E0D-4BF4-8DEC-6C555B5BB3BD}"/>
                </a:ext>
              </a:extLst>
            </p:cNvPr>
            <p:cNvSpPr/>
            <p:nvPr/>
          </p:nvSpPr>
          <p:spPr>
            <a:xfrm>
              <a:off x="8103508" y="583677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46BCD3DA-6C5B-4A0D-8877-9E8C107E4FBC}"/>
                </a:ext>
              </a:extLst>
            </p:cNvPr>
            <p:cNvSpPr/>
            <p:nvPr/>
          </p:nvSpPr>
          <p:spPr>
            <a:xfrm>
              <a:off x="7699508" y="702151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43C4E5D4-0C6E-4C63-B083-D707F7A98F4B}"/>
                </a:ext>
              </a:extLst>
            </p:cNvPr>
            <p:cNvSpPr/>
            <p:nvPr/>
          </p:nvSpPr>
          <p:spPr>
            <a:xfrm>
              <a:off x="7491148" y="702151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7FB281DC-0A14-4B9F-A204-91B1155E0E00}"/>
                </a:ext>
              </a:extLst>
            </p:cNvPr>
            <p:cNvSpPr/>
            <p:nvPr/>
          </p:nvSpPr>
          <p:spPr>
            <a:xfrm>
              <a:off x="8549228" y="583677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510FF92C-51B5-459D-A91B-7B4D1913AA32}"/>
                </a:ext>
              </a:extLst>
            </p:cNvPr>
            <p:cNvSpPr/>
            <p:nvPr/>
          </p:nvSpPr>
          <p:spPr>
            <a:xfrm>
              <a:off x="8885729" y="583677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7829F4C6-2D24-49B3-AA87-530278E2C8E9}"/>
                </a:ext>
              </a:extLst>
            </p:cNvPr>
            <p:cNvSpPr/>
            <p:nvPr/>
          </p:nvSpPr>
          <p:spPr>
            <a:xfrm>
              <a:off x="8103508" y="702151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5A2B4CBF-7E9A-4535-9CCF-56C791AA360D}"/>
                </a:ext>
              </a:extLst>
            </p:cNvPr>
            <p:cNvSpPr/>
            <p:nvPr/>
          </p:nvSpPr>
          <p:spPr>
            <a:xfrm>
              <a:off x="7050549" y="465122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1089813B-13E1-47D8-91D7-F7E6F09C0B7B}"/>
                </a:ext>
              </a:extLst>
            </p:cNvPr>
            <p:cNvSpPr/>
            <p:nvPr/>
          </p:nvSpPr>
          <p:spPr>
            <a:xfrm>
              <a:off x="7842106" y="346566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A37EDFC8-D5E7-48D3-8B45-D38101034A80}"/>
                </a:ext>
              </a:extLst>
            </p:cNvPr>
            <p:cNvSpPr/>
            <p:nvPr/>
          </p:nvSpPr>
          <p:spPr>
            <a:xfrm>
              <a:off x="8091114" y="346566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E87838BB-9DC8-4A4D-BE04-1BAC7F85F3C1}"/>
                </a:ext>
              </a:extLst>
            </p:cNvPr>
            <p:cNvSpPr/>
            <p:nvPr/>
          </p:nvSpPr>
          <p:spPr>
            <a:xfrm>
              <a:off x="6665635" y="228010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14C237C7-09CD-45FA-887D-F39A3FCA5EA7}"/>
                </a:ext>
              </a:extLst>
            </p:cNvPr>
            <p:cNvSpPr/>
            <p:nvPr/>
          </p:nvSpPr>
          <p:spPr>
            <a:xfrm>
              <a:off x="5989577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318">
              <a:extLst>
                <a:ext uri="{FF2B5EF4-FFF2-40B4-BE49-F238E27FC236}">
                  <a16:creationId xmlns:a16="http://schemas.microsoft.com/office/drawing/2014/main" id="{CED4D6A5-C349-48CA-96BF-18D2D8D59205}"/>
                </a:ext>
              </a:extLst>
            </p:cNvPr>
            <p:cNvSpPr/>
            <p:nvPr/>
          </p:nvSpPr>
          <p:spPr>
            <a:xfrm>
              <a:off x="5024606" y="2243130"/>
              <a:ext cx="1321134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318">
              <a:extLst>
                <a:ext uri="{FF2B5EF4-FFF2-40B4-BE49-F238E27FC236}">
                  <a16:creationId xmlns:a16="http://schemas.microsoft.com/office/drawing/2014/main" id="{7E80BD47-B28A-4D68-BC05-D46016A97483}"/>
                </a:ext>
              </a:extLst>
            </p:cNvPr>
            <p:cNvSpPr/>
            <p:nvPr/>
          </p:nvSpPr>
          <p:spPr>
            <a:xfrm>
              <a:off x="5121310" y="2124989"/>
              <a:ext cx="1314317" cy="69892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318">
              <a:extLst>
                <a:ext uri="{FF2B5EF4-FFF2-40B4-BE49-F238E27FC236}">
                  <a16:creationId xmlns:a16="http://schemas.microsoft.com/office/drawing/2014/main" id="{826BCA35-97ED-4F61-A5A9-880A3C548933}"/>
                </a:ext>
              </a:extLst>
            </p:cNvPr>
            <p:cNvSpPr/>
            <p:nvPr/>
          </p:nvSpPr>
          <p:spPr>
            <a:xfrm>
              <a:off x="5540231" y="2004250"/>
              <a:ext cx="986275" cy="72114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318">
              <a:extLst>
                <a:ext uri="{FF2B5EF4-FFF2-40B4-BE49-F238E27FC236}">
                  <a16:creationId xmlns:a16="http://schemas.microsoft.com/office/drawing/2014/main" id="{2E5941E4-D335-4EAC-AC3B-F7B71DC8ECD3}"/>
                </a:ext>
              </a:extLst>
            </p:cNvPr>
            <p:cNvSpPr/>
            <p:nvPr/>
          </p:nvSpPr>
          <p:spPr>
            <a:xfrm>
              <a:off x="5596567" y="1886882"/>
              <a:ext cx="929939" cy="70969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318">
              <a:extLst>
                <a:ext uri="{FF2B5EF4-FFF2-40B4-BE49-F238E27FC236}">
                  <a16:creationId xmlns:a16="http://schemas.microsoft.com/office/drawing/2014/main" id="{87A1EE9C-DC2A-48AB-BA3A-281EF462FDF7}"/>
                </a:ext>
              </a:extLst>
            </p:cNvPr>
            <p:cNvSpPr/>
            <p:nvPr/>
          </p:nvSpPr>
          <p:spPr>
            <a:xfrm>
              <a:off x="5529292" y="176865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ihandform: Form 321">
              <a:extLst>
                <a:ext uri="{FF2B5EF4-FFF2-40B4-BE49-F238E27FC236}">
                  <a16:creationId xmlns:a16="http://schemas.microsoft.com/office/drawing/2014/main" id="{68DDD230-B77D-4799-B9DB-C3ED79151E76}"/>
                </a:ext>
              </a:extLst>
            </p:cNvPr>
            <p:cNvSpPr/>
            <p:nvPr/>
          </p:nvSpPr>
          <p:spPr>
            <a:xfrm>
              <a:off x="6153159" y="1413032"/>
              <a:ext cx="373346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9" name="Freihandform: Form 321">
              <a:extLst>
                <a:ext uri="{FF2B5EF4-FFF2-40B4-BE49-F238E27FC236}">
                  <a16:creationId xmlns:a16="http://schemas.microsoft.com/office/drawing/2014/main" id="{527B5C2B-F677-4311-9659-C0402E4DBF7B}"/>
                </a:ext>
              </a:extLst>
            </p:cNvPr>
            <p:cNvSpPr/>
            <p:nvPr/>
          </p:nvSpPr>
          <p:spPr>
            <a:xfrm>
              <a:off x="5975242" y="1533438"/>
              <a:ext cx="355832" cy="72000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0" name="Freihandform: Form 318">
              <a:extLst>
                <a:ext uri="{FF2B5EF4-FFF2-40B4-BE49-F238E27FC236}">
                  <a16:creationId xmlns:a16="http://schemas.microsoft.com/office/drawing/2014/main" id="{7E8587F4-6D7C-4E85-A6EB-D2E403493876}"/>
                </a:ext>
              </a:extLst>
            </p:cNvPr>
            <p:cNvSpPr/>
            <p:nvPr/>
          </p:nvSpPr>
          <p:spPr>
            <a:xfrm>
              <a:off x="5526424" y="1648666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1" name="Freihandform: Form 318">
              <a:extLst>
                <a:ext uri="{FF2B5EF4-FFF2-40B4-BE49-F238E27FC236}">
                  <a16:creationId xmlns:a16="http://schemas.microsoft.com/office/drawing/2014/main" id="{ED991AE4-A6A0-4FAC-B087-CC1526AC8F37}"/>
                </a:ext>
              </a:extLst>
            </p:cNvPr>
            <p:cNvSpPr/>
            <p:nvPr/>
          </p:nvSpPr>
          <p:spPr>
            <a:xfrm>
              <a:off x="6342404" y="2243130"/>
              <a:ext cx="2510527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2" name="Freihandform: Form 318">
              <a:extLst>
                <a:ext uri="{FF2B5EF4-FFF2-40B4-BE49-F238E27FC236}">
                  <a16:creationId xmlns:a16="http://schemas.microsoft.com/office/drawing/2014/main" id="{10F54177-63A9-435A-90E1-DD7CB5DBC443}"/>
                </a:ext>
              </a:extLst>
            </p:cNvPr>
            <p:cNvSpPr/>
            <p:nvPr/>
          </p:nvSpPr>
          <p:spPr>
            <a:xfrm>
              <a:off x="6435627" y="2124905"/>
              <a:ext cx="2445639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3" name="Freihandform: Form 318">
              <a:extLst>
                <a:ext uri="{FF2B5EF4-FFF2-40B4-BE49-F238E27FC236}">
                  <a16:creationId xmlns:a16="http://schemas.microsoft.com/office/drawing/2014/main" id="{20E3BE16-D0C4-4FD9-A3AB-44E093DD4679}"/>
                </a:ext>
              </a:extLst>
            </p:cNvPr>
            <p:cNvSpPr/>
            <p:nvPr/>
          </p:nvSpPr>
          <p:spPr>
            <a:xfrm>
              <a:off x="6526505" y="1886882"/>
              <a:ext cx="2386154" cy="70969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4" name="Freihandform: Form 318">
              <a:extLst>
                <a:ext uri="{FF2B5EF4-FFF2-40B4-BE49-F238E27FC236}">
                  <a16:creationId xmlns:a16="http://schemas.microsoft.com/office/drawing/2014/main" id="{75CDD139-4337-46FF-89AE-43378B9BBB41}"/>
                </a:ext>
              </a:extLst>
            </p:cNvPr>
            <p:cNvSpPr/>
            <p:nvPr/>
          </p:nvSpPr>
          <p:spPr>
            <a:xfrm>
              <a:off x="6455042" y="1648666"/>
              <a:ext cx="222397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5" name="Freihandform: Form 321">
              <a:extLst>
                <a:ext uri="{FF2B5EF4-FFF2-40B4-BE49-F238E27FC236}">
                  <a16:creationId xmlns:a16="http://schemas.microsoft.com/office/drawing/2014/main" id="{8552E6C1-3EF7-4F90-BEEA-EE687EE27387}"/>
                </a:ext>
              </a:extLst>
            </p:cNvPr>
            <p:cNvSpPr/>
            <p:nvPr/>
          </p:nvSpPr>
          <p:spPr>
            <a:xfrm>
              <a:off x="6526505" y="1413032"/>
              <a:ext cx="2481580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7500021"/>
      </p:ext>
    </p:extLst>
  </p:cSld>
  <p:clrMapOvr>
    <a:masterClrMapping/>
  </p:clrMapOvr>
  <p:transition spd="slow"/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39A278E-558C-4882-B1A9-EA736DF42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Asia highlighted</a:t>
            </a:r>
            <a:endParaRPr lang="en-US" dirty="0"/>
          </a:p>
        </p:txBody>
      </p:sp>
      <p:sp>
        <p:nvSpPr>
          <p:cNvPr id="300" name="Text Placeholder 29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06" name="Date Placeholder 30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307" name="Footer Placeholder 30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08" name="Slide Number Placeholder 30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8</a:t>
            </a:fld>
            <a:endParaRPr lang="en-US" dirty="0"/>
          </a:p>
        </p:txBody>
      </p:sp>
      <p:grpSp>
        <p:nvGrpSpPr>
          <p:cNvPr id="298" name="Gruppieren 297">
            <a:extLst>
              <a:ext uri="{FF2B5EF4-FFF2-40B4-BE49-F238E27FC236}">
                <a16:creationId xmlns:a16="http://schemas.microsoft.com/office/drawing/2014/main" id="{55A2DFC4-FF78-42B8-9BB9-07C215D790CE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2816"/>
            <a:ext cx="7074679" cy="4248000"/>
            <a:chOff x="566738" y="109537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99B51F1E-81EA-4A71-BABE-BE30AD95E5FD}"/>
                </a:ext>
              </a:extLst>
            </p:cNvPr>
            <p:cNvSpPr/>
            <p:nvPr/>
          </p:nvSpPr>
          <p:spPr>
            <a:xfrm>
              <a:off x="3335742" y="228010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7BAC913D-3914-4C0B-AE72-A72B3940F95A}"/>
                </a:ext>
              </a:extLst>
            </p:cNvPr>
            <p:cNvSpPr/>
            <p:nvPr/>
          </p:nvSpPr>
          <p:spPr>
            <a:xfrm>
              <a:off x="2778240" y="3547081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4742A09-D20C-4FA8-B3DC-EC62CFE1204F}"/>
                </a:ext>
              </a:extLst>
            </p:cNvPr>
            <p:cNvSpPr/>
            <p:nvPr/>
          </p:nvSpPr>
          <p:spPr>
            <a:xfrm>
              <a:off x="2613500" y="3902666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24468207-CD11-457F-90CC-6B274C9900FD}"/>
                </a:ext>
              </a:extLst>
            </p:cNvPr>
            <p:cNvSpPr/>
            <p:nvPr/>
          </p:nvSpPr>
          <p:spPr>
            <a:xfrm>
              <a:off x="2604330" y="4021221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28F80522-366A-4D06-A520-8430A95C4DB6}"/>
                </a:ext>
              </a:extLst>
            </p:cNvPr>
            <p:cNvSpPr/>
            <p:nvPr/>
          </p:nvSpPr>
          <p:spPr>
            <a:xfrm>
              <a:off x="2716028" y="4258333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5B27D8-09FA-475F-BAC9-24200C0C1713}"/>
                </a:ext>
              </a:extLst>
            </p:cNvPr>
            <p:cNvSpPr/>
            <p:nvPr/>
          </p:nvSpPr>
          <p:spPr>
            <a:xfrm>
              <a:off x="2809799" y="4376806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33BF41AD-E624-42A5-AE1F-7567488B8C12}"/>
                </a:ext>
              </a:extLst>
            </p:cNvPr>
            <p:cNvSpPr/>
            <p:nvPr/>
          </p:nvSpPr>
          <p:spPr>
            <a:xfrm>
              <a:off x="2933560" y="4613919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0291EA0-700C-43B3-A063-DBA00DF8CDE6}"/>
                </a:ext>
              </a:extLst>
            </p:cNvPr>
            <p:cNvSpPr/>
            <p:nvPr/>
          </p:nvSpPr>
          <p:spPr>
            <a:xfrm>
              <a:off x="2933560" y="4850948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089C1E5-344E-4736-95E2-11B0C556EA14}"/>
                </a:ext>
              </a:extLst>
            </p:cNvPr>
            <p:cNvSpPr/>
            <p:nvPr/>
          </p:nvSpPr>
          <p:spPr>
            <a:xfrm>
              <a:off x="2933560" y="5088060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6C6CFC8-96C6-416E-BE91-CFE91657B03D}"/>
                </a:ext>
              </a:extLst>
            </p:cNvPr>
            <p:cNvSpPr/>
            <p:nvPr/>
          </p:nvSpPr>
          <p:spPr>
            <a:xfrm>
              <a:off x="2933560" y="5443645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03304534-A1EC-4A2A-8D59-1A5F34701175}"/>
                </a:ext>
              </a:extLst>
            </p:cNvPr>
            <p:cNvSpPr/>
            <p:nvPr/>
          </p:nvSpPr>
          <p:spPr>
            <a:xfrm>
              <a:off x="2933560" y="5325171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F87453E6-1633-4EB1-B379-58AF71270DE2}"/>
                </a:ext>
              </a:extLst>
            </p:cNvPr>
            <p:cNvSpPr/>
            <p:nvPr/>
          </p:nvSpPr>
          <p:spPr>
            <a:xfrm>
              <a:off x="2933560" y="4732474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03AF5010-ECDE-44AC-A04D-A6B66501B40C}"/>
                </a:ext>
              </a:extLst>
            </p:cNvPr>
            <p:cNvSpPr/>
            <p:nvPr/>
          </p:nvSpPr>
          <p:spPr>
            <a:xfrm>
              <a:off x="2933560" y="4969504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0F2F9C54-61EC-4BB0-8F0A-A2E421DABFF1}"/>
                </a:ext>
              </a:extLst>
            </p:cNvPr>
            <p:cNvSpPr/>
            <p:nvPr/>
          </p:nvSpPr>
          <p:spPr>
            <a:xfrm>
              <a:off x="2933560" y="5206615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1E3B090-6868-4040-91C7-7F22CA1F9A7F}"/>
                </a:ext>
              </a:extLst>
            </p:cNvPr>
            <p:cNvSpPr/>
            <p:nvPr/>
          </p:nvSpPr>
          <p:spPr>
            <a:xfrm>
              <a:off x="2933560" y="4495362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72AFBBA8-5DE6-46B2-A3B9-C11CE90281F2}"/>
                </a:ext>
              </a:extLst>
            </p:cNvPr>
            <p:cNvSpPr/>
            <p:nvPr/>
          </p:nvSpPr>
          <p:spPr>
            <a:xfrm>
              <a:off x="2667945" y="4139777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2496B7C4-D3E5-48FC-A8E6-ACE947DA0782}"/>
                </a:ext>
              </a:extLst>
            </p:cNvPr>
            <p:cNvSpPr/>
            <p:nvPr/>
          </p:nvSpPr>
          <p:spPr>
            <a:xfrm>
              <a:off x="2707932" y="3784192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E44BB862-01CA-4FE4-A3EE-BA774CA3A5D2}"/>
                </a:ext>
              </a:extLst>
            </p:cNvPr>
            <p:cNvSpPr/>
            <p:nvPr/>
          </p:nvSpPr>
          <p:spPr>
            <a:xfrm>
              <a:off x="2707932" y="3665636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58BE7AAC-7409-4623-9A5E-5C415BFF0617}"/>
                </a:ext>
              </a:extLst>
            </p:cNvPr>
            <p:cNvSpPr/>
            <p:nvPr/>
          </p:nvSpPr>
          <p:spPr>
            <a:xfrm>
              <a:off x="3105239" y="5799313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78A09A04-6C91-4F2A-ADBD-3A30245A5463}"/>
                </a:ext>
              </a:extLst>
            </p:cNvPr>
            <p:cNvSpPr/>
            <p:nvPr/>
          </p:nvSpPr>
          <p:spPr>
            <a:xfrm>
              <a:off x="3000811" y="5680757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C384E59-093C-4A66-BD87-47A159A6EF4A}"/>
                </a:ext>
              </a:extLst>
            </p:cNvPr>
            <p:cNvSpPr/>
            <p:nvPr/>
          </p:nvSpPr>
          <p:spPr>
            <a:xfrm>
              <a:off x="2933560" y="5562200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33EB72CC-3A01-4FD5-9B14-90D9F80F1553}"/>
                </a:ext>
              </a:extLst>
            </p:cNvPr>
            <p:cNvSpPr/>
            <p:nvPr/>
          </p:nvSpPr>
          <p:spPr>
            <a:xfrm>
              <a:off x="9680425" y="5680757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2FF552E-2AE2-4146-8BC9-1A2504C3223D}"/>
                </a:ext>
              </a:extLst>
            </p:cNvPr>
            <p:cNvSpPr/>
            <p:nvPr/>
          </p:nvSpPr>
          <p:spPr>
            <a:xfrm>
              <a:off x="9794437" y="5562200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9848F2CA-BCA1-4062-BC2F-785486BCBE04}"/>
                </a:ext>
              </a:extLst>
            </p:cNvPr>
            <p:cNvSpPr/>
            <p:nvPr/>
          </p:nvSpPr>
          <p:spPr>
            <a:xfrm>
              <a:off x="9901179" y="5443645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6A936D3D-B3BB-49E0-A3BE-8EB313B22249}"/>
                </a:ext>
              </a:extLst>
            </p:cNvPr>
            <p:cNvSpPr/>
            <p:nvPr/>
          </p:nvSpPr>
          <p:spPr>
            <a:xfrm>
              <a:off x="9982391" y="5443645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2F3A6D9-A7B1-44B0-8E2B-8A8B8B5CC65C}"/>
                </a:ext>
              </a:extLst>
            </p:cNvPr>
            <p:cNvSpPr/>
            <p:nvPr/>
          </p:nvSpPr>
          <p:spPr>
            <a:xfrm>
              <a:off x="9114909" y="5443645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6FBEFCD-9AAD-4072-B63D-F9CE00A58F18}"/>
                </a:ext>
              </a:extLst>
            </p:cNvPr>
            <p:cNvSpPr/>
            <p:nvPr/>
          </p:nvSpPr>
          <p:spPr>
            <a:xfrm>
              <a:off x="9019569" y="5206615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6B75653-2EDD-49F6-B728-7D9622650E33}"/>
                </a:ext>
              </a:extLst>
            </p:cNvPr>
            <p:cNvSpPr/>
            <p:nvPr/>
          </p:nvSpPr>
          <p:spPr>
            <a:xfrm>
              <a:off x="8989827" y="5088060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0979750-2C29-4154-A17C-01996E84084C}"/>
                </a:ext>
              </a:extLst>
            </p:cNvPr>
            <p:cNvSpPr/>
            <p:nvPr/>
          </p:nvSpPr>
          <p:spPr>
            <a:xfrm>
              <a:off x="8896634" y="4969504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0139CDB3-820B-4013-B51B-AE634743FE38}"/>
                </a:ext>
              </a:extLst>
            </p:cNvPr>
            <p:cNvSpPr/>
            <p:nvPr/>
          </p:nvSpPr>
          <p:spPr>
            <a:xfrm>
              <a:off x="8330622" y="4969504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995B2C9-E5B4-4DFA-912C-4B05A1E6529F}"/>
                </a:ext>
              </a:extLst>
            </p:cNvPr>
            <p:cNvSpPr/>
            <p:nvPr/>
          </p:nvSpPr>
          <p:spPr>
            <a:xfrm>
              <a:off x="8330622" y="4732474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BDC3ABD-AAA5-4A6E-9538-5ACB96851298}"/>
                </a:ext>
              </a:extLst>
            </p:cNvPr>
            <p:cNvSpPr/>
            <p:nvPr/>
          </p:nvSpPr>
          <p:spPr>
            <a:xfrm>
              <a:off x="8354829" y="4613919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E823A88-935F-4319-AE64-5E9BF716B25F}"/>
                </a:ext>
              </a:extLst>
            </p:cNvPr>
            <p:cNvSpPr/>
            <p:nvPr/>
          </p:nvSpPr>
          <p:spPr>
            <a:xfrm>
              <a:off x="8589876" y="4495362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59882972-5A43-4F1F-ACB9-D9C9E6D700BD}"/>
                </a:ext>
              </a:extLst>
            </p:cNvPr>
            <p:cNvSpPr/>
            <p:nvPr/>
          </p:nvSpPr>
          <p:spPr>
            <a:xfrm>
              <a:off x="8693313" y="4376806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99A5E06D-ED71-4084-AFDD-5D9B6E2D8FE0}"/>
                </a:ext>
              </a:extLst>
            </p:cNvPr>
            <p:cNvSpPr/>
            <p:nvPr/>
          </p:nvSpPr>
          <p:spPr>
            <a:xfrm>
              <a:off x="9208019" y="4376806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0C437067-4A4D-430F-90EE-0AB7BA47C761}"/>
                </a:ext>
              </a:extLst>
            </p:cNvPr>
            <p:cNvSpPr/>
            <p:nvPr/>
          </p:nvSpPr>
          <p:spPr>
            <a:xfrm>
              <a:off x="9208019" y="4258333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8A744222-9F11-486A-8CC3-B560E7213135}"/>
                </a:ext>
              </a:extLst>
            </p:cNvPr>
            <p:cNvSpPr/>
            <p:nvPr/>
          </p:nvSpPr>
          <p:spPr>
            <a:xfrm>
              <a:off x="8838720" y="4258333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808508A1-7C45-4401-B453-9E0F41E20F16}"/>
                </a:ext>
              </a:extLst>
            </p:cNvPr>
            <p:cNvSpPr/>
            <p:nvPr/>
          </p:nvSpPr>
          <p:spPr>
            <a:xfrm>
              <a:off x="8355160" y="4850948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2DA4FB58-BA6C-4E60-A671-88727EA5151D}"/>
                </a:ext>
              </a:extLst>
            </p:cNvPr>
            <p:cNvSpPr/>
            <p:nvPr/>
          </p:nvSpPr>
          <p:spPr>
            <a:xfrm>
              <a:off x="10018082" y="5206615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8D18917-B1C3-4AE8-B296-F5FA41F5BD6D}"/>
                </a:ext>
              </a:extLst>
            </p:cNvPr>
            <p:cNvSpPr/>
            <p:nvPr/>
          </p:nvSpPr>
          <p:spPr>
            <a:xfrm>
              <a:off x="10001228" y="5325171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8E6F7A6E-82C5-4240-86BE-59FACC117F8C}"/>
                </a:ext>
              </a:extLst>
            </p:cNvPr>
            <p:cNvSpPr/>
            <p:nvPr/>
          </p:nvSpPr>
          <p:spPr>
            <a:xfrm>
              <a:off x="5487842" y="4850948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26D8C997-6BE0-4D6C-9578-BDE3C9A026FA}"/>
                </a:ext>
              </a:extLst>
            </p:cNvPr>
            <p:cNvSpPr/>
            <p:nvPr/>
          </p:nvSpPr>
          <p:spPr>
            <a:xfrm>
              <a:off x="5440997" y="4732474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52AD7C73-4CBF-4EC0-AB44-DCF923D0A513}"/>
                </a:ext>
              </a:extLst>
            </p:cNvPr>
            <p:cNvSpPr/>
            <p:nvPr/>
          </p:nvSpPr>
          <p:spPr>
            <a:xfrm>
              <a:off x="5412659" y="4613919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976B01D1-E4BC-4D32-87AA-30D1BFA33023}"/>
                </a:ext>
              </a:extLst>
            </p:cNvPr>
            <p:cNvSpPr/>
            <p:nvPr/>
          </p:nvSpPr>
          <p:spPr>
            <a:xfrm>
              <a:off x="5374986" y="4495362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EE8E2395-59F6-4E9F-B9EA-35E4C116A08C}"/>
                </a:ext>
              </a:extLst>
            </p:cNvPr>
            <p:cNvSpPr/>
            <p:nvPr/>
          </p:nvSpPr>
          <p:spPr>
            <a:xfrm>
              <a:off x="6297987" y="4495362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57772A79-1A0D-4DF4-917D-D71D3CE453D5}"/>
                </a:ext>
              </a:extLst>
            </p:cNvPr>
            <p:cNvSpPr/>
            <p:nvPr/>
          </p:nvSpPr>
          <p:spPr>
            <a:xfrm>
              <a:off x="6297987" y="4376806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4F4D9D-5110-4B95-9A0F-C8480DAFC0AB}"/>
                </a:ext>
              </a:extLst>
            </p:cNvPr>
            <p:cNvSpPr/>
            <p:nvPr/>
          </p:nvSpPr>
          <p:spPr>
            <a:xfrm>
              <a:off x="6432158" y="4258333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67262AB3-FDF4-4A0B-910F-991779E5BA36}"/>
                </a:ext>
              </a:extLst>
            </p:cNvPr>
            <p:cNvSpPr/>
            <p:nvPr/>
          </p:nvSpPr>
          <p:spPr>
            <a:xfrm>
              <a:off x="6277167" y="4613919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AC787893-656D-45A9-859E-B605CBAD63D3}"/>
                </a:ext>
              </a:extLst>
            </p:cNvPr>
            <p:cNvSpPr/>
            <p:nvPr/>
          </p:nvSpPr>
          <p:spPr>
            <a:xfrm>
              <a:off x="5343096" y="4376806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DCFAC9D-6F47-4D1D-9469-3D118360319E}"/>
                </a:ext>
              </a:extLst>
            </p:cNvPr>
            <p:cNvSpPr/>
            <p:nvPr/>
          </p:nvSpPr>
          <p:spPr>
            <a:xfrm>
              <a:off x="5382339" y="4139777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6E2C5C74-591E-42DE-9B37-525BD4F2ED58}"/>
                </a:ext>
              </a:extLst>
            </p:cNvPr>
            <p:cNvSpPr/>
            <p:nvPr/>
          </p:nvSpPr>
          <p:spPr>
            <a:xfrm>
              <a:off x="5339709" y="4021221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ECC97CFD-F9F4-41F6-A5A2-62B42AE30B7E}"/>
                </a:ext>
              </a:extLst>
            </p:cNvPr>
            <p:cNvSpPr/>
            <p:nvPr/>
          </p:nvSpPr>
          <p:spPr>
            <a:xfrm>
              <a:off x="5261552" y="3902666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DCE22B90-48F1-40F3-96EC-4A5EA0747713}"/>
                </a:ext>
              </a:extLst>
            </p:cNvPr>
            <p:cNvSpPr/>
            <p:nvPr/>
          </p:nvSpPr>
          <p:spPr>
            <a:xfrm>
              <a:off x="5294021" y="3784192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0C0467D7-DABC-428F-9C2F-BC93BFC6E721}"/>
                </a:ext>
              </a:extLst>
            </p:cNvPr>
            <p:cNvSpPr/>
            <p:nvPr/>
          </p:nvSpPr>
          <p:spPr>
            <a:xfrm>
              <a:off x="4621351" y="3665636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3DCB45B-260E-43E9-9352-F1BC41D5929C}"/>
                </a:ext>
              </a:extLst>
            </p:cNvPr>
            <p:cNvSpPr/>
            <p:nvPr/>
          </p:nvSpPr>
          <p:spPr>
            <a:xfrm>
              <a:off x="4517335" y="3547081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5ED549A8-2D1A-4039-A4AF-7D09E55EF4BD}"/>
                </a:ext>
              </a:extLst>
            </p:cNvPr>
            <p:cNvSpPr/>
            <p:nvPr/>
          </p:nvSpPr>
          <p:spPr>
            <a:xfrm>
              <a:off x="4492302" y="3428525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36AD0889-D5E1-43FA-9F39-58555DBB1EA0}"/>
                </a:ext>
              </a:extLst>
            </p:cNvPr>
            <p:cNvSpPr/>
            <p:nvPr/>
          </p:nvSpPr>
          <p:spPr>
            <a:xfrm>
              <a:off x="4492302" y="3191495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EB28EF04-8F91-4E87-8154-D624EA61F83A}"/>
                </a:ext>
              </a:extLst>
            </p:cNvPr>
            <p:cNvSpPr/>
            <p:nvPr/>
          </p:nvSpPr>
          <p:spPr>
            <a:xfrm>
              <a:off x="4591195" y="3072939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83FB109F-A8BA-457F-95F8-12BDE0F43142}"/>
                </a:ext>
              </a:extLst>
            </p:cNvPr>
            <p:cNvSpPr/>
            <p:nvPr/>
          </p:nvSpPr>
          <p:spPr>
            <a:xfrm>
              <a:off x="4703637" y="2954383"/>
              <a:ext cx="1312211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4D1D3C52-0A2D-4E64-829F-D3BF5EC22AFB}"/>
                </a:ext>
              </a:extLst>
            </p:cNvPr>
            <p:cNvSpPr/>
            <p:nvPr/>
          </p:nvSpPr>
          <p:spPr>
            <a:xfrm>
              <a:off x="4809635" y="2835827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B7975E2D-A2DD-463C-88E3-C48236D94A68}"/>
                </a:ext>
              </a:extLst>
            </p:cNvPr>
            <p:cNvSpPr/>
            <p:nvPr/>
          </p:nvSpPr>
          <p:spPr>
            <a:xfrm>
              <a:off x="5043773" y="2717354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0E357126-9133-45F2-8A21-14344A80A1EF}"/>
                </a:ext>
              </a:extLst>
            </p:cNvPr>
            <p:cNvSpPr/>
            <p:nvPr/>
          </p:nvSpPr>
          <p:spPr>
            <a:xfrm>
              <a:off x="4750895" y="2717354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287CCA6E-FB8A-420C-AF34-FD2388AB4AF2}"/>
                </a:ext>
              </a:extLst>
            </p:cNvPr>
            <p:cNvSpPr/>
            <p:nvPr/>
          </p:nvSpPr>
          <p:spPr>
            <a:xfrm>
              <a:off x="5351440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5077955C-82CA-4372-B917-5FDE90883806}"/>
                </a:ext>
              </a:extLst>
            </p:cNvPr>
            <p:cNvSpPr/>
            <p:nvPr/>
          </p:nvSpPr>
          <p:spPr>
            <a:xfrm>
              <a:off x="5581695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7C225A2C-4BDC-4FE3-A4BC-A441A29168F6}"/>
                </a:ext>
              </a:extLst>
            </p:cNvPr>
            <p:cNvSpPr/>
            <p:nvPr/>
          </p:nvSpPr>
          <p:spPr>
            <a:xfrm>
              <a:off x="4527167" y="3309968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A28D378-2277-4224-9E8F-85400ABA4D62}"/>
                </a:ext>
              </a:extLst>
            </p:cNvPr>
            <p:cNvSpPr/>
            <p:nvPr/>
          </p:nvSpPr>
          <p:spPr>
            <a:xfrm>
              <a:off x="5382339" y="4258333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F617B012-73BF-4342-9786-D53CFFBA438F}"/>
                </a:ext>
              </a:extLst>
            </p:cNvPr>
            <p:cNvSpPr/>
            <p:nvPr/>
          </p:nvSpPr>
          <p:spPr>
            <a:xfrm>
              <a:off x="2273778" y="3428525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450A9F7A-6553-4A69-85FD-AD60547C94C0}"/>
                </a:ext>
              </a:extLst>
            </p:cNvPr>
            <p:cNvSpPr/>
            <p:nvPr/>
          </p:nvSpPr>
          <p:spPr>
            <a:xfrm>
              <a:off x="2319134" y="3309968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6441D77D-9505-4A32-83CA-258622A5C11B}"/>
                </a:ext>
              </a:extLst>
            </p:cNvPr>
            <p:cNvSpPr/>
            <p:nvPr/>
          </p:nvSpPr>
          <p:spPr>
            <a:xfrm>
              <a:off x="2861849" y="3309968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5B0AE224-89F0-4AEF-BAB3-7FD7FAA8818E}"/>
                </a:ext>
              </a:extLst>
            </p:cNvPr>
            <p:cNvSpPr/>
            <p:nvPr/>
          </p:nvSpPr>
          <p:spPr>
            <a:xfrm>
              <a:off x="3033527" y="3309968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1FE68199-465C-426E-9E75-61319CABDF5E}"/>
                </a:ext>
              </a:extLst>
            </p:cNvPr>
            <p:cNvSpPr/>
            <p:nvPr/>
          </p:nvSpPr>
          <p:spPr>
            <a:xfrm>
              <a:off x="1957766" y="3309968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2E7E3AD-7D1E-45D7-A441-6016F5B811FC}"/>
                </a:ext>
              </a:extLst>
            </p:cNvPr>
            <p:cNvSpPr/>
            <p:nvPr/>
          </p:nvSpPr>
          <p:spPr>
            <a:xfrm>
              <a:off x="1902496" y="3191495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A4E66E39-996A-48A1-A12A-A404F5660286}"/>
                </a:ext>
              </a:extLst>
            </p:cNvPr>
            <p:cNvSpPr/>
            <p:nvPr/>
          </p:nvSpPr>
          <p:spPr>
            <a:xfrm>
              <a:off x="2533279" y="3191495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B77C66DE-B1DA-4FC2-8DCA-4D65437FC161}"/>
                </a:ext>
              </a:extLst>
            </p:cNvPr>
            <p:cNvSpPr/>
            <p:nvPr/>
          </p:nvSpPr>
          <p:spPr>
            <a:xfrm>
              <a:off x="2609039" y="3072939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6D446EE0-66CD-4C0E-9B93-CE0612121A1C}"/>
                </a:ext>
              </a:extLst>
            </p:cNvPr>
            <p:cNvSpPr/>
            <p:nvPr/>
          </p:nvSpPr>
          <p:spPr>
            <a:xfrm>
              <a:off x="1831610" y="3072939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A21EA188-CE2A-4149-B9DF-3AA4B67CB79A}"/>
                </a:ext>
              </a:extLst>
            </p:cNvPr>
            <p:cNvSpPr/>
            <p:nvPr/>
          </p:nvSpPr>
          <p:spPr>
            <a:xfrm>
              <a:off x="1744201" y="2954383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EFCE0811-BEB0-4F28-B41D-478EC1622A5F}"/>
                </a:ext>
              </a:extLst>
            </p:cNvPr>
            <p:cNvSpPr/>
            <p:nvPr/>
          </p:nvSpPr>
          <p:spPr>
            <a:xfrm>
              <a:off x="1617961" y="2835827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8430EE13-7ACB-40E5-B3E4-11BC1C1B36FA}"/>
                </a:ext>
              </a:extLst>
            </p:cNvPr>
            <p:cNvSpPr/>
            <p:nvPr/>
          </p:nvSpPr>
          <p:spPr>
            <a:xfrm>
              <a:off x="1510724" y="2717354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4ED78539-13AB-4CCB-BE60-D4DE781DD2FE}"/>
                </a:ext>
              </a:extLst>
            </p:cNvPr>
            <p:cNvSpPr/>
            <p:nvPr/>
          </p:nvSpPr>
          <p:spPr>
            <a:xfrm>
              <a:off x="1479495" y="2598798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12F12E7-EDA6-440B-A02B-FDB56AAFD03B}"/>
                </a:ext>
              </a:extLst>
            </p:cNvPr>
            <p:cNvSpPr/>
            <p:nvPr/>
          </p:nvSpPr>
          <p:spPr>
            <a:xfrm>
              <a:off x="1479495" y="2480242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CC62578F-4CE2-4884-B594-B38911CF6F0B}"/>
                </a:ext>
              </a:extLst>
            </p:cNvPr>
            <p:cNvSpPr/>
            <p:nvPr/>
          </p:nvSpPr>
          <p:spPr>
            <a:xfrm>
              <a:off x="1479495" y="2361687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077BEB9D-C417-473D-8974-18D4D8F58B10}"/>
                </a:ext>
              </a:extLst>
            </p:cNvPr>
            <p:cNvSpPr/>
            <p:nvPr/>
          </p:nvSpPr>
          <p:spPr>
            <a:xfrm>
              <a:off x="1479495" y="1887545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3BE85ED2-957A-4896-A65A-78FCF977985B}"/>
                </a:ext>
              </a:extLst>
            </p:cNvPr>
            <p:cNvSpPr/>
            <p:nvPr/>
          </p:nvSpPr>
          <p:spPr>
            <a:xfrm>
              <a:off x="1479495" y="1768989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E14EC9A-56AA-4239-BBA8-DE319AB060C4}"/>
                </a:ext>
              </a:extLst>
            </p:cNvPr>
            <p:cNvSpPr/>
            <p:nvPr/>
          </p:nvSpPr>
          <p:spPr>
            <a:xfrm>
              <a:off x="1450578" y="1650516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20E5739F-4B75-48CC-A5EC-6BE75F2E5802}"/>
                </a:ext>
              </a:extLst>
            </p:cNvPr>
            <p:cNvSpPr/>
            <p:nvPr/>
          </p:nvSpPr>
          <p:spPr>
            <a:xfrm>
              <a:off x="1371348" y="1531960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D3C70353-CF78-4A41-81B2-D4BE2E5B9C7C}"/>
                </a:ext>
              </a:extLst>
            </p:cNvPr>
            <p:cNvSpPr/>
            <p:nvPr/>
          </p:nvSpPr>
          <p:spPr>
            <a:xfrm>
              <a:off x="752048" y="1531960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8BE21677-9547-4974-8A89-5C70CDA50CAB}"/>
                </a:ext>
              </a:extLst>
            </p:cNvPr>
            <p:cNvSpPr/>
            <p:nvPr/>
          </p:nvSpPr>
          <p:spPr>
            <a:xfrm>
              <a:off x="566738" y="1650516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ECB9AF13-69B6-4F3E-AD09-D8D26819C5ED}"/>
                </a:ext>
              </a:extLst>
            </p:cNvPr>
            <p:cNvSpPr/>
            <p:nvPr/>
          </p:nvSpPr>
          <p:spPr>
            <a:xfrm>
              <a:off x="785343" y="1413404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C1E42BDC-9674-496C-9BE0-6EB9D395B71B}"/>
                </a:ext>
              </a:extLst>
            </p:cNvPr>
            <p:cNvSpPr/>
            <p:nvPr/>
          </p:nvSpPr>
          <p:spPr>
            <a:xfrm>
              <a:off x="1261385" y="1413404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D3C51B06-7E11-4ADC-86F3-0FA5664E6C36}"/>
                </a:ext>
              </a:extLst>
            </p:cNvPr>
            <p:cNvSpPr/>
            <p:nvPr/>
          </p:nvSpPr>
          <p:spPr>
            <a:xfrm>
              <a:off x="745852" y="1294848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9151F708-C3AE-4E26-A21F-197463656B4E}"/>
                </a:ext>
              </a:extLst>
            </p:cNvPr>
            <p:cNvSpPr/>
            <p:nvPr/>
          </p:nvSpPr>
          <p:spPr>
            <a:xfrm>
              <a:off x="745852" y="1176293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6656EF04-4E62-4E83-BF57-4BF540EA77A2}"/>
                </a:ext>
              </a:extLst>
            </p:cNvPr>
            <p:cNvSpPr/>
            <p:nvPr/>
          </p:nvSpPr>
          <p:spPr>
            <a:xfrm>
              <a:off x="983625" y="1057819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720BA02B-4656-4166-BA5C-8FAFFA8E01F4}"/>
                </a:ext>
              </a:extLst>
            </p:cNvPr>
            <p:cNvSpPr/>
            <p:nvPr/>
          </p:nvSpPr>
          <p:spPr>
            <a:xfrm>
              <a:off x="854824" y="939263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CBB6771F-2666-4A2C-9B48-D66B4523DFCE}"/>
                </a:ext>
              </a:extLst>
            </p:cNvPr>
            <p:cNvSpPr/>
            <p:nvPr/>
          </p:nvSpPr>
          <p:spPr>
            <a:xfrm>
              <a:off x="2270803" y="939263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4E499519-17D8-4446-BF36-07B70F936C8B}"/>
                </a:ext>
              </a:extLst>
            </p:cNvPr>
            <p:cNvSpPr/>
            <p:nvPr/>
          </p:nvSpPr>
          <p:spPr>
            <a:xfrm>
              <a:off x="2739905" y="939263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ADEAFA3C-BB2B-4DEA-815A-CD45D34850D3}"/>
                </a:ext>
              </a:extLst>
            </p:cNvPr>
            <p:cNvSpPr/>
            <p:nvPr/>
          </p:nvSpPr>
          <p:spPr>
            <a:xfrm>
              <a:off x="2764194" y="820707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3EFA169-28AE-462A-8895-DED6A670EDFF}"/>
                </a:ext>
              </a:extLst>
            </p:cNvPr>
            <p:cNvSpPr/>
            <p:nvPr/>
          </p:nvSpPr>
          <p:spPr>
            <a:xfrm>
              <a:off x="3054016" y="702151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B0DC4F37-8B7A-41F0-A80D-4830BB4A9C98}"/>
                </a:ext>
              </a:extLst>
            </p:cNvPr>
            <p:cNvSpPr/>
            <p:nvPr/>
          </p:nvSpPr>
          <p:spPr>
            <a:xfrm>
              <a:off x="2495358" y="583677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54B9A701-26A3-4D81-8CD8-6863EAB6A3E4}"/>
                </a:ext>
              </a:extLst>
            </p:cNvPr>
            <p:cNvSpPr/>
            <p:nvPr/>
          </p:nvSpPr>
          <p:spPr>
            <a:xfrm>
              <a:off x="2832850" y="583677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BBE0925D-6335-4BC1-9851-2FF42D5514AA}"/>
                </a:ext>
              </a:extLst>
            </p:cNvPr>
            <p:cNvSpPr/>
            <p:nvPr/>
          </p:nvSpPr>
          <p:spPr>
            <a:xfrm>
              <a:off x="3026918" y="583677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64653161-665D-4D33-9F0F-981F830AEB38}"/>
                </a:ext>
              </a:extLst>
            </p:cNvPr>
            <p:cNvSpPr/>
            <p:nvPr/>
          </p:nvSpPr>
          <p:spPr>
            <a:xfrm>
              <a:off x="2436369" y="465122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FD0F350F-F1E8-4CC1-AC28-A03DE6C1D381}"/>
                </a:ext>
              </a:extLst>
            </p:cNvPr>
            <p:cNvSpPr/>
            <p:nvPr/>
          </p:nvSpPr>
          <p:spPr>
            <a:xfrm>
              <a:off x="2763533" y="346566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B72384F8-2A8F-491F-A7AB-8F19F84D9CC2}"/>
                </a:ext>
              </a:extLst>
            </p:cNvPr>
            <p:cNvSpPr/>
            <p:nvPr/>
          </p:nvSpPr>
          <p:spPr>
            <a:xfrm>
              <a:off x="2946201" y="346566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122C1DD8-B0C3-4C06-94D4-7BEB4B46FD2E}"/>
                </a:ext>
              </a:extLst>
            </p:cNvPr>
            <p:cNvSpPr/>
            <p:nvPr/>
          </p:nvSpPr>
          <p:spPr>
            <a:xfrm>
              <a:off x="3167946" y="346566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F8ED3A58-47E1-4207-8BAE-D955697819F5}"/>
                </a:ext>
              </a:extLst>
            </p:cNvPr>
            <p:cNvSpPr/>
            <p:nvPr/>
          </p:nvSpPr>
          <p:spPr>
            <a:xfrm>
              <a:off x="3252215" y="228010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79D0A494-92F7-4765-9579-B22D0492ED33}"/>
                </a:ext>
              </a:extLst>
            </p:cNvPr>
            <p:cNvSpPr/>
            <p:nvPr/>
          </p:nvSpPr>
          <p:spPr>
            <a:xfrm>
              <a:off x="3374406" y="228010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73C04E87-F3F0-4AD9-A105-8B01798288CA}"/>
                </a:ext>
              </a:extLst>
            </p:cNvPr>
            <p:cNvSpPr/>
            <p:nvPr/>
          </p:nvSpPr>
          <p:spPr>
            <a:xfrm>
              <a:off x="3581281" y="109537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10C0048B-9880-46B5-99CE-ECD63376E2F1}"/>
                </a:ext>
              </a:extLst>
            </p:cNvPr>
            <p:cNvSpPr/>
            <p:nvPr/>
          </p:nvSpPr>
          <p:spPr>
            <a:xfrm>
              <a:off x="2946201" y="465122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951C491E-0EB1-4BEF-BE11-723F20E2F7B8}"/>
                </a:ext>
              </a:extLst>
            </p:cNvPr>
            <p:cNvSpPr/>
            <p:nvPr/>
          </p:nvSpPr>
          <p:spPr>
            <a:xfrm>
              <a:off x="3167946" y="465122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9EB5D164-549A-4E8C-8299-81E5E003322F}"/>
                </a:ext>
              </a:extLst>
            </p:cNvPr>
            <p:cNvSpPr/>
            <p:nvPr/>
          </p:nvSpPr>
          <p:spPr>
            <a:xfrm>
              <a:off x="3201984" y="820707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E23D36F2-BA93-4713-8804-83E51E245D69}"/>
                </a:ext>
              </a:extLst>
            </p:cNvPr>
            <p:cNvSpPr/>
            <p:nvPr/>
          </p:nvSpPr>
          <p:spPr>
            <a:xfrm>
              <a:off x="2739905" y="1057819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2EA40020-8706-468F-A39C-0FDB6FFEAF0C}"/>
                </a:ext>
              </a:extLst>
            </p:cNvPr>
            <p:cNvSpPr/>
            <p:nvPr/>
          </p:nvSpPr>
          <p:spPr>
            <a:xfrm>
              <a:off x="2947275" y="1057819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003F39B-D48D-41D1-A113-A1DD6A58E93D}"/>
                </a:ext>
              </a:extLst>
            </p:cNvPr>
            <p:cNvSpPr/>
            <p:nvPr/>
          </p:nvSpPr>
          <p:spPr>
            <a:xfrm>
              <a:off x="2982387" y="939263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55CB697B-7BC1-4BD5-B1FB-F2493BC1961F}"/>
                </a:ext>
              </a:extLst>
            </p:cNvPr>
            <p:cNvSpPr/>
            <p:nvPr/>
          </p:nvSpPr>
          <p:spPr>
            <a:xfrm>
              <a:off x="2739905" y="1176293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3F172F42-E20F-4C66-8E0C-CE4B8484D7CD}"/>
                </a:ext>
              </a:extLst>
            </p:cNvPr>
            <p:cNvSpPr/>
            <p:nvPr/>
          </p:nvSpPr>
          <p:spPr>
            <a:xfrm>
              <a:off x="2991723" y="1176293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964CD08F-D25B-4482-8DAD-89F0B34D572B}"/>
                </a:ext>
              </a:extLst>
            </p:cNvPr>
            <p:cNvSpPr/>
            <p:nvPr/>
          </p:nvSpPr>
          <p:spPr>
            <a:xfrm>
              <a:off x="3200993" y="1176293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8111C292-0424-454E-B092-5345D4D1D922}"/>
                </a:ext>
              </a:extLst>
            </p:cNvPr>
            <p:cNvSpPr/>
            <p:nvPr/>
          </p:nvSpPr>
          <p:spPr>
            <a:xfrm>
              <a:off x="3262212" y="1294848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E8C79116-77F8-4BC5-B488-3D931A5FC550}"/>
                </a:ext>
              </a:extLst>
            </p:cNvPr>
            <p:cNvSpPr/>
            <p:nvPr/>
          </p:nvSpPr>
          <p:spPr>
            <a:xfrm>
              <a:off x="3190005" y="1531960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80D56C22-2893-48A8-99DF-3EFB595B7220}"/>
                </a:ext>
              </a:extLst>
            </p:cNvPr>
            <p:cNvSpPr/>
            <p:nvPr/>
          </p:nvSpPr>
          <p:spPr>
            <a:xfrm>
              <a:off x="3190831" y="1413404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209F8739-943C-4D45-904B-6CA039350AF4}"/>
                </a:ext>
              </a:extLst>
            </p:cNvPr>
            <p:cNvSpPr/>
            <p:nvPr/>
          </p:nvSpPr>
          <p:spPr>
            <a:xfrm>
              <a:off x="2270803" y="820707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B59714EA-2237-4D82-88E2-89590B9E7DA2}"/>
                </a:ext>
              </a:extLst>
            </p:cNvPr>
            <p:cNvSpPr/>
            <p:nvPr/>
          </p:nvSpPr>
          <p:spPr>
            <a:xfrm>
              <a:off x="2207601" y="702151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1AC4032D-FB94-4D37-B21C-DD8ADA393189}"/>
                </a:ext>
              </a:extLst>
            </p:cNvPr>
            <p:cNvSpPr/>
            <p:nvPr/>
          </p:nvSpPr>
          <p:spPr>
            <a:xfrm>
              <a:off x="1043275" y="820707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558127AF-476B-4B0C-9DEA-84F1DB370A3B}"/>
                </a:ext>
              </a:extLst>
            </p:cNvPr>
            <p:cNvSpPr/>
            <p:nvPr/>
          </p:nvSpPr>
          <p:spPr>
            <a:xfrm>
              <a:off x="1043275" y="702151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11A4ABDE-4FAA-435B-A9E0-8FAEF4FD0EE6}"/>
                </a:ext>
              </a:extLst>
            </p:cNvPr>
            <p:cNvSpPr/>
            <p:nvPr/>
          </p:nvSpPr>
          <p:spPr>
            <a:xfrm>
              <a:off x="1237922" y="583677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AE36ED26-DAEF-4F0D-A68D-1F7261AEA230}"/>
                </a:ext>
              </a:extLst>
            </p:cNvPr>
            <p:cNvSpPr/>
            <p:nvPr/>
          </p:nvSpPr>
          <p:spPr>
            <a:xfrm>
              <a:off x="2971316" y="1887545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306AB7E5-AD29-48C4-8007-17870A041DBB}"/>
                </a:ext>
              </a:extLst>
            </p:cNvPr>
            <p:cNvSpPr/>
            <p:nvPr/>
          </p:nvSpPr>
          <p:spPr>
            <a:xfrm>
              <a:off x="2971316" y="1768989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22034A48-A73B-45CA-A111-3B50D2171D07}"/>
                </a:ext>
              </a:extLst>
            </p:cNvPr>
            <p:cNvSpPr/>
            <p:nvPr/>
          </p:nvSpPr>
          <p:spPr>
            <a:xfrm>
              <a:off x="3018656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F867EE99-A137-486A-87AF-3D5DCC497590}"/>
                </a:ext>
              </a:extLst>
            </p:cNvPr>
            <p:cNvSpPr/>
            <p:nvPr/>
          </p:nvSpPr>
          <p:spPr>
            <a:xfrm>
              <a:off x="3743872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09CB7CCD-434F-4433-BB32-B6ED5FD98BB2}"/>
                </a:ext>
              </a:extLst>
            </p:cNvPr>
            <p:cNvSpPr/>
            <p:nvPr/>
          </p:nvSpPr>
          <p:spPr>
            <a:xfrm>
              <a:off x="3718425" y="1531960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4487B489-BAA1-4942-88F0-3FB68D17808B}"/>
                </a:ext>
              </a:extLst>
            </p:cNvPr>
            <p:cNvSpPr/>
            <p:nvPr/>
          </p:nvSpPr>
          <p:spPr>
            <a:xfrm>
              <a:off x="4414146" y="1531960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3CC5092B-4047-4B90-A14A-D744AD97DFCB}"/>
                </a:ext>
              </a:extLst>
            </p:cNvPr>
            <p:cNvSpPr/>
            <p:nvPr/>
          </p:nvSpPr>
          <p:spPr>
            <a:xfrm>
              <a:off x="3718425" y="1413404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75E90BA6-C916-408B-AD00-A36ED0D46338}"/>
                </a:ext>
              </a:extLst>
            </p:cNvPr>
            <p:cNvSpPr/>
            <p:nvPr/>
          </p:nvSpPr>
          <p:spPr>
            <a:xfrm>
              <a:off x="3718425" y="1294848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2679DBE1-0EF3-4692-81B5-6D5FC1418ACC}"/>
                </a:ext>
              </a:extLst>
            </p:cNvPr>
            <p:cNvSpPr/>
            <p:nvPr/>
          </p:nvSpPr>
          <p:spPr>
            <a:xfrm>
              <a:off x="3718425" y="1365155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46EF0F75-5216-4EB2-8EB4-F5F077BD8904}"/>
                </a:ext>
              </a:extLst>
            </p:cNvPr>
            <p:cNvSpPr/>
            <p:nvPr/>
          </p:nvSpPr>
          <p:spPr>
            <a:xfrm>
              <a:off x="3718425" y="1176293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F1255AD2-D96F-47B0-8B81-D29CF67CCF36}"/>
                </a:ext>
              </a:extLst>
            </p:cNvPr>
            <p:cNvSpPr/>
            <p:nvPr/>
          </p:nvSpPr>
          <p:spPr>
            <a:xfrm>
              <a:off x="3752711" y="1057819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069B4012-1471-46C8-B95C-A603FC4570FE}"/>
                </a:ext>
              </a:extLst>
            </p:cNvPr>
            <p:cNvSpPr/>
            <p:nvPr/>
          </p:nvSpPr>
          <p:spPr>
            <a:xfrm>
              <a:off x="3540715" y="702151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CC74C802-4C0B-41E8-8582-FF71C5EF5B22}"/>
                </a:ext>
              </a:extLst>
            </p:cNvPr>
            <p:cNvSpPr/>
            <p:nvPr/>
          </p:nvSpPr>
          <p:spPr>
            <a:xfrm>
              <a:off x="5192897" y="702151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E271EA8E-A8CE-4C63-8C35-8A273C8EA3E9}"/>
                </a:ext>
              </a:extLst>
            </p:cNvPr>
            <p:cNvSpPr/>
            <p:nvPr/>
          </p:nvSpPr>
          <p:spPr>
            <a:xfrm>
              <a:off x="5333264" y="583677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AAD79B14-C9DB-418A-AE20-ECD08878F2CE}"/>
                </a:ext>
              </a:extLst>
            </p:cNvPr>
            <p:cNvSpPr/>
            <p:nvPr/>
          </p:nvSpPr>
          <p:spPr>
            <a:xfrm>
              <a:off x="5273862" y="820707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FF78BB21-A857-4C61-9BD4-E5774FCCE4B9}"/>
                </a:ext>
              </a:extLst>
            </p:cNvPr>
            <p:cNvSpPr/>
            <p:nvPr/>
          </p:nvSpPr>
          <p:spPr>
            <a:xfrm>
              <a:off x="3540715" y="583677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747C61A5-77D1-4812-AD38-2CD2D3143498}"/>
                </a:ext>
              </a:extLst>
            </p:cNvPr>
            <p:cNvSpPr/>
            <p:nvPr/>
          </p:nvSpPr>
          <p:spPr>
            <a:xfrm>
              <a:off x="3737509" y="465122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E2907F0F-2E4D-495A-8812-0CF5D8F6DA25}"/>
                </a:ext>
              </a:extLst>
            </p:cNvPr>
            <p:cNvSpPr/>
            <p:nvPr/>
          </p:nvSpPr>
          <p:spPr>
            <a:xfrm>
              <a:off x="3807156" y="346566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79B37E0D-9E12-447F-A902-F6DD3A35FD47}"/>
                </a:ext>
              </a:extLst>
            </p:cNvPr>
            <p:cNvSpPr/>
            <p:nvPr/>
          </p:nvSpPr>
          <p:spPr>
            <a:xfrm>
              <a:off x="4239576" y="228010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FA87829C-03D3-4544-9398-EF3CF20256BC}"/>
                </a:ext>
              </a:extLst>
            </p:cNvPr>
            <p:cNvSpPr/>
            <p:nvPr/>
          </p:nvSpPr>
          <p:spPr>
            <a:xfrm>
              <a:off x="3752711" y="820707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ECF89FC1-D3F0-4F4A-9361-18E78CD7925C}"/>
                </a:ext>
              </a:extLst>
            </p:cNvPr>
            <p:cNvSpPr/>
            <p:nvPr/>
          </p:nvSpPr>
          <p:spPr>
            <a:xfrm>
              <a:off x="3752711" y="939263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17A0E393-0458-43E2-A99B-B1EED3D24040}"/>
                </a:ext>
              </a:extLst>
            </p:cNvPr>
            <p:cNvSpPr/>
            <p:nvPr/>
          </p:nvSpPr>
          <p:spPr>
            <a:xfrm>
              <a:off x="3834420" y="1768989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FE7821FE-F63B-4190-B549-9536C5341E2A}"/>
                </a:ext>
              </a:extLst>
            </p:cNvPr>
            <p:cNvSpPr/>
            <p:nvPr/>
          </p:nvSpPr>
          <p:spPr>
            <a:xfrm>
              <a:off x="3288980" y="1768989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80AFA06A-18EE-4110-91EF-B0E2483ECB9C}"/>
                </a:ext>
              </a:extLst>
            </p:cNvPr>
            <p:cNvSpPr/>
            <p:nvPr/>
          </p:nvSpPr>
          <p:spPr>
            <a:xfrm>
              <a:off x="1544844" y="2243130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2E5699B8-25E6-4D89-AE23-115023DE41BA}"/>
                </a:ext>
              </a:extLst>
            </p:cNvPr>
            <p:cNvSpPr/>
            <p:nvPr/>
          </p:nvSpPr>
          <p:spPr>
            <a:xfrm>
              <a:off x="3386386" y="2243130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FE2DB545-AEED-415C-AEA9-BD2CC5C3E5FC}"/>
                </a:ext>
              </a:extLst>
            </p:cNvPr>
            <p:cNvSpPr/>
            <p:nvPr/>
          </p:nvSpPr>
          <p:spPr>
            <a:xfrm>
              <a:off x="1544844" y="2124657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615E8248-7037-4100-97AB-A4B304C4643B}"/>
                </a:ext>
              </a:extLst>
            </p:cNvPr>
            <p:cNvSpPr/>
            <p:nvPr/>
          </p:nvSpPr>
          <p:spPr>
            <a:xfrm>
              <a:off x="2886881" y="2006101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FA82395D-5D28-4F73-9BFF-F444F9DC6491}"/>
                </a:ext>
              </a:extLst>
            </p:cNvPr>
            <p:cNvSpPr/>
            <p:nvPr/>
          </p:nvSpPr>
          <p:spPr>
            <a:xfrm>
              <a:off x="1544844" y="2006101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128E0D75-7FE9-443F-94C0-97B154CFC309}"/>
                </a:ext>
              </a:extLst>
            </p:cNvPr>
            <p:cNvSpPr/>
            <p:nvPr/>
          </p:nvSpPr>
          <p:spPr>
            <a:xfrm>
              <a:off x="1667284" y="2954383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0663011B-FF61-4DF4-998D-2E0CBB500F71}"/>
                </a:ext>
              </a:extLst>
            </p:cNvPr>
            <p:cNvSpPr/>
            <p:nvPr/>
          </p:nvSpPr>
          <p:spPr>
            <a:xfrm>
              <a:off x="2609039" y="2954383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39F250D2-783B-4232-8071-3AB8E1438AC3}"/>
                </a:ext>
              </a:extLst>
            </p:cNvPr>
            <p:cNvSpPr/>
            <p:nvPr/>
          </p:nvSpPr>
          <p:spPr>
            <a:xfrm>
              <a:off x="1723381" y="3072939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9D0C01F7-4FDB-440E-8372-537195D17F6C}"/>
                </a:ext>
              </a:extLst>
            </p:cNvPr>
            <p:cNvSpPr/>
            <p:nvPr/>
          </p:nvSpPr>
          <p:spPr>
            <a:xfrm>
              <a:off x="7253044" y="3547081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A85995DD-E879-4F27-8A4E-57FEF8705572}"/>
                </a:ext>
              </a:extLst>
            </p:cNvPr>
            <p:cNvSpPr/>
            <p:nvPr/>
          </p:nvSpPr>
          <p:spPr>
            <a:xfrm>
              <a:off x="7195956" y="3428525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1AD95C66-D740-431B-BA0F-9A92576BD0CF}"/>
                </a:ext>
              </a:extLst>
            </p:cNvPr>
            <p:cNvSpPr/>
            <p:nvPr/>
          </p:nvSpPr>
          <p:spPr>
            <a:xfrm>
              <a:off x="6269567" y="3428525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1C8F99BE-9FCB-48BD-B9BF-3928CD5118A0}"/>
                </a:ext>
              </a:extLst>
            </p:cNvPr>
            <p:cNvSpPr/>
            <p:nvPr/>
          </p:nvSpPr>
          <p:spPr>
            <a:xfrm>
              <a:off x="7156960" y="3309968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965BF4F6-E5FF-4F4A-B2ED-2A6584E16BDA}"/>
                </a:ext>
              </a:extLst>
            </p:cNvPr>
            <p:cNvSpPr/>
            <p:nvPr/>
          </p:nvSpPr>
          <p:spPr>
            <a:xfrm>
              <a:off x="6211735" y="3309968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02EFA056-DF7D-407B-8E71-859E62D40E05}"/>
                </a:ext>
              </a:extLst>
            </p:cNvPr>
            <p:cNvSpPr/>
            <p:nvPr/>
          </p:nvSpPr>
          <p:spPr>
            <a:xfrm>
              <a:off x="6134901" y="3191495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DDED454E-179B-432C-99E7-E8FD25FDC349}"/>
                </a:ext>
              </a:extLst>
            </p:cNvPr>
            <p:cNvSpPr/>
            <p:nvPr/>
          </p:nvSpPr>
          <p:spPr>
            <a:xfrm>
              <a:off x="6055010" y="3072939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6A92810C-7484-425A-8DE7-0D0BADD367B6}"/>
                </a:ext>
              </a:extLst>
            </p:cNvPr>
            <p:cNvSpPr/>
            <p:nvPr/>
          </p:nvSpPr>
          <p:spPr>
            <a:xfrm>
              <a:off x="6015849" y="2835827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E8125997-DD35-40CE-9F1F-55BD31E49682}"/>
                </a:ext>
              </a:extLst>
            </p:cNvPr>
            <p:cNvSpPr/>
            <p:nvPr/>
          </p:nvSpPr>
          <p:spPr>
            <a:xfrm>
              <a:off x="5751804" y="2717354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D49F4EDB-744C-4079-99FF-65BE651B18CE}"/>
                </a:ext>
              </a:extLst>
            </p:cNvPr>
            <p:cNvSpPr/>
            <p:nvPr/>
          </p:nvSpPr>
          <p:spPr>
            <a:xfrm>
              <a:off x="8778905" y="2717354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11DA6A2C-19FE-4EAE-BB21-EB2E75C05DB2}"/>
                </a:ext>
              </a:extLst>
            </p:cNvPr>
            <p:cNvSpPr/>
            <p:nvPr/>
          </p:nvSpPr>
          <p:spPr>
            <a:xfrm>
              <a:off x="7791627" y="3309968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C73D0A7E-8391-4D36-9957-396E7F6D189C}"/>
                </a:ext>
              </a:extLst>
            </p:cNvPr>
            <p:cNvSpPr/>
            <p:nvPr/>
          </p:nvSpPr>
          <p:spPr>
            <a:xfrm>
              <a:off x="8226607" y="3309968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66E4C7BA-CCBC-48C9-9EFD-BADEB0ACB48A}"/>
                </a:ext>
              </a:extLst>
            </p:cNvPr>
            <p:cNvSpPr/>
            <p:nvPr/>
          </p:nvSpPr>
          <p:spPr>
            <a:xfrm>
              <a:off x="7918032" y="3428525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534B9213-35D8-45DC-A647-51F6102355C3}"/>
                </a:ext>
              </a:extLst>
            </p:cNvPr>
            <p:cNvSpPr/>
            <p:nvPr/>
          </p:nvSpPr>
          <p:spPr>
            <a:xfrm>
              <a:off x="8089462" y="3547081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931D79D0-AB61-41F0-98DB-330F12B0F494}"/>
                </a:ext>
              </a:extLst>
            </p:cNvPr>
            <p:cNvSpPr/>
            <p:nvPr/>
          </p:nvSpPr>
          <p:spPr>
            <a:xfrm>
              <a:off x="7938851" y="3547081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9849F426-22AC-478E-8105-D474DE7BE164}"/>
                </a:ext>
              </a:extLst>
            </p:cNvPr>
            <p:cNvSpPr/>
            <p:nvPr/>
          </p:nvSpPr>
          <p:spPr>
            <a:xfrm>
              <a:off x="7982308" y="3665636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CCBEF507-E0BE-4CB4-8E13-56BBC5CC1565}"/>
                </a:ext>
              </a:extLst>
            </p:cNvPr>
            <p:cNvSpPr/>
            <p:nvPr/>
          </p:nvSpPr>
          <p:spPr>
            <a:xfrm>
              <a:off x="8060298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2FBEFA5D-419F-4F43-8AAD-2E6E767CBB37}"/>
                </a:ext>
              </a:extLst>
            </p:cNvPr>
            <p:cNvSpPr/>
            <p:nvPr/>
          </p:nvSpPr>
          <p:spPr>
            <a:xfrm>
              <a:off x="8367966" y="3784192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30629959-1270-4E3B-8B85-3DE0C6AF81DE}"/>
                </a:ext>
              </a:extLst>
            </p:cNvPr>
            <p:cNvSpPr/>
            <p:nvPr/>
          </p:nvSpPr>
          <p:spPr>
            <a:xfrm>
              <a:off x="8265602" y="3902666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76C7609B-1BD7-49A9-B24A-58EDF5021ED0}"/>
                </a:ext>
              </a:extLst>
            </p:cNvPr>
            <p:cNvSpPr/>
            <p:nvPr/>
          </p:nvSpPr>
          <p:spPr>
            <a:xfrm>
              <a:off x="8384489" y="4021221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50B0AC9F-14C9-448C-91DF-0C0A96A5EBD6}"/>
                </a:ext>
              </a:extLst>
            </p:cNvPr>
            <p:cNvSpPr/>
            <p:nvPr/>
          </p:nvSpPr>
          <p:spPr>
            <a:xfrm>
              <a:off x="8554268" y="4021221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C20A04A4-1E79-40F0-84C3-09CBE16E1F31}"/>
                </a:ext>
              </a:extLst>
            </p:cNvPr>
            <p:cNvSpPr/>
            <p:nvPr/>
          </p:nvSpPr>
          <p:spPr>
            <a:xfrm>
              <a:off x="9018742" y="4021221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BCF2FC22-5680-4826-B504-8BE4EC940747}"/>
                </a:ext>
              </a:extLst>
            </p:cNvPr>
            <p:cNvSpPr/>
            <p:nvPr/>
          </p:nvSpPr>
          <p:spPr>
            <a:xfrm>
              <a:off x="9134076" y="4139777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D042CE50-6750-4138-B98C-EF2BF58FEF83}"/>
                </a:ext>
              </a:extLst>
            </p:cNvPr>
            <p:cNvSpPr/>
            <p:nvPr/>
          </p:nvSpPr>
          <p:spPr>
            <a:xfrm>
              <a:off x="9384159" y="4139777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EDDA1AF7-DCA1-471C-B355-9477B3778CA8}"/>
                </a:ext>
              </a:extLst>
            </p:cNvPr>
            <p:cNvSpPr/>
            <p:nvPr/>
          </p:nvSpPr>
          <p:spPr>
            <a:xfrm>
              <a:off x="9545180" y="4021221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688F4D0F-D82A-4CBE-A8D9-B9F31AE75FD1}"/>
                </a:ext>
              </a:extLst>
            </p:cNvPr>
            <p:cNvSpPr/>
            <p:nvPr/>
          </p:nvSpPr>
          <p:spPr>
            <a:xfrm>
              <a:off x="8920015" y="3902666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6F50E5A3-9615-4349-A525-3A1EB6E8902F}"/>
                </a:ext>
              </a:extLst>
            </p:cNvPr>
            <p:cNvSpPr/>
            <p:nvPr/>
          </p:nvSpPr>
          <p:spPr>
            <a:xfrm>
              <a:off x="8920015" y="3900517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B8B06600-C6D2-46F7-AFBF-CCD370F5A68E}"/>
                </a:ext>
              </a:extLst>
            </p:cNvPr>
            <p:cNvSpPr/>
            <p:nvPr/>
          </p:nvSpPr>
          <p:spPr>
            <a:xfrm>
              <a:off x="8574344" y="3902666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A562407B-2AE0-4C94-B75B-042DB842AAAD}"/>
                </a:ext>
              </a:extLst>
            </p:cNvPr>
            <p:cNvSpPr/>
            <p:nvPr/>
          </p:nvSpPr>
          <p:spPr>
            <a:xfrm>
              <a:off x="8047410" y="4021221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70C3992C-573A-4197-A733-5D39AB2772B4}"/>
                </a:ext>
              </a:extLst>
            </p:cNvPr>
            <p:cNvSpPr/>
            <p:nvPr/>
          </p:nvSpPr>
          <p:spPr>
            <a:xfrm>
              <a:off x="7989826" y="3902666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789EE400-EDDC-450D-B901-03030C216DDA}"/>
                </a:ext>
              </a:extLst>
            </p:cNvPr>
            <p:cNvSpPr/>
            <p:nvPr/>
          </p:nvSpPr>
          <p:spPr>
            <a:xfrm>
              <a:off x="8481399" y="3665636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89610B47-8BF7-4D7C-915B-426EDB951A21}"/>
                </a:ext>
              </a:extLst>
            </p:cNvPr>
            <p:cNvSpPr/>
            <p:nvPr/>
          </p:nvSpPr>
          <p:spPr>
            <a:xfrm>
              <a:off x="8679020" y="3665636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56311E4F-C77C-46D8-879E-885F7856F2C3}"/>
                </a:ext>
              </a:extLst>
            </p:cNvPr>
            <p:cNvSpPr/>
            <p:nvPr/>
          </p:nvSpPr>
          <p:spPr>
            <a:xfrm>
              <a:off x="8651095" y="3547081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6C9AC07D-3DEA-4C9D-83F8-10A1E0A5E552}"/>
                </a:ext>
              </a:extLst>
            </p:cNvPr>
            <p:cNvSpPr/>
            <p:nvPr/>
          </p:nvSpPr>
          <p:spPr>
            <a:xfrm>
              <a:off x="8582110" y="3428525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1B595402-914A-4621-BC37-1ED3FAEC6C76}"/>
                </a:ext>
              </a:extLst>
            </p:cNvPr>
            <p:cNvSpPr/>
            <p:nvPr/>
          </p:nvSpPr>
          <p:spPr>
            <a:xfrm>
              <a:off x="8582110" y="3309968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FB57ABE8-F104-466E-9D34-C9C2FE90BD50}"/>
                </a:ext>
              </a:extLst>
            </p:cNvPr>
            <p:cNvSpPr/>
            <p:nvPr/>
          </p:nvSpPr>
          <p:spPr>
            <a:xfrm>
              <a:off x="8544849" y="3072939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9CE7BD87-98C4-4985-A836-8EA65C4A64FB}"/>
                </a:ext>
              </a:extLst>
            </p:cNvPr>
            <p:cNvSpPr/>
            <p:nvPr/>
          </p:nvSpPr>
          <p:spPr>
            <a:xfrm>
              <a:off x="6561785" y="3072939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3BA0D0F0-0BD9-4A42-A187-49ECE975532E}"/>
                </a:ext>
              </a:extLst>
            </p:cNvPr>
            <p:cNvSpPr/>
            <p:nvPr/>
          </p:nvSpPr>
          <p:spPr>
            <a:xfrm>
              <a:off x="6483380" y="2954383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7B88D2E7-FFFE-448A-ADB0-9756FA305811}"/>
                </a:ext>
              </a:extLst>
            </p:cNvPr>
            <p:cNvSpPr/>
            <p:nvPr/>
          </p:nvSpPr>
          <p:spPr>
            <a:xfrm>
              <a:off x="7921584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A455D7ED-3AC6-40EA-8D0A-23E3D1626893}"/>
                </a:ext>
              </a:extLst>
            </p:cNvPr>
            <p:cNvSpPr/>
            <p:nvPr/>
          </p:nvSpPr>
          <p:spPr>
            <a:xfrm>
              <a:off x="7716362" y="3191495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4EE458C4-0C39-40CC-A627-7F8C537C7026}"/>
                </a:ext>
              </a:extLst>
            </p:cNvPr>
            <p:cNvSpPr/>
            <p:nvPr/>
          </p:nvSpPr>
          <p:spPr>
            <a:xfrm>
              <a:off x="7034934" y="3191495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507E734E-E7B6-4CA3-9E12-E41E8F40ABA8}"/>
                </a:ext>
              </a:extLst>
            </p:cNvPr>
            <p:cNvSpPr/>
            <p:nvPr/>
          </p:nvSpPr>
          <p:spPr>
            <a:xfrm>
              <a:off x="7391346" y="3665636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2F6E8A64-9DC6-4603-99D0-F24077519781}"/>
                </a:ext>
              </a:extLst>
            </p:cNvPr>
            <p:cNvSpPr/>
            <p:nvPr/>
          </p:nvSpPr>
          <p:spPr>
            <a:xfrm>
              <a:off x="5824838" y="465122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BEB6695C-F201-412F-81E4-571A0936A2D3}"/>
                </a:ext>
              </a:extLst>
            </p:cNvPr>
            <p:cNvSpPr/>
            <p:nvPr/>
          </p:nvSpPr>
          <p:spPr>
            <a:xfrm>
              <a:off x="5989577" y="465122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2A2D5237-3471-4232-B336-F33D6D6A1162}"/>
                </a:ext>
              </a:extLst>
            </p:cNvPr>
            <p:cNvSpPr/>
            <p:nvPr/>
          </p:nvSpPr>
          <p:spPr>
            <a:xfrm>
              <a:off x="6098962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7C165C68-88BA-4841-BF47-FDDDD2EC2D32}"/>
                </a:ext>
              </a:extLst>
            </p:cNvPr>
            <p:cNvSpPr/>
            <p:nvPr/>
          </p:nvSpPr>
          <p:spPr>
            <a:xfrm>
              <a:off x="6697112" y="346566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008C0AE4-7DD6-4CEE-9E15-9B0906DD4A50}"/>
                </a:ext>
              </a:extLst>
            </p:cNvPr>
            <p:cNvSpPr/>
            <p:nvPr/>
          </p:nvSpPr>
          <p:spPr>
            <a:xfrm>
              <a:off x="6940255" y="346566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65B196AC-5297-4511-9C98-5AB6DFEBF774}"/>
                </a:ext>
              </a:extLst>
            </p:cNvPr>
            <p:cNvSpPr/>
            <p:nvPr/>
          </p:nvSpPr>
          <p:spPr>
            <a:xfrm>
              <a:off x="6940255" y="465122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F7892654-F48A-4544-B181-CB05ED8FD6AE}"/>
                </a:ext>
              </a:extLst>
            </p:cNvPr>
            <p:cNvSpPr/>
            <p:nvPr/>
          </p:nvSpPr>
          <p:spPr>
            <a:xfrm>
              <a:off x="7050549" y="583677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BF5D0D11-7C04-4659-A2B2-29C9BF981005}"/>
                </a:ext>
              </a:extLst>
            </p:cNvPr>
            <p:cNvSpPr/>
            <p:nvPr/>
          </p:nvSpPr>
          <p:spPr>
            <a:xfrm>
              <a:off x="6891924" y="702151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865B1404-38D9-4D3F-A7B2-32F6123F9B5D}"/>
                </a:ext>
              </a:extLst>
            </p:cNvPr>
            <p:cNvSpPr/>
            <p:nvPr/>
          </p:nvSpPr>
          <p:spPr>
            <a:xfrm>
              <a:off x="6829465" y="820707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06B2EBA5-4FF5-4F41-BF98-1D2AB6DC22DD}"/>
                </a:ext>
              </a:extLst>
            </p:cNvPr>
            <p:cNvSpPr/>
            <p:nvPr/>
          </p:nvSpPr>
          <p:spPr>
            <a:xfrm>
              <a:off x="6772128" y="939263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89A0666A-55FC-45FA-8FD4-D7C36C649C36}"/>
                </a:ext>
              </a:extLst>
            </p:cNvPr>
            <p:cNvSpPr/>
            <p:nvPr/>
          </p:nvSpPr>
          <p:spPr>
            <a:xfrm>
              <a:off x="6656877" y="1057819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2D829674-851A-47E1-9BCC-5828C85333E5}"/>
                </a:ext>
              </a:extLst>
            </p:cNvPr>
            <p:cNvSpPr/>
            <p:nvPr/>
          </p:nvSpPr>
          <p:spPr>
            <a:xfrm>
              <a:off x="6530721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A54FE6B7-C03D-4FDE-942E-9C213FEA84A9}"/>
                </a:ext>
              </a:extLst>
            </p:cNvPr>
            <p:cNvSpPr/>
            <p:nvPr/>
          </p:nvSpPr>
          <p:spPr>
            <a:xfrm>
              <a:off x="6163569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9B74F00D-8B02-4A71-B4B1-CBF24836FF49}"/>
                </a:ext>
              </a:extLst>
            </p:cNvPr>
            <p:cNvSpPr/>
            <p:nvPr/>
          </p:nvSpPr>
          <p:spPr>
            <a:xfrm>
              <a:off x="6204960" y="1176293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5B451E53-1CEC-4D17-9E91-A899F142D387}"/>
                </a:ext>
              </a:extLst>
            </p:cNvPr>
            <p:cNvSpPr/>
            <p:nvPr/>
          </p:nvSpPr>
          <p:spPr>
            <a:xfrm>
              <a:off x="6163569" y="939263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364B8887-FB8A-471A-ADAF-7BB40F44CEBA}"/>
                </a:ext>
              </a:extLst>
            </p:cNvPr>
            <p:cNvSpPr/>
            <p:nvPr/>
          </p:nvSpPr>
          <p:spPr>
            <a:xfrm>
              <a:off x="6239494" y="820707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92F66886-23BF-47C4-A97B-D1A1AAF04259}"/>
                </a:ext>
              </a:extLst>
            </p:cNvPr>
            <p:cNvSpPr/>
            <p:nvPr/>
          </p:nvSpPr>
          <p:spPr>
            <a:xfrm>
              <a:off x="6346318" y="702151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0A661BA9-18A9-4079-86B8-A2891A4574F3}"/>
                </a:ext>
              </a:extLst>
            </p:cNvPr>
            <p:cNvSpPr/>
            <p:nvPr/>
          </p:nvSpPr>
          <p:spPr>
            <a:xfrm>
              <a:off x="9184804" y="1176293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047ABED-3CC7-4A35-B030-FBE6C99699C0}"/>
                </a:ext>
              </a:extLst>
            </p:cNvPr>
            <p:cNvSpPr/>
            <p:nvPr/>
          </p:nvSpPr>
          <p:spPr>
            <a:xfrm>
              <a:off x="6713057" y="1176293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830810F3-62C2-4B82-B640-0C2BE95F69C7}"/>
                </a:ext>
              </a:extLst>
            </p:cNvPr>
            <p:cNvSpPr/>
            <p:nvPr/>
          </p:nvSpPr>
          <p:spPr>
            <a:xfrm>
              <a:off x="6779481" y="1294848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01DAF016-040C-45C5-9550-42B97C805A34}"/>
                </a:ext>
              </a:extLst>
            </p:cNvPr>
            <p:cNvSpPr/>
            <p:nvPr/>
          </p:nvSpPr>
          <p:spPr>
            <a:xfrm>
              <a:off x="9175715" y="1294848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805866DE-807C-4A60-A2B0-9901A4C97FF9}"/>
                </a:ext>
              </a:extLst>
            </p:cNvPr>
            <p:cNvSpPr/>
            <p:nvPr/>
          </p:nvSpPr>
          <p:spPr>
            <a:xfrm>
              <a:off x="9129367" y="1531960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EE02BE80-061B-4C43-9350-EFFFD7F2741F}"/>
                </a:ext>
              </a:extLst>
            </p:cNvPr>
            <p:cNvSpPr/>
            <p:nvPr/>
          </p:nvSpPr>
          <p:spPr>
            <a:xfrm>
              <a:off x="6331075" y="1533438"/>
              <a:ext cx="2381322" cy="71819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7FEE2CD7-1B14-47BE-986B-FCB5B008C93D}"/>
                </a:ext>
              </a:extLst>
            </p:cNvPr>
            <p:cNvSpPr/>
            <p:nvPr/>
          </p:nvSpPr>
          <p:spPr>
            <a:xfrm>
              <a:off x="9129367" y="1650516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4B2AC052-BD69-4BF6-8F31-F69CCE367690}"/>
                </a:ext>
              </a:extLst>
            </p:cNvPr>
            <p:cNvSpPr/>
            <p:nvPr/>
          </p:nvSpPr>
          <p:spPr>
            <a:xfrm>
              <a:off x="9215124" y="1768989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DD1A93BB-9806-4DD6-926F-B21F59E663A3}"/>
                </a:ext>
              </a:extLst>
            </p:cNvPr>
            <p:cNvSpPr/>
            <p:nvPr/>
          </p:nvSpPr>
          <p:spPr>
            <a:xfrm>
              <a:off x="9175715" y="1413404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BA662BCE-3C28-4F7A-8FBC-58C963185FC1}"/>
                </a:ext>
              </a:extLst>
            </p:cNvPr>
            <p:cNvSpPr/>
            <p:nvPr/>
          </p:nvSpPr>
          <p:spPr>
            <a:xfrm>
              <a:off x="6026589" y="1413404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550FBD18-181D-46EA-A801-A1D0EDD2F656}"/>
                </a:ext>
              </a:extLst>
            </p:cNvPr>
            <p:cNvSpPr/>
            <p:nvPr/>
          </p:nvSpPr>
          <p:spPr>
            <a:xfrm>
              <a:off x="5357388" y="1413404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6ADEDB14-2B88-4AB8-8D86-9BBDE6D24FCE}"/>
                </a:ext>
              </a:extLst>
            </p:cNvPr>
            <p:cNvSpPr/>
            <p:nvPr/>
          </p:nvSpPr>
          <p:spPr>
            <a:xfrm>
              <a:off x="5293113" y="1531960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4FDB3CBC-FE17-4A17-8E46-69AFD16BC656}"/>
                </a:ext>
              </a:extLst>
            </p:cNvPr>
            <p:cNvSpPr/>
            <p:nvPr/>
          </p:nvSpPr>
          <p:spPr>
            <a:xfrm>
              <a:off x="5217269" y="1650516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8801C0A2-8670-404C-8FCA-77F3E6D565EA}"/>
                </a:ext>
              </a:extLst>
            </p:cNvPr>
            <p:cNvSpPr/>
            <p:nvPr/>
          </p:nvSpPr>
          <p:spPr>
            <a:xfrm>
              <a:off x="5112593" y="1768989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A3F43FFB-9A42-45C1-8167-3DE6B1A8A604}"/>
                </a:ext>
              </a:extLst>
            </p:cNvPr>
            <p:cNvSpPr/>
            <p:nvPr/>
          </p:nvSpPr>
          <p:spPr>
            <a:xfrm>
              <a:off x="5112593" y="1887545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BD6C0198-B9DB-4F5C-ACAF-61B233D498BF}"/>
                </a:ext>
              </a:extLst>
            </p:cNvPr>
            <p:cNvSpPr/>
            <p:nvPr/>
          </p:nvSpPr>
          <p:spPr>
            <a:xfrm>
              <a:off x="4823432" y="1887545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6B48B535-677F-4024-9E13-D7FED1E1F7CD}"/>
                </a:ext>
              </a:extLst>
            </p:cNvPr>
            <p:cNvSpPr/>
            <p:nvPr/>
          </p:nvSpPr>
          <p:spPr>
            <a:xfrm>
              <a:off x="4779893" y="2006101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E460D276-2FA7-4EF2-B657-163F5CA74422}"/>
                </a:ext>
              </a:extLst>
            </p:cNvPr>
            <p:cNvSpPr/>
            <p:nvPr/>
          </p:nvSpPr>
          <p:spPr>
            <a:xfrm>
              <a:off x="5207190" y="2006101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002FAF74-1E55-4ADC-8FB5-7A29E699558F}"/>
                </a:ext>
              </a:extLst>
            </p:cNvPr>
            <p:cNvSpPr/>
            <p:nvPr/>
          </p:nvSpPr>
          <p:spPr>
            <a:xfrm>
              <a:off x="5326820" y="2006101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D094549D-A52F-4BBC-89E2-FBD0462C8CF1}"/>
                </a:ext>
              </a:extLst>
            </p:cNvPr>
            <p:cNvSpPr/>
            <p:nvPr/>
          </p:nvSpPr>
          <p:spPr>
            <a:xfrm>
              <a:off x="4874408" y="2124657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AB632838-624E-4235-A6C9-F31441277F1F}"/>
                </a:ext>
              </a:extLst>
            </p:cNvPr>
            <p:cNvSpPr/>
            <p:nvPr/>
          </p:nvSpPr>
          <p:spPr>
            <a:xfrm>
              <a:off x="4724375" y="2124657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9C5B7931-5001-4272-8EA4-E6516B76AE89}"/>
                </a:ext>
              </a:extLst>
            </p:cNvPr>
            <p:cNvSpPr/>
            <p:nvPr/>
          </p:nvSpPr>
          <p:spPr>
            <a:xfrm>
              <a:off x="5276011" y="1887545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5D9C6A72-4555-4F63-995F-E4EA294E76A5}"/>
                </a:ext>
              </a:extLst>
            </p:cNvPr>
            <p:cNvSpPr/>
            <p:nvPr/>
          </p:nvSpPr>
          <p:spPr>
            <a:xfrm>
              <a:off x="6455042" y="1768245"/>
              <a:ext cx="2224473" cy="71052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06A33E30-347D-4D93-94FE-584B6E33FD3C}"/>
                </a:ext>
              </a:extLst>
            </p:cNvPr>
            <p:cNvSpPr/>
            <p:nvPr/>
          </p:nvSpPr>
          <p:spPr>
            <a:xfrm>
              <a:off x="6526506" y="2004250"/>
              <a:ext cx="2354761" cy="72075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D577E04E-7304-4A9B-9C24-D440C4ECE529}"/>
                </a:ext>
              </a:extLst>
            </p:cNvPr>
            <p:cNvSpPr/>
            <p:nvPr/>
          </p:nvSpPr>
          <p:spPr>
            <a:xfrm>
              <a:off x="6465040" y="2361687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14B8917D-7D25-43EE-BE93-44340D2482C0}"/>
                </a:ext>
              </a:extLst>
            </p:cNvPr>
            <p:cNvSpPr/>
            <p:nvPr/>
          </p:nvSpPr>
          <p:spPr>
            <a:xfrm>
              <a:off x="6048152" y="2361687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D41C1874-5C35-4F91-A137-19B9CBDDF2C5}"/>
                </a:ext>
              </a:extLst>
            </p:cNvPr>
            <p:cNvSpPr/>
            <p:nvPr/>
          </p:nvSpPr>
          <p:spPr>
            <a:xfrm>
              <a:off x="4937692" y="2361687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96EB3AFC-1199-4DD2-8DB3-14EEE845BF72}"/>
                </a:ext>
              </a:extLst>
            </p:cNvPr>
            <p:cNvSpPr/>
            <p:nvPr/>
          </p:nvSpPr>
          <p:spPr>
            <a:xfrm>
              <a:off x="4750647" y="2480242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7083B338-CB62-4FBB-BAE8-399E64D910F9}"/>
                </a:ext>
              </a:extLst>
            </p:cNvPr>
            <p:cNvSpPr/>
            <p:nvPr/>
          </p:nvSpPr>
          <p:spPr>
            <a:xfrm>
              <a:off x="5280554" y="2480242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3D2E6D59-9E04-4C99-A773-12B5BAD78635}"/>
                </a:ext>
              </a:extLst>
            </p:cNvPr>
            <p:cNvSpPr/>
            <p:nvPr/>
          </p:nvSpPr>
          <p:spPr>
            <a:xfrm>
              <a:off x="5444963" y="2480242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882BA15F-2677-41DA-A087-74E2AD85A0D8}"/>
                </a:ext>
              </a:extLst>
            </p:cNvPr>
            <p:cNvSpPr/>
            <p:nvPr/>
          </p:nvSpPr>
          <p:spPr>
            <a:xfrm>
              <a:off x="6125812" y="2480242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BE84D1A2-4E5C-4801-AE08-48957BE48503}"/>
                </a:ext>
              </a:extLst>
            </p:cNvPr>
            <p:cNvSpPr/>
            <p:nvPr/>
          </p:nvSpPr>
          <p:spPr>
            <a:xfrm>
              <a:off x="6465040" y="2480242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3D9B640B-E877-4BB4-9F2C-6D7BF3018125}"/>
                </a:ext>
              </a:extLst>
            </p:cNvPr>
            <p:cNvSpPr/>
            <p:nvPr/>
          </p:nvSpPr>
          <p:spPr>
            <a:xfrm>
              <a:off x="6492964" y="2598798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FA20127E-F987-4C2D-81D0-E4FDBB56BC14}"/>
                </a:ext>
              </a:extLst>
            </p:cNvPr>
            <p:cNvSpPr/>
            <p:nvPr/>
          </p:nvSpPr>
          <p:spPr>
            <a:xfrm>
              <a:off x="4750647" y="2598798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5DE0949D-481B-49F6-ACD8-764975D8C82B}"/>
                </a:ext>
              </a:extLst>
            </p:cNvPr>
            <p:cNvSpPr/>
            <p:nvPr/>
          </p:nvSpPr>
          <p:spPr>
            <a:xfrm>
              <a:off x="5228588" y="2598798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0D8B2B66-40D3-4392-ADD5-B15945DE2529}"/>
                </a:ext>
              </a:extLst>
            </p:cNvPr>
            <p:cNvSpPr/>
            <p:nvPr/>
          </p:nvSpPr>
          <p:spPr>
            <a:xfrm>
              <a:off x="540629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B44AF34F-ED95-454B-8510-670F116F3082}"/>
                </a:ext>
              </a:extLst>
            </p:cNvPr>
            <p:cNvSpPr/>
            <p:nvPr/>
          </p:nvSpPr>
          <p:spPr>
            <a:xfrm>
              <a:off x="555748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A6C9EA23-643D-41C6-A1C9-594E25751FA3}"/>
                </a:ext>
              </a:extLst>
            </p:cNvPr>
            <p:cNvSpPr/>
            <p:nvPr/>
          </p:nvSpPr>
          <p:spPr>
            <a:xfrm>
              <a:off x="5753126" y="2598798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5C3B5CEE-5E11-4277-8A98-2B60EDBA7160}"/>
                </a:ext>
              </a:extLst>
            </p:cNvPr>
            <p:cNvSpPr/>
            <p:nvPr/>
          </p:nvSpPr>
          <p:spPr>
            <a:xfrm>
              <a:off x="8931251" y="2006101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4FE833D7-B2D2-4575-B041-49390B1EB54A}"/>
                </a:ext>
              </a:extLst>
            </p:cNvPr>
            <p:cNvSpPr/>
            <p:nvPr/>
          </p:nvSpPr>
          <p:spPr>
            <a:xfrm>
              <a:off x="8931251" y="1996187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424A2EEF-1FCB-4811-A648-BCB2AF280EC9}"/>
                </a:ext>
              </a:extLst>
            </p:cNvPr>
            <p:cNvSpPr/>
            <p:nvPr/>
          </p:nvSpPr>
          <p:spPr>
            <a:xfrm>
              <a:off x="8931251" y="2124657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14E322B-4588-4F1B-8A69-83C72B55A0C3}"/>
                </a:ext>
              </a:extLst>
            </p:cNvPr>
            <p:cNvSpPr/>
            <p:nvPr/>
          </p:nvSpPr>
          <p:spPr>
            <a:xfrm>
              <a:off x="8977599" y="2243130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558CBBAA-C0BF-4E21-AA36-AC344A1BE335}"/>
                </a:ext>
              </a:extLst>
            </p:cNvPr>
            <p:cNvSpPr/>
            <p:nvPr/>
          </p:nvSpPr>
          <p:spPr>
            <a:xfrm>
              <a:off x="8977599" y="2234951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6451BB79-6C47-476D-8ED1-EA9066FB5B04}"/>
                </a:ext>
              </a:extLst>
            </p:cNvPr>
            <p:cNvSpPr/>
            <p:nvPr/>
          </p:nvSpPr>
          <p:spPr>
            <a:xfrm>
              <a:off x="8960415" y="2361687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98235F36-CB94-442F-9C1C-20020615556F}"/>
                </a:ext>
              </a:extLst>
            </p:cNvPr>
            <p:cNvSpPr/>
            <p:nvPr/>
          </p:nvSpPr>
          <p:spPr>
            <a:xfrm>
              <a:off x="8985200" y="2480242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E4F4209B-9B6C-4416-906C-1701D32F3CAC}"/>
                </a:ext>
              </a:extLst>
            </p:cNvPr>
            <p:cNvSpPr/>
            <p:nvPr/>
          </p:nvSpPr>
          <p:spPr>
            <a:xfrm>
              <a:off x="8931251" y="2598798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8C4692DB-DF69-43C3-BF43-9D8D68FBD997}"/>
                </a:ext>
              </a:extLst>
            </p:cNvPr>
            <p:cNvSpPr/>
            <p:nvPr/>
          </p:nvSpPr>
          <p:spPr>
            <a:xfrm>
              <a:off x="8643495" y="2598798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3109506E-CA70-439C-B1C7-AE238126A3B2}"/>
                </a:ext>
              </a:extLst>
            </p:cNvPr>
            <p:cNvSpPr/>
            <p:nvPr/>
          </p:nvSpPr>
          <p:spPr>
            <a:xfrm>
              <a:off x="8495196" y="2480242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7723500C-B760-44C8-8645-F342CAF41113}"/>
                </a:ext>
              </a:extLst>
            </p:cNvPr>
            <p:cNvSpPr/>
            <p:nvPr/>
          </p:nvSpPr>
          <p:spPr>
            <a:xfrm>
              <a:off x="5604993" y="1531960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10BA1DAD-AD7A-40E8-95D6-9416CB2996D7}"/>
                </a:ext>
              </a:extLst>
            </p:cNvPr>
            <p:cNvSpPr/>
            <p:nvPr/>
          </p:nvSpPr>
          <p:spPr>
            <a:xfrm>
              <a:off x="6406712" y="1294848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E1F2C388-1995-430B-B6A8-B78CA9FD35CD}"/>
                </a:ext>
              </a:extLst>
            </p:cNvPr>
            <p:cNvSpPr/>
            <p:nvPr/>
          </p:nvSpPr>
          <p:spPr>
            <a:xfrm>
              <a:off x="5425961" y="1294848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463FB540-9595-4591-A762-D1EA18AB9739}"/>
                </a:ext>
              </a:extLst>
            </p:cNvPr>
            <p:cNvSpPr/>
            <p:nvPr/>
          </p:nvSpPr>
          <p:spPr>
            <a:xfrm>
              <a:off x="6530721" y="1176293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49B8BC1B-18EA-4CC2-AA82-342DDDD06645}"/>
                </a:ext>
              </a:extLst>
            </p:cNvPr>
            <p:cNvSpPr/>
            <p:nvPr/>
          </p:nvSpPr>
          <p:spPr>
            <a:xfrm>
              <a:off x="8103508" y="583677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4733E3D5-E999-4EF4-B845-DD29D787E253}"/>
                </a:ext>
              </a:extLst>
            </p:cNvPr>
            <p:cNvSpPr/>
            <p:nvPr/>
          </p:nvSpPr>
          <p:spPr>
            <a:xfrm>
              <a:off x="7699508" y="702151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E150545D-D499-4A2F-B9AB-38785D68E70A}"/>
                </a:ext>
              </a:extLst>
            </p:cNvPr>
            <p:cNvSpPr/>
            <p:nvPr/>
          </p:nvSpPr>
          <p:spPr>
            <a:xfrm>
              <a:off x="7491148" y="702151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C8CF68FA-3D77-4C4A-95BD-E9503E28A5B2}"/>
                </a:ext>
              </a:extLst>
            </p:cNvPr>
            <p:cNvSpPr/>
            <p:nvPr/>
          </p:nvSpPr>
          <p:spPr>
            <a:xfrm>
              <a:off x="8549228" y="583677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03EAEEAF-A3F7-4566-9578-A5A16160550F}"/>
                </a:ext>
              </a:extLst>
            </p:cNvPr>
            <p:cNvSpPr/>
            <p:nvPr/>
          </p:nvSpPr>
          <p:spPr>
            <a:xfrm>
              <a:off x="8885729" y="583677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58F30554-988B-4A25-9364-87CC60098AEB}"/>
                </a:ext>
              </a:extLst>
            </p:cNvPr>
            <p:cNvSpPr/>
            <p:nvPr/>
          </p:nvSpPr>
          <p:spPr>
            <a:xfrm>
              <a:off x="8103508" y="702151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F0EF164F-C577-459C-A5EB-FAC5F126C4B9}"/>
                </a:ext>
              </a:extLst>
            </p:cNvPr>
            <p:cNvSpPr/>
            <p:nvPr/>
          </p:nvSpPr>
          <p:spPr>
            <a:xfrm>
              <a:off x="7050549" y="465122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066B1A0F-36FE-42D0-A92A-B4FB185D43AD}"/>
                </a:ext>
              </a:extLst>
            </p:cNvPr>
            <p:cNvSpPr/>
            <p:nvPr/>
          </p:nvSpPr>
          <p:spPr>
            <a:xfrm>
              <a:off x="7842106" y="346566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65E0A5DC-DBF5-4D31-84BA-06E8281A0D46}"/>
                </a:ext>
              </a:extLst>
            </p:cNvPr>
            <p:cNvSpPr/>
            <p:nvPr/>
          </p:nvSpPr>
          <p:spPr>
            <a:xfrm>
              <a:off x="8091114" y="346566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88FDBEC5-EBED-4417-BB05-BEE733988C7C}"/>
                </a:ext>
              </a:extLst>
            </p:cNvPr>
            <p:cNvSpPr/>
            <p:nvPr/>
          </p:nvSpPr>
          <p:spPr>
            <a:xfrm>
              <a:off x="6665635" y="228010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9B4AD3D1-129B-4CA0-ACF0-22C00B05C7BD}"/>
                </a:ext>
              </a:extLst>
            </p:cNvPr>
            <p:cNvSpPr/>
            <p:nvPr/>
          </p:nvSpPr>
          <p:spPr>
            <a:xfrm>
              <a:off x="5989577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318">
              <a:extLst>
                <a:ext uri="{FF2B5EF4-FFF2-40B4-BE49-F238E27FC236}">
                  <a16:creationId xmlns:a16="http://schemas.microsoft.com/office/drawing/2014/main" id="{99F1498E-1FEC-44DB-98EF-23E02E15A0E5}"/>
                </a:ext>
              </a:extLst>
            </p:cNvPr>
            <p:cNvSpPr/>
            <p:nvPr/>
          </p:nvSpPr>
          <p:spPr>
            <a:xfrm>
              <a:off x="5024606" y="2243130"/>
              <a:ext cx="1321134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318">
              <a:extLst>
                <a:ext uri="{FF2B5EF4-FFF2-40B4-BE49-F238E27FC236}">
                  <a16:creationId xmlns:a16="http://schemas.microsoft.com/office/drawing/2014/main" id="{A5C6D3AC-4733-4DE9-B80F-8F6F4E6A5919}"/>
                </a:ext>
              </a:extLst>
            </p:cNvPr>
            <p:cNvSpPr/>
            <p:nvPr/>
          </p:nvSpPr>
          <p:spPr>
            <a:xfrm>
              <a:off x="5121310" y="2124989"/>
              <a:ext cx="1314317" cy="69892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318">
              <a:extLst>
                <a:ext uri="{FF2B5EF4-FFF2-40B4-BE49-F238E27FC236}">
                  <a16:creationId xmlns:a16="http://schemas.microsoft.com/office/drawing/2014/main" id="{96E9DE33-AB99-4C19-A547-DC1B08343DFB}"/>
                </a:ext>
              </a:extLst>
            </p:cNvPr>
            <p:cNvSpPr/>
            <p:nvPr/>
          </p:nvSpPr>
          <p:spPr>
            <a:xfrm>
              <a:off x="5540231" y="2004250"/>
              <a:ext cx="986275" cy="72114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318">
              <a:extLst>
                <a:ext uri="{FF2B5EF4-FFF2-40B4-BE49-F238E27FC236}">
                  <a16:creationId xmlns:a16="http://schemas.microsoft.com/office/drawing/2014/main" id="{FCEDC65C-8CDC-4F21-AF87-8D4BFD9E3BDA}"/>
                </a:ext>
              </a:extLst>
            </p:cNvPr>
            <p:cNvSpPr/>
            <p:nvPr/>
          </p:nvSpPr>
          <p:spPr>
            <a:xfrm>
              <a:off x="5596567" y="1886882"/>
              <a:ext cx="929939" cy="70969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318">
              <a:extLst>
                <a:ext uri="{FF2B5EF4-FFF2-40B4-BE49-F238E27FC236}">
                  <a16:creationId xmlns:a16="http://schemas.microsoft.com/office/drawing/2014/main" id="{D558F471-C488-45A0-9DD4-83BD8E17A832}"/>
                </a:ext>
              </a:extLst>
            </p:cNvPr>
            <p:cNvSpPr/>
            <p:nvPr/>
          </p:nvSpPr>
          <p:spPr>
            <a:xfrm>
              <a:off x="5529292" y="1768658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ihandform: Form 321">
              <a:extLst>
                <a:ext uri="{FF2B5EF4-FFF2-40B4-BE49-F238E27FC236}">
                  <a16:creationId xmlns:a16="http://schemas.microsoft.com/office/drawing/2014/main" id="{4D5A7CC4-EDAC-4C67-A35F-67FCCE44E224}"/>
                </a:ext>
              </a:extLst>
            </p:cNvPr>
            <p:cNvSpPr/>
            <p:nvPr/>
          </p:nvSpPr>
          <p:spPr>
            <a:xfrm>
              <a:off x="6153159" y="1413032"/>
              <a:ext cx="373346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9" name="Freihandform: Form 321">
              <a:extLst>
                <a:ext uri="{FF2B5EF4-FFF2-40B4-BE49-F238E27FC236}">
                  <a16:creationId xmlns:a16="http://schemas.microsoft.com/office/drawing/2014/main" id="{DFBFFB6D-3B4F-481A-8FAD-4F5E06EFEB0F}"/>
                </a:ext>
              </a:extLst>
            </p:cNvPr>
            <p:cNvSpPr/>
            <p:nvPr/>
          </p:nvSpPr>
          <p:spPr>
            <a:xfrm>
              <a:off x="5975242" y="1535032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0" name="Freihandform: Form 318">
              <a:extLst>
                <a:ext uri="{FF2B5EF4-FFF2-40B4-BE49-F238E27FC236}">
                  <a16:creationId xmlns:a16="http://schemas.microsoft.com/office/drawing/2014/main" id="{6AB03C46-B32B-4223-B637-007E4034931F}"/>
                </a:ext>
              </a:extLst>
            </p:cNvPr>
            <p:cNvSpPr/>
            <p:nvPr/>
          </p:nvSpPr>
          <p:spPr>
            <a:xfrm>
              <a:off x="5526424" y="1648666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1" name="Freihandform: Form 318">
              <a:extLst>
                <a:ext uri="{FF2B5EF4-FFF2-40B4-BE49-F238E27FC236}">
                  <a16:creationId xmlns:a16="http://schemas.microsoft.com/office/drawing/2014/main" id="{9F51727E-1E2A-4AC2-A4DE-EBF97E3F9E41}"/>
                </a:ext>
              </a:extLst>
            </p:cNvPr>
            <p:cNvSpPr/>
            <p:nvPr/>
          </p:nvSpPr>
          <p:spPr>
            <a:xfrm>
              <a:off x="6342404" y="2243130"/>
              <a:ext cx="2510527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2" name="Freihandform: Form 318">
              <a:extLst>
                <a:ext uri="{FF2B5EF4-FFF2-40B4-BE49-F238E27FC236}">
                  <a16:creationId xmlns:a16="http://schemas.microsoft.com/office/drawing/2014/main" id="{311D5043-439D-47D1-B629-178F14DEABE7}"/>
                </a:ext>
              </a:extLst>
            </p:cNvPr>
            <p:cNvSpPr/>
            <p:nvPr/>
          </p:nvSpPr>
          <p:spPr>
            <a:xfrm>
              <a:off x="6435627" y="2124905"/>
              <a:ext cx="2445639" cy="69976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3" name="Freihandform: Form 318">
              <a:extLst>
                <a:ext uri="{FF2B5EF4-FFF2-40B4-BE49-F238E27FC236}">
                  <a16:creationId xmlns:a16="http://schemas.microsoft.com/office/drawing/2014/main" id="{CF1B3BA3-884D-4BF6-879F-CE9DB4D006DF}"/>
                </a:ext>
              </a:extLst>
            </p:cNvPr>
            <p:cNvSpPr/>
            <p:nvPr/>
          </p:nvSpPr>
          <p:spPr>
            <a:xfrm>
              <a:off x="6526505" y="1886882"/>
              <a:ext cx="2386154" cy="70969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4" name="Freihandform: Form 318">
              <a:extLst>
                <a:ext uri="{FF2B5EF4-FFF2-40B4-BE49-F238E27FC236}">
                  <a16:creationId xmlns:a16="http://schemas.microsoft.com/office/drawing/2014/main" id="{4E4E9AE4-058D-4BD5-9131-04987D9ABAA5}"/>
                </a:ext>
              </a:extLst>
            </p:cNvPr>
            <p:cNvSpPr/>
            <p:nvPr/>
          </p:nvSpPr>
          <p:spPr>
            <a:xfrm>
              <a:off x="6455042" y="1648666"/>
              <a:ext cx="222397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5" name="Freihandform: Form 321">
              <a:extLst>
                <a:ext uri="{FF2B5EF4-FFF2-40B4-BE49-F238E27FC236}">
                  <a16:creationId xmlns:a16="http://schemas.microsoft.com/office/drawing/2014/main" id="{09097D40-5338-4D15-A6AA-A734DC5FB5F9}"/>
                </a:ext>
              </a:extLst>
            </p:cNvPr>
            <p:cNvSpPr/>
            <p:nvPr/>
          </p:nvSpPr>
          <p:spPr>
            <a:xfrm>
              <a:off x="6526505" y="1413032"/>
              <a:ext cx="2481580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6" name="Freihandform: Form 131">
              <a:extLst>
                <a:ext uri="{FF2B5EF4-FFF2-40B4-BE49-F238E27FC236}">
                  <a16:creationId xmlns:a16="http://schemas.microsoft.com/office/drawing/2014/main" id="{ACBA555A-72C0-48D1-BBFE-1B20E242545A}"/>
                </a:ext>
              </a:extLst>
            </p:cNvPr>
            <p:cNvSpPr/>
            <p:nvPr/>
          </p:nvSpPr>
          <p:spPr>
            <a:xfrm>
              <a:off x="6015849" y="2954300"/>
              <a:ext cx="397885" cy="70308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70469203"/>
      </p:ext>
    </p:extLst>
  </p:cSld>
  <p:clrMapOvr>
    <a:masterClrMapping/>
  </p:clrMapOvr>
  <p:transition spd="slow"/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90B85F-66B9-4B39-9B48-6DF0655C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map – Africa highlighted</a:t>
            </a:r>
            <a:endParaRPr lang="en-US" dirty="0"/>
          </a:p>
        </p:txBody>
      </p:sp>
      <p:sp>
        <p:nvSpPr>
          <p:cNvPr id="292" name="Text Placeholder 29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8" name="Date Placeholder 29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23/11/2020</a:t>
            </a:r>
            <a:endParaRPr lang="en-US" dirty="0"/>
          </a:p>
        </p:txBody>
      </p:sp>
      <p:sp>
        <p:nvSpPr>
          <p:cNvPr id="299" name="Footer Placeholder 29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 dirty="0"/>
          </a:p>
        </p:txBody>
      </p:sp>
      <p:sp>
        <p:nvSpPr>
          <p:cNvPr id="300" name="Slide Number Placeholder 29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9</a:t>
            </a:fld>
            <a:endParaRPr lang="en-US" dirty="0"/>
          </a:p>
        </p:txBody>
      </p:sp>
      <p:grpSp>
        <p:nvGrpSpPr>
          <p:cNvPr id="289" name="Gruppieren 288">
            <a:extLst>
              <a:ext uri="{FF2B5EF4-FFF2-40B4-BE49-F238E27FC236}">
                <a16:creationId xmlns:a16="http://schemas.microsoft.com/office/drawing/2014/main" id="{6C9E658E-BE68-44A7-BBC6-4ACBB409BE54}"/>
              </a:ext>
            </a:extLst>
          </p:cNvPr>
          <p:cNvGrpSpPr>
            <a:grpSpLocks noChangeAspect="1"/>
          </p:cNvGrpSpPr>
          <p:nvPr/>
        </p:nvGrpSpPr>
        <p:grpSpPr>
          <a:xfrm>
            <a:off x="2558661" y="1773288"/>
            <a:ext cx="7074679" cy="4248000"/>
            <a:chOff x="566738" y="109537"/>
            <a:chExt cx="9592785" cy="57600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645BF554-207C-4BCE-BCA2-074ED7D7D226}"/>
                </a:ext>
              </a:extLst>
            </p:cNvPr>
            <p:cNvSpPr/>
            <p:nvPr/>
          </p:nvSpPr>
          <p:spPr>
            <a:xfrm>
              <a:off x="3335742" y="228010"/>
              <a:ext cx="38665" cy="70307"/>
            </a:xfrm>
            <a:custGeom>
              <a:avLst/>
              <a:gdLst>
                <a:gd name="connsiteX0" fmla="*/ 0 w 44577"/>
                <a:gd name="connsiteY0" fmla="*/ 0 h 81057"/>
                <a:gd name="connsiteX1" fmla="*/ 44577 w 44577"/>
                <a:gd name="connsiteY1" fmla="*/ 0 h 81057"/>
                <a:gd name="connsiteX2" fmla="*/ 44577 w 44577"/>
                <a:gd name="connsiteY2" fmla="*/ 81058 h 81057"/>
                <a:gd name="connsiteX3" fmla="*/ 0 w 445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77" h="81057">
                  <a:moveTo>
                    <a:pt x="0" y="0"/>
                  </a:moveTo>
                  <a:lnTo>
                    <a:pt x="44577" y="0"/>
                  </a:lnTo>
                  <a:lnTo>
                    <a:pt x="445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4C5E909E-D4A7-48E4-B1C8-4EEC58DCE52A}"/>
                </a:ext>
              </a:extLst>
            </p:cNvPr>
            <p:cNvSpPr/>
            <p:nvPr/>
          </p:nvSpPr>
          <p:spPr>
            <a:xfrm>
              <a:off x="2778240" y="3547081"/>
              <a:ext cx="445802" cy="70224"/>
            </a:xfrm>
            <a:custGeom>
              <a:avLst/>
              <a:gdLst>
                <a:gd name="connsiteX0" fmla="*/ 0 w 513968"/>
                <a:gd name="connsiteY0" fmla="*/ 0 h 80962"/>
                <a:gd name="connsiteX1" fmla="*/ 513969 w 513968"/>
                <a:gd name="connsiteY1" fmla="*/ 0 h 80962"/>
                <a:gd name="connsiteX2" fmla="*/ 513969 w 513968"/>
                <a:gd name="connsiteY2" fmla="*/ 80962 h 80962"/>
                <a:gd name="connsiteX3" fmla="*/ 0 w 51396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968" h="80962">
                  <a:moveTo>
                    <a:pt x="0" y="0"/>
                  </a:moveTo>
                  <a:lnTo>
                    <a:pt x="513969" y="0"/>
                  </a:lnTo>
                  <a:lnTo>
                    <a:pt x="5139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EB8785A-C6F2-4EF8-AEC8-A485677A5E46}"/>
                </a:ext>
              </a:extLst>
            </p:cNvPr>
            <p:cNvSpPr/>
            <p:nvPr/>
          </p:nvSpPr>
          <p:spPr>
            <a:xfrm>
              <a:off x="2613500" y="3902666"/>
              <a:ext cx="979512" cy="70307"/>
            </a:xfrm>
            <a:custGeom>
              <a:avLst/>
              <a:gdLst>
                <a:gd name="connsiteX0" fmla="*/ 0 w 1129284"/>
                <a:gd name="connsiteY0" fmla="*/ 0 h 81057"/>
                <a:gd name="connsiteX1" fmla="*/ 1129284 w 1129284"/>
                <a:gd name="connsiteY1" fmla="*/ 0 h 81057"/>
                <a:gd name="connsiteX2" fmla="*/ 1129284 w 1129284"/>
                <a:gd name="connsiteY2" fmla="*/ 81058 h 81057"/>
                <a:gd name="connsiteX3" fmla="*/ 0 w 11292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9284" h="81057">
                  <a:moveTo>
                    <a:pt x="0" y="0"/>
                  </a:moveTo>
                  <a:lnTo>
                    <a:pt x="1129284" y="0"/>
                  </a:lnTo>
                  <a:lnTo>
                    <a:pt x="11292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79E0951-8D0C-4683-9B25-83D739CBD7CC}"/>
                </a:ext>
              </a:extLst>
            </p:cNvPr>
            <p:cNvSpPr/>
            <p:nvPr/>
          </p:nvSpPr>
          <p:spPr>
            <a:xfrm>
              <a:off x="2604330" y="4021221"/>
              <a:ext cx="1374423" cy="70224"/>
            </a:xfrm>
            <a:custGeom>
              <a:avLst/>
              <a:gdLst>
                <a:gd name="connsiteX0" fmla="*/ 0 w 1584579"/>
                <a:gd name="connsiteY0" fmla="*/ 0 h 80962"/>
                <a:gd name="connsiteX1" fmla="*/ 1584579 w 1584579"/>
                <a:gd name="connsiteY1" fmla="*/ 0 h 80962"/>
                <a:gd name="connsiteX2" fmla="*/ 1584579 w 1584579"/>
                <a:gd name="connsiteY2" fmla="*/ 80963 h 80962"/>
                <a:gd name="connsiteX3" fmla="*/ 0 w 15845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579" h="80962">
                  <a:moveTo>
                    <a:pt x="0" y="0"/>
                  </a:moveTo>
                  <a:lnTo>
                    <a:pt x="1584579" y="0"/>
                  </a:lnTo>
                  <a:lnTo>
                    <a:pt x="158457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CFD39C36-210B-497D-AC37-E2C763566349}"/>
                </a:ext>
              </a:extLst>
            </p:cNvPr>
            <p:cNvSpPr/>
            <p:nvPr/>
          </p:nvSpPr>
          <p:spPr>
            <a:xfrm>
              <a:off x="2716028" y="4258333"/>
              <a:ext cx="1207700" cy="70224"/>
            </a:xfrm>
            <a:custGeom>
              <a:avLst/>
              <a:gdLst>
                <a:gd name="connsiteX0" fmla="*/ 0 w 1392364"/>
                <a:gd name="connsiteY0" fmla="*/ 0 h 80962"/>
                <a:gd name="connsiteX1" fmla="*/ 1392364 w 1392364"/>
                <a:gd name="connsiteY1" fmla="*/ 0 h 80962"/>
                <a:gd name="connsiteX2" fmla="*/ 1392364 w 1392364"/>
                <a:gd name="connsiteY2" fmla="*/ 80963 h 80962"/>
                <a:gd name="connsiteX3" fmla="*/ 0 w 139236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2364" h="80962">
                  <a:moveTo>
                    <a:pt x="0" y="0"/>
                  </a:moveTo>
                  <a:lnTo>
                    <a:pt x="1392364" y="0"/>
                  </a:lnTo>
                  <a:lnTo>
                    <a:pt x="1392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D4521D7-2901-4000-BA16-09C31D829D76}"/>
                </a:ext>
              </a:extLst>
            </p:cNvPr>
            <p:cNvSpPr/>
            <p:nvPr/>
          </p:nvSpPr>
          <p:spPr>
            <a:xfrm>
              <a:off x="2809799" y="4376806"/>
              <a:ext cx="1070721" cy="70307"/>
            </a:xfrm>
            <a:custGeom>
              <a:avLst/>
              <a:gdLst>
                <a:gd name="connsiteX0" fmla="*/ 0 w 1234440"/>
                <a:gd name="connsiteY0" fmla="*/ 0 h 81057"/>
                <a:gd name="connsiteX1" fmla="*/ 1234440 w 1234440"/>
                <a:gd name="connsiteY1" fmla="*/ 0 h 81057"/>
                <a:gd name="connsiteX2" fmla="*/ 1234440 w 1234440"/>
                <a:gd name="connsiteY2" fmla="*/ 81058 h 81057"/>
                <a:gd name="connsiteX3" fmla="*/ 0 w 1234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4440" h="81057">
                  <a:moveTo>
                    <a:pt x="0" y="0"/>
                  </a:moveTo>
                  <a:lnTo>
                    <a:pt x="1234440" y="0"/>
                  </a:lnTo>
                  <a:lnTo>
                    <a:pt x="12344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D8C8A7C-F5AB-4552-95D0-34B14DF53DC8}"/>
                </a:ext>
              </a:extLst>
            </p:cNvPr>
            <p:cNvSpPr/>
            <p:nvPr/>
          </p:nvSpPr>
          <p:spPr>
            <a:xfrm>
              <a:off x="2933560" y="4613919"/>
              <a:ext cx="770241" cy="70224"/>
            </a:xfrm>
            <a:custGeom>
              <a:avLst/>
              <a:gdLst>
                <a:gd name="connsiteX0" fmla="*/ 0 w 888015"/>
                <a:gd name="connsiteY0" fmla="*/ 0 h 80962"/>
                <a:gd name="connsiteX1" fmla="*/ 888016 w 888015"/>
                <a:gd name="connsiteY1" fmla="*/ 0 h 80962"/>
                <a:gd name="connsiteX2" fmla="*/ 888016 w 888015"/>
                <a:gd name="connsiteY2" fmla="*/ 80963 h 80962"/>
                <a:gd name="connsiteX3" fmla="*/ 0 w 88801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015" h="80962">
                  <a:moveTo>
                    <a:pt x="0" y="0"/>
                  </a:moveTo>
                  <a:lnTo>
                    <a:pt x="888016" y="0"/>
                  </a:lnTo>
                  <a:lnTo>
                    <a:pt x="88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5296D18-482D-4ABB-B3FC-0ADBB554F906}"/>
                </a:ext>
              </a:extLst>
            </p:cNvPr>
            <p:cNvSpPr/>
            <p:nvPr/>
          </p:nvSpPr>
          <p:spPr>
            <a:xfrm>
              <a:off x="2933560" y="4850948"/>
              <a:ext cx="644084" cy="70307"/>
            </a:xfrm>
            <a:custGeom>
              <a:avLst/>
              <a:gdLst>
                <a:gd name="connsiteX0" fmla="*/ 0 w 742568"/>
                <a:gd name="connsiteY0" fmla="*/ 0 h 81057"/>
                <a:gd name="connsiteX1" fmla="*/ 742569 w 742568"/>
                <a:gd name="connsiteY1" fmla="*/ 0 h 81057"/>
                <a:gd name="connsiteX2" fmla="*/ 742569 w 742568"/>
                <a:gd name="connsiteY2" fmla="*/ 81058 h 81057"/>
                <a:gd name="connsiteX3" fmla="*/ 0 w 74256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568" h="81057">
                  <a:moveTo>
                    <a:pt x="0" y="0"/>
                  </a:moveTo>
                  <a:lnTo>
                    <a:pt x="742569" y="0"/>
                  </a:lnTo>
                  <a:lnTo>
                    <a:pt x="74256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E2C02366-69CD-49C9-B578-07E12439500E}"/>
                </a:ext>
              </a:extLst>
            </p:cNvPr>
            <p:cNvSpPr/>
            <p:nvPr/>
          </p:nvSpPr>
          <p:spPr>
            <a:xfrm>
              <a:off x="2933560" y="5088060"/>
              <a:ext cx="478189" cy="70224"/>
            </a:xfrm>
            <a:custGeom>
              <a:avLst/>
              <a:gdLst>
                <a:gd name="connsiteX0" fmla="*/ 0 w 551307"/>
                <a:gd name="connsiteY0" fmla="*/ 0 h 80962"/>
                <a:gd name="connsiteX1" fmla="*/ 551307 w 551307"/>
                <a:gd name="connsiteY1" fmla="*/ 0 h 80962"/>
                <a:gd name="connsiteX2" fmla="*/ 551307 w 551307"/>
                <a:gd name="connsiteY2" fmla="*/ 80962 h 80962"/>
                <a:gd name="connsiteX3" fmla="*/ 0 w 55130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307" h="80962">
                  <a:moveTo>
                    <a:pt x="0" y="0"/>
                  </a:moveTo>
                  <a:lnTo>
                    <a:pt x="551307" y="0"/>
                  </a:lnTo>
                  <a:lnTo>
                    <a:pt x="55130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4BA9DAD5-AC5B-4EBA-AB67-EE04BDD401AF}"/>
                </a:ext>
              </a:extLst>
            </p:cNvPr>
            <p:cNvSpPr/>
            <p:nvPr/>
          </p:nvSpPr>
          <p:spPr>
            <a:xfrm>
              <a:off x="2933560" y="5443645"/>
              <a:ext cx="288665" cy="70307"/>
            </a:xfrm>
            <a:custGeom>
              <a:avLst/>
              <a:gdLst>
                <a:gd name="connsiteX0" fmla="*/ 0 w 332803"/>
                <a:gd name="connsiteY0" fmla="*/ 0 h 81057"/>
                <a:gd name="connsiteX1" fmla="*/ 332804 w 332803"/>
                <a:gd name="connsiteY1" fmla="*/ 0 h 81057"/>
                <a:gd name="connsiteX2" fmla="*/ 332804 w 332803"/>
                <a:gd name="connsiteY2" fmla="*/ 81058 h 81057"/>
                <a:gd name="connsiteX3" fmla="*/ 0 w 33280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1057">
                  <a:moveTo>
                    <a:pt x="0" y="0"/>
                  </a:moveTo>
                  <a:lnTo>
                    <a:pt x="332804" y="0"/>
                  </a:lnTo>
                  <a:lnTo>
                    <a:pt x="33280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688EB32-AB30-4920-883C-02F2304C1001}"/>
                </a:ext>
              </a:extLst>
            </p:cNvPr>
            <p:cNvSpPr/>
            <p:nvPr/>
          </p:nvSpPr>
          <p:spPr>
            <a:xfrm>
              <a:off x="2933560" y="5325171"/>
              <a:ext cx="288665" cy="70224"/>
            </a:xfrm>
            <a:custGeom>
              <a:avLst/>
              <a:gdLst>
                <a:gd name="connsiteX0" fmla="*/ 0 w 332803"/>
                <a:gd name="connsiteY0" fmla="*/ 0 h 80962"/>
                <a:gd name="connsiteX1" fmla="*/ 332804 w 332803"/>
                <a:gd name="connsiteY1" fmla="*/ 0 h 80962"/>
                <a:gd name="connsiteX2" fmla="*/ 332804 w 332803"/>
                <a:gd name="connsiteY2" fmla="*/ 80962 h 80962"/>
                <a:gd name="connsiteX3" fmla="*/ 0 w 332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803" h="80962">
                  <a:moveTo>
                    <a:pt x="0" y="0"/>
                  </a:moveTo>
                  <a:lnTo>
                    <a:pt x="332804" y="0"/>
                  </a:lnTo>
                  <a:lnTo>
                    <a:pt x="332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0F2EF6B-AA65-4CEF-A454-D3F3F01733C9}"/>
                </a:ext>
              </a:extLst>
            </p:cNvPr>
            <p:cNvSpPr/>
            <p:nvPr/>
          </p:nvSpPr>
          <p:spPr>
            <a:xfrm>
              <a:off x="2933560" y="4732474"/>
              <a:ext cx="689772" cy="70224"/>
            </a:xfrm>
            <a:custGeom>
              <a:avLst/>
              <a:gdLst>
                <a:gd name="connsiteX0" fmla="*/ 0 w 795242"/>
                <a:gd name="connsiteY0" fmla="*/ 0 h 80962"/>
                <a:gd name="connsiteX1" fmla="*/ 795242 w 795242"/>
                <a:gd name="connsiteY1" fmla="*/ 0 h 80962"/>
                <a:gd name="connsiteX2" fmla="*/ 795242 w 795242"/>
                <a:gd name="connsiteY2" fmla="*/ 80962 h 80962"/>
                <a:gd name="connsiteX3" fmla="*/ 0 w 79524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242" h="80962">
                  <a:moveTo>
                    <a:pt x="0" y="0"/>
                  </a:moveTo>
                  <a:lnTo>
                    <a:pt x="795242" y="0"/>
                  </a:lnTo>
                  <a:lnTo>
                    <a:pt x="79524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A7F71F1E-AD11-48EA-A19A-26017FA16EEF}"/>
                </a:ext>
              </a:extLst>
            </p:cNvPr>
            <p:cNvSpPr/>
            <p:nvPr/>
          </p:nvSpPr>
          <p:spPr>
            <a:xfrm>
              <a:off x="2933560" y="4969504"/>
              <a:ext cx="558906" cy="70307"/>
            </a:xfrm>
            <a:custGeom>
              <a:avLst/>
              <a:gdLst>
                <a:gd name="connsiteX0" fmla="*/ 0 w 644366"/>
                <a:gd name="connsiteY0" fmla="*/ 0 h 81057"/>
                <a:gd name="connsiteX1" fmla="*/ 644366 w 644366"/>
                <a:gd name="connsiteY1" fmla="*/ 0 h 81057"/>
                <a:gd name="connsiteX2" fmla="*/ 644366 w 644366"/>
                <a:gd name="connsiteY2" fmla="*/ 81058 h 81057"/>
                <a:gd name="connsiteX3" fmla="*/ 0 w 64436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366" h="81057">
                  <a:moveTo>
                    <a:pt x="0" y="0"/>
                  </a:moveTo>
                  <a:lnTo>
                    <a:pt x="644366" y="0"/>
                  </a:lnTo>
                  <a:lnTo>
                    <a:pt x="6443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14E36B3-619F-4C37-8BE6-48343A93CBFF}"/>
                </a:ext>
              </a:extLst>
            </p:cNvPr>
            <p:cNvSpPr/>
            <p:nvPr/>
          </p:nvSpPr>
          <p:spPr>
            <a:xfrm>
              <a:off x="2933560" y="5206615"/>
              <a:ext cx="332865" cy="70224"/>
            </a:xfrm>
            <a:custGeom>
              <a:avLst/>
              <a:gdLst>
                <a:gd name="connsiteX0" fmla="*/ 0 w 383762"/>
                <a:gd name="connsiteY0" fmla="*/ 0 h 80962"/>
                <a:gd name="connsiteX1" fmla="*/ 383762 w 383762"/>
                <a:gd name="connsiteY1" fmla="*/ 0 h 80962"/>
                <a:gd name="connsiteX2" fmla="*/ 383762 w 383762"/>
                <a:gd name="connsiteY2" fmla="*/ 80963 h 80962"/>
                <a:gd name="connsiteX3" fmla="*/ 0 w 3837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762" h="80962">
                  <a:moveTo>
                    <a:pt x="0" y="0"/>
                  </a:moveTo>
                  <a:lnTo>
                    <a:pt x="383762" y="0"/>
                  </a:lnTo>
                  <a:lnTo>
                    <a:pt x="38376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D17B4A7-642A-4B5A-A0E1-A0C2D575546E}"/>
                </a:ext>
              </a:extLst>
            </p:cNvPr>
            <p:cNvSpPr/>
            <p:nvPr/>
          </p:nvSpPr>
          <p:spPr>
            <a:xfrm>
              <a:off x="2933560" y="4495362"/>
              <a:ext cx="946960" cy="70307"/>
            </a:xfrm>
            <a:custGeom>
              <a:avLst/>
              <a:gdLst>
                <a:gd name="connsiteX0" fmla="*/ 0 w 1091755"/>
                <a:gd name="connsiteY0" fmla="*/ 0 h 81057"/>
                <a:gd name="connsiteX1" fmla="*/ 1091756 w 1091755"/>
                <a:gd name="connsiteY1" fmla="*/ 0 h 81057"/>
                <a:gd name="connsiteX2" fmla="*/ 1091756 w 1091755"/>
                <a:gd name="connsiteY2" fmla="*/ 81058 h 81057"/>
                <a:gd name="connsiteX3" fmla="*/ 0 w 10917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755" h="81057">
                  <a:moveTo>
                    <a:pt x="0" y="0"/>
                  </a:moveTo>
                  <a:lnTo>
                    <a:pt x="1091756" y="0"/>
                  </a:lnTo>
                  <a:lnTo>
                    <a:pt x="10917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79F0751-2956-429E-A3E0-D1E3DE926774}"/>
                </a:ext>
              </a:extLst>
            </p:cNvPr>
            <p:cNvSpPr/>
            <p:nvPr/>
          </p:nvSpPr>
          <p:spPr>
            <a:xfrm>
              <a:off x="2667945" y="4139777"/>
              <a:ext cx="1332700" cy="70224"/>
            </a:xfrm>
            <a:custGeom>
              <a:avLst/>
              <a:gdLst>
                <a:gd name="connsiteX0" fmla="*/ 0 w 1536477"/>
                <a:gd name="connsiteY0" fmla="*/ 0 h 80962"/>
                <a:gd name="connsiteX1" fmla="*/ 1536478 w 1536477"/>
                <a:gd name="connsiteY1" fmla="*/ 0 h 80962"/>
                <a:gd name="connsiteX2" fmla="*/ 1536478 w 1536477"/>
                <a:gd name="connsiteY2" fmla="*/ 80963 h 80962"/>
                <a:gd name="connsiteX3" fmla="*/ 0 w 153647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6477" h="80962">
                  <a:moveTo>
                    <a:pt x="0" y="0"/>
                  </a:moveTo>
                  <a:lnTo>
                    <a:pt x="1536478" y="0"/>
                  </a:lnTo>
                  <a:lnTo>
                    <a:pt x="15364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422FD8F-73F9-474E-A0E5-DF7E2A051D9A}"/>
                </a:ext>
              </a:extLst>
            </p:cNvPr>
            <p:cNvSpPr/>
            <p:nvPr/>
          </p:nvSpPr>
          <p:spPr>
            <a:xfrm>
              <a:off x="2707932" y="3784192"/>
              <a:ext cx="815020" cy="70224"/>
            </a:xfrm>
            <a:custGeom>
              <a:avLst/>
              <a:gdLst>
                <a:gd name="connsiteX0" fmla="*/ 0 w 939641"/>
                <a:gd name="connsiteY0" fmla="*/ 0 h 80962"/>
                <a:gd name="connsiteX1" fmla="*/ 0 w 939641"/>
                <a:gd name="connsiteY1" fmla="*/ 80963 h 80962"/>
                <a:gd name="connsiteX2" fmla="*/ 237458 w 939641"/>
                <a:gd name="connsiteY2" fmla="*/ 80963 h 80962"/>
                <a:gd name="connsiteX3" fmla="*/ 939641 w 939641"/>
                <a:gd name="connsiteY3" fmla="*/ 80963 h 80962"/>
                <a:gd name="connsiteX4" fmla="*/ 939641 w 939641"/>
                <a:gd name="connsiteY4" fmla="*/ 0 h 80962"/>
                <a:gd name="connsiteX5" fmla="*/ 0 w 939641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9641" h="80962">
                  <a:moveTo>
                    <a:pt x="0" y="0"/>
                  </a:moveTo>
                  <a:lnTo>
                    <a:pt x="0" y="80963"/>
                  </a:lnTo>
                  <a:lnTo>
                    <a:pt x="237458" y="80963"/>
                  </a:lnTo>
                  <a:lnTo>
                    <a:pt x="939641" y="80963"/>
                  </a:lnTo>
                  <a:lnTo>
                    <a:pt x="9396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0205EA9-D7A7-4854-90FA-67A965BE4BB7}"/>
                </a:ext>
              </a:extLst>
            </p:cNvPr>
            <p:cNvSpPr/>
            <p:nvPr/>
          </p:nvSpPr>
          <p:spPr>
            <a:xfrm>
              <a:off x="2707932" y="3665636"/>
              <a:ext cx="579643" cy="70224"/>
            </a:xfrm>
            <a:custGeom>
              <a:avLst/>
              <a:gdLst>
                <a:gd name="connsiteX0" fmla="*/ 0 w 668274"/>
                <a:gd name="connsiteY0" fmla="*/ 0 h 80962"/>
                <a:gd name="connsiteX1" fmla="*/ 668274 w 668274"/>
                <a:gd name="connsiteY1" fmla="*/ 0 h 80962"/>
                <a:gd name="connsiteX2" fmla="*/ 668274 w 668274"/>
                <a:gd name="connsiteY2" fmla="*/ 80962 h 80962"/>
                <a:gd name="connsiteX3" fmla="*/ 0 w 66827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274" h="80962">
                  <a:moveTo>
                    <a:pt x="0" y="0"/>
                  </a:moveTo>
                  <a:lnTo>
                    <a:pt x="668274" y="0"/>
                  </a:lnTo>
                  <a:lnTo>
                    <a:pt x="6682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75B9FF34-2ED6-413A-BDCD-20455801DB4F}"/>
                </a:ext>
              </a:extLst>
            </p:cNvPr>
            <p:cNvSpPr/>
            <p:nvPr/>
          </p:nvSpPr>
          <p:spPr>
            <a:xfrm>
              <a:off x="3105239" y="5799313"/>
              <a:ext cx="179940" cy="70224"/>
            </a:xfrm>
            <a:custGeom>
              <a:avLst/>
              <a:gdLst>
                <a:gd name="connsiteX0" fmla="*/ 0 w 207454"/>
                <a:gd name="connsiteY0" fmla="*/ 0 h 80962"/>
                <a:gd name="connsiteX1" fmla="*/ 207455 w 207454"/>
                <a:gd name="connsiteY1" fmla="*/ 0 h 80962"/>
                <a:gd name="connsiteX2" fmla="*/ 207455 w 207454"/>
                <a:gd name="connsiteY2" fmla="*/ 80963 h 80962"/>
                <a:gd name="connsiteX3" fmla="*/ 0 w 2074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4" h="80962">
                  <a:moveTo>
                    <a:pt x="0" y="0"/>
                  </a:moveTo>
                  <a:lnTo>
                    <a:pt x="207455" y="0"/>
                  </a:lnTo>
                  <a:lnTo>
                    <a:pt x="2074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2F8BC464-CD28-441B-ADED-CCB53C1E416B}"/>
                </a:ext>
              </a:extLst>
            </p:cNvPr>
            <p:cNvSpPr/>
            <p:nvPr/>
          </p:nvSpPr>
          <p:spPr>
            <a:xfrm>
              <a:off x="3000811" y="5680757"/>
              <a:ext cx="178618" cy="70224"/>
            </a:xfrm>
            <a:custGeom>
              <a:avLst/>
              <a:gdLst>
                <a:gd name="connsiteX0" fmla="*/ 0 w 205930"/>
                <a:gd name="connsiteY0" fmla="*/ 0 h 80962"/>
                <a:gd name="connsiteX1" fmla="*/ 205930 w 205930"/>
                <a:gd name="connsiteY1" fmla="*/ 0 h 80962"/>
                <a:gd name="connsiteX2" fmla="*/ 205930 w 205930"/>
                <a:gd name="connsiteY2" fmla="*/ 80963 h 80962"/>
                <a:gd name="connsiteX3" fmla="*/ 0 w 20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930" h="80962">
                  <a:moveTo>
                    <a:pt x="0" y="0"/>
                  </a:moveTo>
                  <a:lnTo>
                    <a:pt x="205930" y="0"/>
                  </a:lnTo>
                  <a:lnTo>
                    <a:pt x="20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6C75117-6D46-4623-A993-45F40C9EBAAF}"/>
                </a:ext>
              </a:extLst>
            </p:cNvPr>
            <p:cNvSpPr/>
            <p:nvPr/>
          </p:nvSpPr>
          <p:spPr>
            <a:xfrm>
              <a:off x="2933560" y="5562200"/>
              <a:ext cx="257849" cy="70224"/>
            </a:xfrm>
            <a:custGeom>
              <a:avLst/>
              <a:gdLst>
                <a:gd name="connsiteX0" fmla="*/ 0 w 297275"/>
                <a:gd name="connsiteY0" fmla="*/ 0 h 80962"/>
                <a:gd name="connsiteX1" fmla="*/ 0 w 297275"/>
                <a:gd name="connsiteY1" fmla="*/ 80963 h 80962"/>
                <a:gd name="connsiteX2" fmla="*/ 1048 w 297275"/>
                <a:gd name="connsiteY2" fmla="*/ 80963 h 80962"/>
                <a:gd name="connsiteX3" fmla="*/ 297275 w 297275"/>
                <a:gd name="connsiteY3" fmla="*/ 80963 h 80962"/>
                <a:gd name="connsiteX4" fmla="*/ 297275 w 297275"/>
                <a:gd name="connsiteY4" fmla="*/ 0 h 80962"/>
                <a:gd name="connsiteX5" fmla="*/ 0 w 297275"/>
                <a:gd name="connsiteY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275" h="80962">
                  <a:moveTo>
                    <a:pt x="0" y="0"/>
                  </a:moveTo>
                  <a:lnTo>
                    <a:pt x="0" y="80963"/>
                  </a:lnTo>
                  <a:lnTo>
                    <a:pt x="1048" y="80963"/>
                  </a:lnTo>
                  <a:lnTo>
                    <a:pt x="297275" y="80963"/>
                  </a:lnTo>
                  <a:lnTo>
                    <a:pt x="2972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D8CCA6D-FDF5-4883-8DE3-A394C785589D}"/>
                </a:ext>
              </a:extLst>
            </p:cNvPr>
            <p:cNvSpPr/>
            <p:nvPr/>
          </p:nvSpPr>
          <p:spPr>
            <a:xfrm>
              <a:off x="9680425" y="5680757"/>
              <a:ext cx="150776" cy="70224"/>
            </a:xfrm>
            <a:custGeom>
              <a:avLst/>
              <a:gdLst>
                <a:gd name="connsiteX0" fmla="*/ 0 w 173831"/>
                <a:gd name="connsiteY0" fmla="*/ 0 h 80962"/>
                <a:gd name="connsiteX1" fmla="*/ 173831 w 173831"/>
                <a:gd name="connsiteY1" fmla="*/ 0 h 80962"/>
                <a:gd name="connsiteX2" fmla="*/ 173831 w 173831"/>
                <a:gd name="connsiteY2" fmla="*/ 80963 h 80962"/>
                <a:gd name="connsiteX3" fmla="*/ 0 w 17383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831" h="80962">
                  <a:moveTo>
                    <a:pt x="0" y="0"/>
                  </a:moveTo>
                  <a:lnTo>
                    <a:pt x="173831" y="0"/>
                  </a:lnTo>
                  <a:lnTo>
                    <a:pt x="17383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4415529-ED67-4650-8051-8345DB3B00D3}"/>
                </a:ext>
              </a:extLst>
            </p:cNvPr>
            <p:cNvSpPr/>
            <p:nvPr/>
          </p:nvSpPr>
          <p:spPr>
            <a:xfrm>
              <a:off x="9794437" y="5562200"/>
              <a:ext cx="118555" cy="70224"/>
            </a:xfrm>
            <a:custGeom>
              <a:avLst/>
              <a:gdLst>
                <a:gd name="connsiteX0" fmla="*/ 0 w 136683"/>
                <a:gd name="connsiteY0" fmla="*/ 0 h 80962"/>
                <a:gd name="connsiteX1" fmla="*/ 136684 w 136683"/>
                <a:gd name="connsiteY1" fmla="*/ 0 h 80962"/>
                <a:gd name="connsiteX2" fmla="*/ 136684 w 136683"/>
                <a:gd name="connsiteY2" fmla="*/ 80962 h 80962"/>
                <a:gd name="connsiteX3" fmla="*/ 0 w 1366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83" h="80962">
                  <a:moveTo>
                    <a:pt x="0" y="0"/>
                  </a:moveTo>
                  <a:lnTo>
                    <a:pt x="136684" y="0"/>
                  </a:lnTo>
                  <a:lnTo>
                    <a:pt x="1366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D2E08A1-22E0-40F6-A13A-6190E99D6ECA}"/>
                </a:ext>
              </a:extLst>
            </p:cNvPr>
            <p:cNvSpPr/>
            <p:nvPr/>
          </p:nvSpPr>
          <p:spPr>
            <a:xfrm>
              <a:off x="9901179" y="5443645"/>
              <a:ext cx="53122" cy="70307"/>
            </a:xfrm>
            <a:custGeom>
              <a:avLst/>
              <a:gdLst>
                <a:gd name="connsiteX0" fmla="*/ 0 w 61245"/>
                <a:gd name="connsiteY0" fmla="*/ 0 h 81057"/>
                <a:gd name="connsiteX1" fmla="*/ 61246 w 61245"/>
                <a:gd name="connsiteY1" fmla="*/ 0 h 81057"/>
                <a:gd name="connsiteX2" fmla="*/ 61246 w 61245"/>
                <a:gd name="connsiteY2" fmla="*/ 81058 h 81057"/>
                <a:gd name="connsiteX3" fmla="*/ 0 w 612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245" h="81057">
                  <a:moveTo>
                    <a:pt x="0" y="0"/>
                  </a:moveTo>
                  <a:lnTo>
                    <a:pt x="61246" y="0"/>
                  </a:lnTo>
                  <a:lnTo>
                    <a:pt x="6124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E40BE49B-5ED4-4B1C-99F3-F2986E599854}"/>
                </a:ext>
              </a:extLst>
            </p:cNvPr>
            <p:cNvSpPr/>
            <p:nvPr/>
          </p:nvSpPr>
          <p:spPr>
            <a:xfrm>
              <a:off x="9982391" y="5443645"/>
              <a:ext cx="100297" cy="70307"/>
            </a:xfrm>
            <a:custGeom>
              <a:avLst/>
              <a:gdLst>
                <a:gd name="connsiteX0" fmla="*/ 0 w 115633"/>
                <a:gd name="connsiteY0" fmla="*/ 0 h 81057"/>
                <a:gd name="connsiteX1" fmla="*/ 115634 w 115633"/>
                <a:gd name="connsiteY1" fmla="*/ 0 h 81057"/>
                <a:gd name="connsiteX2" fmla="*/ 115634 w 115633"/>
                <a:gd name="connsiteY2" fmla="*/ 81058 h 81057"/>
                <a:gd name="connsiteX3" fmla="*/ 0 w 11563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3" h="81057">
                  <a:moveTo>
                    <a:pt x="0" y="0"/>
                  </a:moveTo>
                  <a:lnTo>
                    <a:pt x="115634" y="0"/>
                  </a:lnTo>
                  <a:lnTo>
                    <a:pt x="11563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516D428-DB18-4E40-9570-65F0944221B5}"/>
                </a:ext>
              </a:extLst>
            </p:cNvPr>
            <p:cNvSpPr/>
            <p:nvPr/>
          </p:nvSpPr>
          <p:spPr>
            <a:xfrm>
              <a:off x="9114909" y="5443645"/>
              <a:ext cx="118638" cy="70307"/>
            </a:xfrm>
            <a:custGeom>
              <a:avLst/>
              <a:gdLst>
                <a:gd name="connsiteX0" fmla="*/ 0 w 136778"/>
                <a:gd name="connsiteY0" fmla="*/ 0 h 81057"/>
                <a:gd name="connsiteX1" fmla="*/ 136779 w 136778"/>
                <a:gd name="connsiteY1" fmla="*/ 0 h 81057"/>
                <a:gd name="connsiteX2" fmla="*/ 136779 w 136778"/>
                <a:gd name="connsiteY2" fmla="*/ 81058 h 81057"/>
                <a:gd name="connsiteX3" fmla="*/ 0 w 13677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8" h="81057">
                  <a:moveTo>
                    <a:pt x="0" y="0"/>
                  </a:moveTo>
                  <a:lnTo>
                    <a:pt x="136779" y="0"/>
                  </a:lnTo>
                  <a:lnTo>
                    <a:pt x="1367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D2C32977-43F6-4A6F-A7A8-23CF3A8D9E7A}"/>
                </a:ext>
              </a:extLst>
            </p:cNvPr>
            <p:cNvSpPr/>
            <p:nvPr/>
          </p:nvSpPr>
          <p:spPr>
            <a:xfrm>
              <a:off x="9019569" y="5206615"/>
              <a:ext cx="333773" cy="70224"/>
            </a:xfrm>
            <a:custGeom>
              <a:avLst/>
              <a:gdLst>
                <a:gd name="connsiteX0" fmla="*/ 0 w 384809"/>
                <a:gd name="connsiteY0" fmla="*/ 0 h 80962"/>
                <a:gd name="connsiteX1" fmla="*/ 384810 w 384809"/>
                <a:gd name="connsiteY1" fmla="*/ 0 h 80962"/>
                <a:gd name="connsiteX2" fmla="*/ 384810 w 384809"/>
                <a:gd name="connsiteY2" fmla="*/ 80963 h 80962"/>
                <a:gd name="connsiteX3" fmla="*/ 0 w 384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09" h="80962">
                  <a:moveTo>
                    <a:pt x="0" y="0"/>
                  </a:moveTo>
                  <a:lnTo>
                    <a:pt x="384810" y="0"/>
                  </a:lnTo>
                  <a:lnTo>
                    <a:pt x="38481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5C3A2793-0889-4AF3-8B98-CE5ED578E4AE}"/>
                </a:ext>
              </a:extLst>
            </p:cNvPr>
            <p:cNvSpPr/>
            <p:nvPr/>
          </p:nvSpPr>
          <p:spPr>
            <a:xfrm>
              <a:off x="8989827" y="5088060"/>
              <a:ext cx="436467" cy="70224"/>
            </a:xfrm>
            <a:custGeom>
              <a:avLst/>
              <a:gdLst>
                <a:gd name="connsiteX0" fmla="*/ 0 w 503205"/>
                <a:gd name="connsiteY0" fmla="*/ 0 h 80962"/>
                <a:gd name="connsiteX1" fmla="*/ 503206 w 503205"/>
                <a:gd name="connsiteY1" fmla="*/ 0 h 80962"/>
                <a:gd name="connsiteX2" fmla="*/ 503206 w 503205"/>
                <a:gd name="connsiteY2" fmla="*/ 80962 h 80962"/>
                <a:gd name="connsiteX3" fmla="*/ 0 w 5032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3205" h="80962">
                  <a:moveTo>
                    <a:pt x="0" y="0"/>
                  </a:moveTo>
                  <a:lnTo>
                    <a:pt x="503206" y="0"/>
                  </a:lnTo>
                  <a:lnTo>
                    <a:pt x="50320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F651A96-8C2A-48D9-99FC-D753890DFFC5}"/>
                </a:ext>
              </a:extLst>
            </p:cNvPr>
            <p:cNvSpPr/>
            <p:nvPr/>
          </p:nvSpPr>
          <p:spPr>
            <a:xfrm>
              <a:off x="8896634" y="4969504"/>
              <a:ext cx="603520" cy="70307"/>
            </a:xfrm>
            <a:custGeom>
              <a:avLst/>
              <a:gdLst>
                <a:gd name="connsiteX0" fmla="*/ 0 w 695801"/>
                <a:gd name="connsiteY0" fmla="*/ 0 h 81057"/>
                <a:gd name="connsiteX1" fmla="*/ 695802 w 695801"/>
                <a:gd name="connsiteY1" fmla="*/ 0 h 81057"/>
                <a:gd name="connsiteX2" fmla="*/ 695802 w 695801"/>
                <a:gd name="connsiteY2" fmla="*/ 81058 h 81057"/>
                <a:gd name="connsiteX3" fmla="*/ 1 w 6958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801" h="81057">
                  <a:moveTo>
                    <a:pt x="0" y="0"/>
                  </a:moveTo>
                  <a:lnTo>
                    <a:pt x="695802" y="0"/>
                  </a:lnTo>
                  <a:lnTo>
                    <a:pt x="695802" y="81058"/>
                  </a:lnTo>
                  <a:lnTo>
                    <a:pt x="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298F8EC1-BFB6-469F-B758-0E99DE641068}"/>
                </a:ext>
              </a:extLst>
            </p:cNvPr>
            <p:cNvSpPr/>
            <p:nvPr/>
          </p:nvSpPr>
          <p:spPr>
            <a:xfrm>
              <a:off x="8330622" y="4969504"/>
              <a:ext cx="283956" cy="70307"/>
            </a:xfrm>
            <a:custGeom>
              <a:avLst/>
              <a:gdLst>
                <a:gd name="connsiteX0" fmla="*/ 0 w 327374"/>
                <a:gd name="connsiteY0" fmla="*/ 0 h 81057"/>
                <a:gd name="connsiteX1" fmla="*/ 327374 w 327374"/>
                <a:gd name="connsiteY1" fmla="*/ 0 h 81057"/>
                <a:gd name="connsiteX2" fmla="*/ 327374 w 327374"/>
                <a:gd name="connsiteY2" fmla="*/ 81058 h 81057"/>
                <a:gd name="connsiteX3" fmla="*/ 0 w 32737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374" h="81057">
                  <a:moveTo>
                    <a:pt x="0" y="0"/>
                  </a:moveTo>
                  <a:lnTo>
                    <a:pt x="327374" y="0"/>
                  </a:lnTo>
                  <a:lnTo>
                    <a:pt x="32737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BD7BB908-37AE-4DAE-8D51-D8327C773738}"/>
                </a:ext>
              </a:extLst>
            </p:cNvPr>
            <p:cNvSpPr/>
            <p:nvPr/>
          </p:nvSpPr>
          <p:spPr>
            <a:xfrm>
              <a:off x="8330622" y="4732474"/>
              <a:ext cx="1198199" cy="70224"/>
            </a:xfrm>
            <a:custGeom>
              <a:avLst/>
              <a:gdLst>
                <a:gd name="connsiteX0" fmla="*/ 0 w 1381410"/>
                <a:gd name="connsiteY0" fmla="*/ 0 h 80962"/>
                <a:gd name="connsiteX1" fmla="*/ 1381411 w 1381410"/>
                <a:gd name="connsiteY1" fmla="*/ 0 h 80962"/>
                <a:gd name="connsiteX2" fmla="*/ 1381411 w 1381410"/>
                <a:gd name="connsiteY2" fmla="*/ 80962 h 80962"/>
                <a:gd name="connsiteX3" fmla="*/ 0 w 138141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410" h="80962">
                  <a:moveTo>
                    <a:pt x="0" y="0"/>
                  </a:moveTo>
                  <a:lnTo>
                    <a:pt x="1381411" y="0"/>
                  </a:lnTo>
                  <a:lnTo>
                    <a:pt x="13814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4A99625D-B3DA-404F-B373-5711376391C6}"/>
                </a:ext>
              </a:extLst>
            </p:cNvPr>
            <p:cNvSpPr/>
            <p:nvPr/>
          </p:nvSpPr>
          <p:spPr>
            <a:xfrm>
              <a:off x="8354829" y="4613919"/>
              <a:ext cx="1118143" cy="70224"/>
            </a:xfrm>
            <a:custGeom>
              <a:avLst/>
              <a:gdLst>
                <a:gd name="connsiteX0" fmla="*/ 0 w 1289113"/>
                <a:gd name="connsiteY0" fmla="*/ 0 h 80962"/>
                <a:gd name="connsiteX1" fmla="*/ 1289114 w 1289113"/>
                <a:gd name="connsiteY1" fmla="*/ 0 h 80962"/>
                <a:gd name="connsiteX2" fmla="*/ 1289114 w 1289113"/>
                <a:gd name="connsiteY2" fmla="*/ 80963 h 80962"/>
                <a:gd name="connsiteX3" fmla="*/ 0 w 12891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9113" h="80962">
                  <a:moveTo>
                    <a:pt x="0" y="0"/>
                  </a:moveTo>
                  <a:lnTo>
                    <a:pt x="1289114" y="0"/>
                  </a:lnTo>
                  <a:lnTo>
                    <a:pt x="128911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CEE1D6F-0F63-4710-8E5E-7652A57AA09E}"/>
                </a:ext>
              </a:extLst>
            </p:cNvPr>
            <p:cNvSpPr/>
            <p:nvPr/>
          </p:nvSpPr>
          <p:spPr>
            <a:xfrm>
              <a:off x="8589876" y="4495362"/>
              <a:ext cx="767267" cy="70307"/>
            </a:xfrm>
            <a:custGeom>
              <a:avLst/>
              <a:gdLst>
                <a:gd name="connsiteX0" fmla="*/ 0 w 884586"/>
                <a:gd name="connsiteY0" fmla="*/ 0 h 81057"/>
                <a:gd name="connsiteX1" fmla="*/ 884587 w 884586"/>
                <a:gd name="connsiteY1" fmla="*/ 0 h 81057"/>
                <a:gd name="connsiteX2" fmla="*/ 884587 w 884586"/>
                <a:gd name="connsiteY2" fmla="*/ 81058 h 81057"/>
                <a:gd name="connsiteX3" fmla="*/ 0 w 8845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4586" h="81057">
                  <a:moveTo>
                    <a:pt x="0" y="0"/>
                  </a:moveTo>
                  <a:lnTo>
                    <a:pt x="884587" y="0"/>
                  </a:lnTo>
                  <a:lnTo>
                    <a:pt x="8845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7F2D0A14-0394-4C40-AD61-17DE1B141537}"/>
                </a:ext>
              </a:extLst>
            </p:cNvPr>
            <p:cNvSpPr/>
            <p:nvPr/>
          </p:nvSpPr>
          <p:spPr>
            <a:xfrm>
              <a:off x="8693313" y="4376806"/>
              <a:ext cx="373926" cy="70307"/>
            </a:xfrm>
            <a:custGeom>
              <a:avLst/>
              <a:gdLst>
                <a:gd name="connsiteX0" fmla="*/ 0 w 431101"/>
                <a:gd name="connsiteY0" fmla="*/ 0 h 81057"/>
                <a:gd name="connsiteX1" fmla="*/ 431102 w 431101"/>
                <a:gd name="connsiteY1" fmla="*/ 0 h 81057"/>
                <a:gd name="connsiteX2" fmla="*/ 431102 w 431101"/>
                <a:gd name="connsiteY2" fmla="*/ 81058 h 81057"/>
                <a:gd name="connsiteX3" fmla="*/ 0 w 43110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01" h="81057">
                  <a:moveTo>
                    <a:pt x="0" y="0"/>
                  </a:moveTo>
                  <a:lnTo>
                    <a:pt x="431102" y="0"/>
                  </a:lnTo>
                  <a:lnTo>
                    <a:pt x="43110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4A9109CA-3DD1-4F57-A4A5-165A9E95E718}"/>
                </a:ext>
              </a:extLst>
            </p:cNvPr>
            <p:cNvSpPr/>
            <p:nvPr/>
          </p:nvSpPr>
          <p:spPr>
            <a:xfrm>
              <a:off x="9208019" y="4376806"/>
              <a:ext cx="137062" cy="70307"/>
            </a:xfrm>
            <a:custGeom>
              <a:avLst/>
              <a:gdLst>
                <a:gd name="connsiteX0" fmla="*/ -1 w 158019"/>
                <a:gd name="connsiteY0" fmla="*/ 0 h 81057"/>
                <a:gd name="connsiteX1" fmla="*/ 158019 w 158019"/>
                <a:gd name="connsiteY1" fmla="*/ 0 h 81057"/>
                <a:gd name="connsiteX2" fmla="*/ 158019 w 158019"/>
                <a:gd name="connsiteY2" fmla="*/ 81058 h 81057"/>
                <a:gd name="connsiteX3" fmla="*/ -1 w 1580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019" h="81057">
                  <a:moveTo>
                    <a:pt x="-1" y="0"/>
                  </a:moveTo>
                  <a:lnTo>
                    <a:pt x="158019" y="0"/>
                  </a:lnTo>
                  <a:lnTo>
                    <a:pt x="158019" y="81058"/>
                  </a:lnTo>
                  <a:lnTo>
                    <a:pt x="-1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B65CB62-8F6F-4CF0-AD73-4580F5CBCEAD}"/>
                </a:ext>
              </a:extLst>
            </p:cNvPr>
            <p:cNvSpPr/>
            <p:nvPr/>
          </p:nvSpPr>
          <p:spPr>
            <a:xfrm>
              <a:off x="9208019" y="4258333"/>
              <a:ext cx="86830" cy="70224"/>
            </a:xfrm>
            <a:custGeom>
              <a:avLst/>
              <a:gdLst>
                <a:gd name="connsiteX0" fmla="*/ -1 w 100107"/>
                <a:gd name="connsiteY0" fmla="*/ 0 h 80962"/>
                <a:gd name="connsiteX1" fmla="*/ 100107 w 100107"/>
                <a:gd name="connsiteY1" fmla="*/ 0 h 80962"/>
                <a:gd name="connsiteX2" fmla="*/ 100107 w 100107"/>
                <a:gd name="connsiteY2" fmla="*/ 80963 h 80962"/>
                <a:gd name="connsiteX3" fmla="*/ -1 w 1001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107" h="80962">
                  <a:moveTo>
                    <a:pt x="-1" y="0"/>
                  </a:moveTo>
                  <a:lnTo>
                    <a:pt x="100107" y="0"/>
                  </a:lnTo>
                  <a:lnTo>
                    <a:pt x="100107" y="80963"/>
                  </a:lnTo>
                  <a:lnTo>
                    <a:pt x="-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63A10CC8-9776-4ACE-905C-F3F4B7F54751}"/>
                </a:ext>
              </a:extLst>
            </p:cNvPr>
            <p:cNvSpPr/>
            <p:nvPr/>
          </p:nvSpPr>
          <p:spPr>
            <a:xfrm>
              <a:off x="8838720" y="4258333"/>
              <a:ext cx="261070" cy="70224"/>
            </a:xfrm>
            <a:custGeom>
              <a:avLst/>
              <a:gdLst>
                <a:gd name="connsiteX0" fmla="*/ 0 w 300989"/>
                <a:gd name="connsiteY0" fmla="*/ 0 h 80962"/>
                <a:gd name="connsiteX1" fmla="*/ 300990 w 300989"/>
                <a:gd name="connsiteY1" fmla="*/ 0 h 80962"/>
                <a:gd name="connsiteX2" fmla="*/ 300990 w 300989"/>
                <a:gd name="connsiteY2" fmla="*/ 80963 h 80962"/>
                <a:gd name="connsiteX3" fmla="*/ 0 w 30098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89" h="80962">
                  <a:moveTo>
                    <a:pt x="0" y="0"/>
                  </a:moveTo>
                  <a:lnTo>
                    <a:pt x="300990" y="0"/>
                  </a:lnTo>
                  <a:lnTo>
                    <a:pt x="30099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8D146B9-DE8B-4F93-B0F9-CB0B5B9FB166}"/>
                </a:ext>
              </a:extLst>
            </p:cNvPr>
            <p:cNvSpPr/>
            <p:nvPr/>
          </p:nvSpPr>
          <p:spPr>
            <a:xfrm>
              <a:off x="8355160" y="4850948"/>
              <a:ext cx="1173662" cy="70307"/>
            </a:xfrm>
            <a:custGeom>
              <a:avLst/>
              <a:gdLst>
                <a:gd name="connsiteX0" fmla="*/ 0 w 1353121"/>
                <a:gd name="connsiteY0" fmla="*/ 0 h 81057"/>
                <a:gd name="connsiteX1" fmla="*/ 1353122 w 1353121"/>
                <a:gd name="connsiteY1" fmla="*/ 0 h 81057"/>
                <a:gd name="connsiteX2" fmla="*/ 1353122 w 1353121"/>
                <a:gd name="connsiteY2" fmla="*/ 81058 h 81057"/>
                <a:gd name="connsiteX3" fmla="*/ 0 w 135312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121" h="81057">
                  <a:moveTo>
                    <a:pt x="0" y="0"/>
                  </a:moveTo>
                  <a:lnTo>
                    <a:pt x="1353122" y="0"/>
                  </a:lnTo>
                  <a:lnTo>
                    <a:pt x="135312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0A745ED7-5CBE-430B-8F86-8A6175C5A94D}"/>
                </a:ext>
              </a:extLst>
            </p:cNvPr>
            <p:cNvSpPr/>
            <p:nvPr/>
          </p:nvSpPr>
          <p:spPr>
            <a:xfrm>
              <a:off x="10018082" y="5206615"/>
              <a:ext cx="70307" cy="70224"/>
            </a:xfrm>
            <a:custGeom>
              <a:avLst/>
              <a:gdLst>
                <a:gd name="connsiteX0" fmla="*/ 0 w 81057"/>
                <a:gd name="connsiteY0" fmla="*/ 0 h 80962"/>
                <a:gd name="connsiteX1" fmla="*/ 81058 w 81057"/>
                <a:gd name="connsiteY1" fmla="*/ 0 h 80962"/>
                <a:gd name="connsiteX2" fmla="*/ 81058 w 81057"/>
                <a:gd name="connsiteY2" fmla="*/ 80963 h 80962"/>
                <a:gd name="connsiteX3" fmla="*/ 0 w 8105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057" h="80962">
                  <a:moveTo>
                    <a:pt x="0" y="0"/>
                  </a:moveTo>
                  <a:lnTo>
                    <a:pt x="81058" y="0"/>
                  </a:lnTo>
                  <a:lnTo>
                    <a:pt x="810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B1113654-C5C6-4F0D-92BD-ED27E2A7D306}"/>
                </a:ext>
              </a:extLst>
            </p:cNvPr>
            <p:cNvSpPr/>
            <p:nvPr/>
          </p:nvSpPr>
          <p:spPr>
            <a:xfrm>
              <a:off x="10001228" y="5325171"/>
              <a:ext cx="158295" cy="70224"/>
            </a:xfrm>
            <a:custGeom>
              <a:avLst/>
              <a:gdLst>
                <a:gd name="connsiteX0" fmla="*/ 0 w 182499"/>
                <a:gd name="connsiteY0" fmla="*/ 0 h 80962"/>
                <a:gd name="connsiteX1" fmla="*/ 182499 w 182499"/>
                <a:gd name="connsiteY1" fmla="*/ 0 h 80962"/>
                <a:gd name="connsiteX2" fmla="*/ 182499 w 182499"/>
                <a:gd name="connsiteY2" fmla="*/ 80962 h 80962"/>
                <a:gd name="connsiteX3" fmla="*/ 0 w 1824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499" h="80962">
                  <a:moveTo>
                    <a:pt x="0" y="0"/>
                  </a:moveTo>
                  <a:lnTo>
                    <a:pt x="182499" y="0"/>
                  </a:lnTo>
                  <a:lnTo>
                    <a:pt x="1824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D3BFFDE6-8022-4FD4-90EB-95BDF340D617}"/>
                </a:ext>
              </a:extLst>
            </p:cNvPr>
            <p:cNvSpPr/>
            <p:nvPr/>
          </p:nvSpPr>
          <p:spPr>
            <a:xfrm>
              <a:off x="5487842" y="4850948"/>
              <a:ext cx="361533" cy="70307"/>
            </a:xfrm>
            <a:custGeom>
              <a:avLst/>
              <a:gdLst>
                <a:gd name="connsiteX0" fmla="*/ 0 w 416813"/>
                <a:gd name="connsiteY0" fmla="*/ 0 h 81057"/>
                <a:gd name="connsiteX1" fmla="*/ 416814 w 416813"/>
                <a:gd name="connsiteY1" fmla="*/ 0 h 81057"/>
                <a:gd name="connsiteX2" fmla="*/ 416814 w 416813"/>
                <a:gd name="connsiteY2" fmla="*/ 81058 h 81057"/>
                <a:gd name="connsiteX3" fmla="*/ 0 w 4168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813" h="81057">
                  <a:moveTo>
                    <a:pt x="0" y="0"/>
                  </a:moveTo>
                  <a:lnTo>
                    <a:pt x="416814" y="0"/>
                  </a:lnTo>
                  <a:lnTo>
                    <a:pt x="41681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8394FA70-F32B-4863-B9E5-BF2CBA037160}"/>
                </a:ext>
              </a:extLst>
            </p:cNvPr>
            <p:cNvSpPr/>
            <p:nvPr/>
          </p:nvSpPr>
          <p:spPr>
            <a:xfrm>
              <a:off x="5440997" y="4732474"/>
              <a:ext cx="515202" cy="70224"/>
            </a:xfrm>
            <a:custGeom>
              <a:avLst/>
              <a:gdLst>
                <a:gd name="connsiteX0" fmla="*/ 0 w 593979"/>
                <a:gd name="connsiteY0" fmla="*/ 0 h 80962"/>
                <a:gd name="connsiteX1" fmla="*/ 593979 w 593979"/>
                <a:gd name="connsiteY1" fmla="*/ 0 h 80962"/>
                <a:gd name="connsiteX2" fmla="*/ 593979 w 593979"/>
                <a:gd name="connsiteY2" fmla="*/ 80962 h 80962"/>
                <a:gd name="connsiteX3" fmla="*/ 0 w 5939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979" h="80962">
                  <a:moveTo>
                    <a:pt x="0" y="0"/>
                  </a:moveTo>
                  <a:lnTo>
                    <a:pt x="593979" y="0"/>
                  </a:lnTo>
                  <a:lnTo>
                    <a:pt x="5939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F19236A6-E77C-48BB-951E-9E2064183CA5}"/>
                </a:ext>
              </a:extLst>
            </p:cNvPr>
            <p:cNvSpPr/>
            <p:nvPr/>
          </p:nvSpPr>
          <p:spPr>
            <a:xfrm>
              <a:off x="5412659" y="4613919"/>
              <a:ext cx="631279" cy="70224"/>
            </a:xfrm>
            <a:custGeom>
              <a:avLst/>
              <a:gdLst>
                <a:gd name="connsiteX0" fmla="*/ 0 w 727805"/>
                <a:gd name="connsiteY0" fmla="*/ 0 h 80962"/>
                <a:gd name="connsiteX1" fmla="*/ 727805 w 727805"/>
                <a:gd name="connsiteY1" fmla="*/ 0 h 80962"/>
                <a:gd name="connsiteX2" fmla="*/ 727805 w 727805"/>
                <a:gd name="connsiteY2" fmla="*/ 80963 h 80962"/>
                <a:gd name="connsiteX3" fmla="*/ 0 w 7278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7805" h="80962">
                  <a:moveTo>
                    <a:pt x="0" y="0"/>
                  </a:moveTo>
                  <a:lnTo>
                    <a:pt x="727805" y="0"/>
                  </a:lnTo>
                  <a:lnTo>
                    <a:pt x="72780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F9333C2-B133-42BD-AA2B-AB625831A4D3}"/>
                </a:ext>
              </a:extLst>
            </p:cNvPr>
            <p:cNvSpPr/>
            <p:nvPr/>
          </p:nvSpPr>
          <p:spPr>
            <a:xfrm>
              <a:off x="5374986" y="4495362"/>
              <a:ext cx="668953" cy="70307"/>
            </a:xfrm>
            <a:custGeom>
              <a:avLst/>
              <a:gdLst>
                <a:gd name="connsiteX0" fmla="*/ 0 w 771239"/>
                <a:gd name="connsiteY0" fmla="*/ 0 h 81057"/>
                <a:gd name="connsiteX1" fmla="*/ 771239 w 771239"/>
                <a:gd name="connsiteY1" fmla="*/ 0 h 81057"/>
                <a:gd name="connsiteX2" fmla="*/ 771239 w 771239"/>
                <a:gd name="connsiteY2" fmla="*/ 81058 h 81057"/>
                <a:gd name="connsiteX3" fmla="*/ 0 w 7712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239" h="81057">
                  <a:moveTo>
                    <a:pt x="0" y="0"/>
                  </a:moveTo>
                  <a:lnTo>
                    <a:pt x="771239" y="0"/>
                  </a:lnTo>
                  <a:lnTo>
                    <a:pt x="7712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357AD75E-1923-4796-975F-70A881B9E958}"/>
                </a:ext>
              </a:extLst>
            </p:cNvPr>
            <p:cNvSpPr/>
            <p:nvPr/>
          </p:nvSpPr>
          <p:spPr>
            <a:xfrm>
              <a:off x="6297987" y="4495362"/>
              <a:ext cx="157881" cy="70307"/>
            </a:xfrm>
            <a:custGeom>
              <a:avLst/>
              <a:gdLst>
                <a:gd name="connsiteX0" fmla="*/ 0 w 182022"/>
                <a:gd name="connsiteY0" fmla="*/ 0 h 81057"/>
                <a:gd name="connsiteX1" fmla="*/ 182023 w 182022"/>
                <a:gd name="connsiteY1" fmla="*/ 0 h 81057"/>
                <a:gd name="connsiteX2" fmla="*/ 182023 w 182022"/>
                <a:gd name="connsiteY2" fmla="*/ 81058 h 81057"/>
                <a:gd name="connsiteX3" fmla="*/ 0 w 18202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22" h="81057">
                  <a:moveTo>
                    <a:pt x="0" y="0"/>
                  </a:moveTo>
                  <a:lnTo>
                    <a:pt x="182023" y="0"/>
                  </a:lnTo>
                  <a:lnTo>
                    <a:pt x="18202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51F2CF21-2D1D-4678-B592-A402BA65D74C}"/>
                </a:ext>
              </a:extLst>
            </p:cNvPr>
            <p:cNvSpPr/>
            <p:nvPr/>
          </p:nvSpPr>
          <p:spPr>
            <a:xfrm>
              <a:off x="6297987" y="4376806"/>
              <a:ext cx="180684" cy="70307"/>
            </a:xfrm>
            <a:custGeom>
              <a:avLst/>
              <a:gdLst>
                <a:gd name="connsiteX0" fmla="*/ 0 w 208311"/>
                <a:gd name="connsiteY0" fmla="*/ 0 h 81057"/>
                <a:gd name="connsiteX1" fmla="*/ 208312 w 208311"/>
                <a:gd name="connsiteY1" fmla="*/ 0 h 81057"/>
                <a:gd name="connsiteX2" fmla="*/ 208312 w 208311"/>
                <a:gd name="connsiteY2" fmla="*/ 81058 h 81057"/>
                <a:gd name="connsiteX3" fmla="*/ 0 w 20831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11" h="81057">
                  <a:moveTo>
                    <a:pt x="0" y="0"/>
                  </a:moveTo>
                  <a:lnTo>
                    <a:pt x="208312" y="0"/>
                  </a:lnTo>
                  <a:lnTo>
                    <a:pt x="20831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7BA93DA2-6166-4FBD-894D-3DA11D4D351C}"/>
                </a:ext>
              </a:extLst>
            </p:cNvPr>
            <p:cNvSpPr/>
            <p:nvPr/>
          </p:nvSpPr>
          <p:spPr>
            <a:xfrm>
              <a:off x="6432158" y="4258333"/>
              <a:ext cx="59071" cy="70224"/>
            </a:xfrm>
            <a:custGeom>
              <a:avLst/>
              <a:gdLst>
                <a:gd name="connsiteX0" fmla="*/ 0 w 68103"/>
                <a:gd name="connsiteY0" fmla="*/ 0 h 80962"/>
                <a:gd name="connsiteX1" fmla="*/ 68104 w 68103"/>
                <a:gd name="connsiteY1" fmla="*/ 0 h 80962"/>
                <a:gd name="connsiteX2" fmla="*/ 68104 w 68103"/>
                <a:gd name="connsiteY2" fmla="*/ 80963 h 80962"/>
                <a:gd name="connsiteX3" fmla="*/ 0 w 68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" h="80962">
                  <a:moveTo>
                    <a:pt x="0" y="0"/>
                  </a:moveTo>
                  <a:lnTo>
                    <a:pt x="68104" y="0"/>
                  </a:lnTo>
                  <a:lnTo>
                    <a:pt x="68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E442E29A-8361-4CD8-810F-184AF3F0167D}"/>
                </a:ext>
              </a:extLst>
            </p:cNvPr>
            <p:cNvSpPr/>
            <p:nvPr/>
          </p:nvSpPr>
          <p:spPr>
            <a:xfrm>
              <a:off x="6277167" y="4613919"/>
              <a:ext cx="128717" cy="70224"/>
            </a:xfrm>
            <a:custGeom>
              <a:avLst/>
              <a:gdLst>
                <a:gd name="connsiteX0" fmla="*/ 0 w 148399"/>
                <a:gd name="connsiteY0" fmla="*/ 0 h 80962"/>
                <a:gd name="connsiteX1" fmla="*/ 148400 w 148399"/>
                <a:gd name="connsiteY1" fmla="*/ 0 h 80962"/>
                <a:gd name="connsiteX2" fmla="*/ 148400 w 148399"/>
                <a:gd name="connsiteY2" fmla="*/ 80963 h 80962"/>
                <a:gd name="connsiteX3" fmla="*/ 0 w 1483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399" h="80962">
                  <a:moveTo>
                    <a:pt x="0" y="0"/>
                  </a:moveTo>
                  <a:lnTo>
                    <a:pt x="148400" y="0"/>
                  </a:lnTo>
                  <a:lnTo>
                    <a:pt x="1484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72A7AF-86FD-4207-B8E1-11B7F6000092}"/>
                </a:ext>
              </a:extLst>
            </p:cNvPr>
            <p:cNvSpPr/>
            <p:nvPr/>
          </p:nvSpPr>
          <p:spPr>
            <a:xfrm>
              <a:off x="5343096" y="4376806"/>
              <a:ext cx="863930" cy="70307"/>
            </a:xfrm>
            <a:custGeom>
              <a:avLst/>
              <a:gdLst>
                <a:gd name="connsiteX0" fmla="*/ 0 w 996029"/>
                <a:gd name="connsiteY0" fmla="*/ 0 h 81057"/>
                <a:gd name="connsiteX1" fmla="*/ 996029 w 996029"/>
                <a:gd name="connsiteY1" fmla="*/ 0 h 81057"/>
                <a:gd name="connsiteX2" fmla="*/ 996029 w 996029"/>
                <a:gd name="connsiteY2" fmla="*/ 81058 h 81057"/>
                <a:gd name="connsiteX3" fmla="*/ 0 w 9960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029" h="81057">
                  <a:moveTo>
                    <a:pt x="0" y="0"/>
                  </a:moveTo>
                  <a:lnTo>
                    <a:pt x="996029" y="0"/>
                  </a:lnTo>
                  <a:lnTo>
                    <a:pt x="9960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D6BA823B-AED4-46EA-B08B-9E06DBC0907D}"/>
                </a:ext>
              </a:extLst>
            </p:cNvPr>
            <p:cNvSpPr/>
            <p:nvPr/>
          </p:nvSpPr>
          <p:spPr>
            <a:xfrm>
              <a:off x="5382339" y="4139777"/>
              <a:ext cx="799075" cy="70224"/>
            </a:xfrm>
            <a:custGeom>
              <a:avLst/>
              <a:gdLst>
                <a:gd name="connsiteX0" fmla="*/ 0 w 921258"/>
                <a:gd name="connsiteY0" fmla="*/ 0 h 80962"/>
                <a:gd name="connsiteX1" fmla="*/ 921258 w 921258"/>
                <a:gd name="connsiteY1" fmla="*/ 0 h 80962"/>
                <a:gd name="connsiteX2" fmla="*/ 921258 w 921258"/>
                <a:gd name="connsiteY2" fmla="*/ 80963 h 80962"/>
                <a:gd name="connsiteX3" fmla="*/ 0 w 92125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1258" h="80962">
                  <a:moveTo>
                    <a:pt x="0" y="0"/>
                  </a:moveTo>
                  <a:lnTo>
                    <a:pt x="921258" y="0"/>
                  </a:lnTo>
                  <a:lnTo>
                    <a:pt x="92125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7C37136-3E9A-4A82-A1EB-A611597DBB88}"/>
                </a:ext>
              </a:extLst>
            </p:cNvPr>
            <p:cNvSpPr/>
            <p:nvPr/>
          </p:nvSpPr>
          <p:spPr>
            <a:xfrm>
              <a:off x="5339709" y="4021221"/>
              <a:ext cx="841706" cy="70224"/>
            </a:xfrm>
            <a:custGeom>
              <a:avLst/>
              <a:gdLst>
                <a:gd name="connsiteX0" fmla="*/ 0 w 970407"/>
                <a:gd name="connsiteY0" fmla="*/ 0 h 80962"/>
                <a:gd name="connsiteX1" fmla="*/ 970407 w 970407"/>
                <a:gd name="connsiteY1" fmla="*/ 0 h 80962"/>
                <a:gd name="connsiteX2" fmla="*/ 970407 w 970407"/>
                <a:gd name="connsiteY2" fmla="*/ 80963 h 80962"/>
                <a:gd name="connsiteX3" fmla="*/ 0 w 97040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407" h="80962">
                  <a:moveTo>
                    <a:pt x="0" y="0"/>
                  </a:moveTo>
                  <a:lnTo>
                    <a:pt x="970407" y="0"/>
                  </a:lnTo>
                  <a:lnTo>
                    <a:pt x="97040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42FBE2E6-620E-4DEE-8A09-D2A58FB29179}"/>
                </a:ext>
              </a:extLst>
            </p:cNvPr>
            <p:cNvSpPr/>
            <p:nvPr/>
          </p:nvSpPr>
          <p:spPr>
            <a:xfrm>
              <a:off x="5261552" y="3902666"/>
              <a:ext cx="1023381" cy="70307"/>
            </a:xfrm>
            <a:custGeom>
              <a:avLst/>
              <a:gdLst>
                <a:gd name="connsiteX0" fmla="*/ 0 w 1179861"/>
                <a:gd name="connsiteY0" fmla="*/ 0 h 81057"/>
                <a:gd name="connsiteX1" fmla="*/ 1179862 w 1179861"/>
                <a:gd name="connsiteY1" fmla="*/ 0 h 81057"/>
                <a:gd name="connsiteX2" fmla="*/ 1179862 w 1179861"/>
                <a:gd name="connsiteY2" fmla="*/ 81058 h 81057"/>
                <a:gd name="connsiteX3" fmla="*/ 0 w 11798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861" h="81057">
                  <a:moveTo>
                    <a:pt x="0" y="0"/>
                  </a:moveTo>
                  <a:lnTo>
                    <a:pt x="1179862" y="0"/>
                  </a:lnTo>
                  <a:lnTo>
                    <a:pt x="11798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4681B1EF-A3CF-448D-AAA0-D77DBC3273B1}"/>
                </a:ext>
              </a:extLst>
            </p:cNvPr>
            <p:cNvSpPr/>
            <p:nvPr/>
          </p:nvSpPr>
          <p:spPr>
            <a:xfrm>
              <a:off x="5294021" y="3784192"/>
              <a:ext cx="1141606" cy="70224"/>
            </a:xfrm>
            <a:custGeom>
              <a:avLst/>
              <a:gdLst>
                <a:gd name="connsiteX0" fmla="*/ 0 w 1316164"/>
                <a:gd name="connsiteY0" fmla="*/ 0 h 80962"/>
                <a:gd name="connsiteX1" fmla="*/ 1316165 w 1316164"/>
                <a:gd name="connsiteY1" fmla="*/ 0 h 80962"/>
                <a:gd name="connsiteX2" fmla="*/ 1316165 w 1316164"/>
                <a:gd name="connsiteY2" fmla="*/ 80962 h 80962"/>
                <a:gd name="connsiteX3" fmla="*/ 0 w 131616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6164" h="80962">
                  <a:moveTo>
                    <a:pt x="0" y="0"/>
                  </a:moveTo>
                  <a:lnTo>
                    <a:pt x="1316165" y="0"/>
                  </a:lnTo>
                  <a:lnTo>
                    <a:pt x="131616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D9782CE7-759B-40FF-8496-939686EA8196}"/>
                </a:ext>
              </a:extLst>
            </p:cNvPr>
            <p:cNvSpPr/>
            <p:nvPr/>
          </p:nvSpPr>
          <p:spPr>
            <a:xfrm>
              <a:off x="4621351" y="3665636"/>
              <a:ext cx="1883262" cy="70224"/>
            </a:xfrm>
            <a:custGeom>
              <a:avLst/>
              <a:gdLst>
                <a:gd name="connsiteX0" fmla="*/ 0 w 2171223"/>
                <a:gd name="connsiteY0" fmla="*/ 0 h 80962"/>
                <a:gd name="connsiteX1" fmla="*/ 2171224 w 2171223"/>
                <a:gd name="connsiteY1" fmla="*/ 0 h 80962"/>
                <a:gd name="connsiteX2" fmla="*/ 2171224 w 2171223"/>
                <a:gd name="connsiteY2" fmla="*/ 80962 h 80962"/>
                <a:gd name="connsiteX3" fmla="*/ 0 w 217122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1223" h="80962">
                  <a:moveTo>
                    <a:pt x="0" y="0"/>
                  </a:moveTo>
                  <a:lnTo>
                    <a:pt x="2171224" y="0"/>
                  </a:lnTo>
                  <a:lnTo>
                    <a:pt x="217122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C489DC80-ABFD-410F-A3C6-400F4E68A888}"/>
                </a:ext>
              </a:extLst>
            </p:cNvPr>
            <p:cNvSpPr/>
            <p:nvPr/>
          </p:nvSpPr>
          <p:spPr>
            <a:xfrm>
              <a:off x="4517335" y="3547081"/>
              <a:ext cx="2019251" cy="70224"/>
            </a:xfrm>
            <a:custGeom>
              <a:avLst/>
              <a:gdLst>
                <a:gd name="connsiteX0" fmla="*/ 0 w 2328005"/>
                <a:gd name="connsiteY0" fmla="*/ 0 h 80962"/>
                <a:gd name="connsiteX1" fmla="*/ 2328005 w 2328005"/>
                <a:gd name="connsiteY1" fmla="*/ 0 h 80962"/>
                <a:gd name="connsiteX2" fmla="*/ 2328005 w 2328005"/>
                <a:gd name="connsiteY2" fmla="*/ 80962 h 80962"/>
                <a:gd name="connsiteX3" fmla="*/ 0 w 232800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005" h="80962">
                  <a:moveTo>
                    <a:pt x="0" y="0"/>
                  </a:moveTo>
                  <a:lnTo>
                    <a:pt x="2328005" y="0"/>
                  </a:lnTo>
                  <a:lnTo>
                    <a:pt x="232800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60E76E1E-15EC-4157-B34D-8C6C3D8A83D8}"/>
                </a:ext>
              </a:extLst>
            </p:cNvPr>
            <p:cNvSpPr/>
            <p:nvPr/>
          </p:nvSpPr>
          <p:spPr>
            <a:xfrm>
              <a:off x="4492302" y="3428525"/>
              <a:ext cx="1720093" cy="70307"/>
            </a:xfrm>
            <a:custGeom>
              <a:avLst/>
              <a:gdLst>
                <a:gd name="connsiteX0" fmla="*/ 0 w 1983104"/>
                <a:gd name="connsiteY0" fmla="*/ 0 h 81057"/>
                <a:gd name="connsiteX1" fmla="*/ 1983105 w 1983104"/>
                <a:gd name="connsiteY1" fmla="*/ 0 h 81057"/>
                <a:gd name="connsiteX2" fmla="*/ 1983105 w 1983104"/>
                <a:gd name="connsiteY2" fmla="*/ 81058 h 81057"/>
                <a:gd name="connsiteX3" fmla="*/ 0 w 198310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104" h="81057">
                  <a:moveTo>
                    <a:pt x="0" y="0"/>
                  </a:moveTo>
                  <a:lnTo>
                    <a:pt x="1983105" y="0"/>
                  </a:lnTo>
                  <a:lnTo>
                    <a:pt x="198310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F50CFBE6-333E-49B5-AAAD-39A641DF0000}"/>
                </a:ext>
              </a:extLst>
            </p:cNvPr>
            <p:cNvSpPr/>
            <p:nvPr/>
          </p:nvSpPr>
          <p:spPr>
            <a:xfrm>
              <a:off x="4492302" y="3191495"/>
              <a:ext cx="1600959" cy="70224"/>
            </a:xfrm>
            <a:custGeom>
              <a:avLst/>
              <a:gdLst>
                <a:gd name="connsiteX0" fmla="*/ 0 w 1845754"/>
                <a:gd name="connsiteY0" fmla="*/ 0 h 80962"/>
                <a:gd name="connsiteX1" fmla="*/ 1845754 w 1845754"/>
                <a:gd name="connsiteY1" fmla="*/ 0 h 80962"/>
                <a:gd name="connsiteX2" fmla="*/ 1845754 w 1845754"/>
                <a:gd name="connsiteY2" fmla="*/ 80963 h 80962"/>
                <a:gd name="connsiteX3" fmla="*/ 0 w 18457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5754" h="80962">
                  <a:moveTo>
                    <a:pt x="0" y="0"/>
                  </a:moveTo>
                  <a:lnTo>
                    <a:pt x="1845754" y="0"/>
                  </a:lnTo>
                  <a:lnTo>
                    <a:pt x="18457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7104BB74-6276-4A70-8EC0-5A8F2CB3ACEA}"/>
                </a:ext>
              </a:extLst>
            </p:cNvPr>
            <p:cNvSpPr/>
            <p:nvPr/>
          </p:nvSpPr>
          <p:spPr>
            <a:xfrm>
              <a:off x="4591195" y="3072939"/>
              <a:ext cx="1428206" cy="70224"/>
            </a:xfrm>
            <a:custGeom>
              <a:avLst/>
              <a:gdLst>
                <a:gd name="connsiteX0" fmla="*/ 0 w 1646586"/>
                <a:gd name="connsiteY0" fmla="*/ 0 h 80962"/>
                <a:gd name="connsiteX1" fmla="*/ 1646587 w 1646586"/>
                <a:gd name="connsiteY1" fmla="*/ 0 h 80962"/>
                <a:gd name="connsiteX2" fmla="*/ 1646587 w 1646586"/>
                <a:gd name="connsiteY2" fmla="*/ 80963 h 80962"/>
                <a:gd name="connsiteX3" fmla="*/ 0 w 16465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6586" h="80962">
                  <a:moveTo>
                    <a:pt x="0" y="0"/>
                  </a:moveTo>
                  <a:lnTo>
                    <a:pt x="1646587" y="0"/>
                  </a:lnTo>
                  <a:lnTo>
                    <a:pt x="164658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A2046B69-9E40-49D9-B3C6-CCA3C6D2025E}"/>
                </a:ext>
              </a:extLst>
            </p:cNvPr>
            <p:cNvSpPr/>
            <p:nvPr/>
          </p:nvSpPr>
          <p:spPr>
            <a:xfrm>
              <a:off x="6015849" y="2954300"/>
              <a:ext cx="397885" cy="70308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54AA5D1D-4E52-498E-8925-6E084A3EF8EE}"/>
                </a:ext>
              </a:extLst>
            </p:cNvPr>
            <p:cNvSpPr/>
            <p:nvPr/>
          </p:nvSpPr>
          <p:spPr>
            <a:xfrm>
              <a:off x="4809635" y="2835827"/>
              <a:ext cx="523546" cy="70307"/>
            </a:xfrm>
            <a:custGeom>
              <a:avLst/>
              <a:gdLst>
                <a:gd name="connsiteX0" fmla="*/ 0 w 603599"/>
                <a:gd name="connsiteY0" fmla="*/ 0 h 81057"/>
                <a:gd name="connsiteX1" fmla="*/ 603599 w 603599"/>
                <a:gd name="connsiteY1" fmla="*/ 0 h 81057"/>
                <a:gd name="connsiteX2" fmla="*/ 603599 w 603599"/>
                <a:gd name="connsiteY2" fmla="*/ 81058 h 81057"/>
                <a:gd name="connsiteX3" fmla="*/ 0 w 60359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99" h="81057">
                  <a:moveTo>
                    <a:pt x="0" y="0"/>
                  </a:moveTo>
                  <a:lnTo>
                    <a:pt x="603599" y="0"/>
                  </a:lnTo>
                  <a:lnTo>
                    <a:pt x="6035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B5A5D519-5CFB-4FDA-AC51-73157826FD55}"/>
                </a:ext>
              </a:extLst>
            </p:cNvPr>
            <p:cNvSpPr/>
            <p:nvPr/>
          </p:nvSpPr>
          <p:spPr>
            <a:xfrm>
              <a:off x="5043773" y="2717354"/>
              <a:ext cx="249008" cy="70224"/>
            </a:xfrm>
            <a:custGeom>
              <a:avLst/>
              <a:gdLst>
                <a:gd name="connsiteX0" fmla="*/ 0 w 287083"/>
                <a:gd name="connsiteY0" fmla="*/ 0 h 80962"/>
                <a:gd name="connsiteX1" fmla="*/ 287084 w 287083"/>
                <a:gd name="connsiteY1" fmla="*/ 0 h 80962"/>
                <a:gd name="connsiteX2" fmla="*/ 287084 w 287083"/>
                <a:gd name="connsiteY2" fmla="*/ 80962 h 80962"/>
                <a:gd name="connsiteX3" fmla="*/ 0 w 2870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83" h="80962">
                  <a:moveTo>
                    <a:pt x="0" y="0"/>
                  </a:moveTo>
                  <a:lnTo>
                    <a:pt x="287084" y="0"/>
                  </a:lnTo>
                  <a:lnTo>
                    <a:pt x="2870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F8713FAE-4588-4EEF-9B1C-B691F981A0A3}"/>
                </a:ext>
              </a:extLst>
            </p:cNvPr>
            <p:cNvSpPr/>
            <p:nvPr/>
          </p:nvSpPr>
          <p:spPr>
            <a:xfrm>
              <a:off x="4750895" y="2717354"/>
              <a:ext cx="240003" cy="70224"/>
            </a:xfrm>
            <a:custGeom>
              <a:avLst/>
              <a:gdLst>
                <a:gd name="connsiteX0" fmla="*/ 0 w 276701"/>
                <a:gd name="connsiteY0" fmla="*/ 0 h 80962"/>
                <a:gd name="connsiteX1" fmla="*/ 276701 w 276701"/>
                <a:gd name="connsiteY1" fmla="*/ 0 h 80962"/>
                <a:gd name="connsiteX2" fmla="*/ 276701 w 276701"/>
                <a:gd name="connsiteY2" fmla="*/ 80962 h 80962"/>
                <a:gd name="connsiteX3" fmla="*/ 0 w 27670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701" h="80962">
                  <a:moveTo>
                    <a:pt x="0" y="0"/>
                  </a:moveTo>
                  <a:lnTo>
                    <a:pt x="276701" y="0"/>
                  </a:lnTo>
                  <a:lnTo>
                    <a:pt x="27670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F9304D7E-FC37-4D1C-B599-4579CA61F03E}"/>
                </a:ext>
              </a:extLst>
            </p:cNvPr>
            <p:cNvSpPr/>
            <p:nvPr/>
          </p:nvSpPr>
          <p:spPr>
            <a:xfrm>
              <a:off x="5351440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EAC13FA-F09D-48DC-8655-356EEDB95347}"/>
                </a:ext>
              </a:extLst>
            </p:cNvPr>
            <p:cNvSpPr/>
            <p:nvPr/>
          </p:nvSpPr>
          <p:spPr>
            <a:xfrm>
              <a:off x="5581695" y="2717354"/>
              <a:ext cx="105833" cy="70224"/>
            </a:xfrm>
            <a:custGeom>
              <a:avLst/>
              <a:gdLst>
                <a:gd name="connsiteX0" fmla="*/ 0 w 122015"/>
                <a:gd name="connsiteY0" fmla="*/ 0 h 80962"/>
                <a:gd name="connsiteX1" fmla="*/ 122015 w 122015"/>
                <a:gd name="connsiteY1" fmla="*/ 0 h 80962"/>
                <a:gd name="connsiteX2" fmla="*/ 122015 w 122015"/>
                <a:gd name="connsiteY2" fmla="*/ 80962 h 80962"/>
                <a:gd name="connsiteX3" fmla="*/ 0 w 12201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15" h="80962">
                  <a:moveTo>
                    <a:pt x="0" y="0"/>
                  </a:moveTo>
                  <a:lnTo>
                    <a:pt x="122015" y="0"/>
                  </a:lnTo>
                  <a:lnTo>
                    <a:pt x="122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29574401-E44F-4B19-B5AE-66E1F8D685DD}"/>
                </a:ext>
              </a:extLst>
            </p:cNvPr>
            <p:cNvSpPr/>
            <p:nvPr/>
          </p:nvSpPr>
          <p:spPr>
            <a:xfrm>
              <a:off x="4527167" y="3309968"/>
              <a:ext cx="1612113" cy="70307"/>
            </a:xfrm>
            <a:custGeom>
              <a:avLst/>
              <a:gdLst>
                <a:gd name="connsiteX0" fmla="*/ 0 w 1858613"/>
                <a:gd name="connsiteY0" fmla="*/ 0 h 81057"/>
                <a:gd name="connsiteX1" fmla="*/ 1858613 w 1858613"/>
                <a:gd name="connsiteY1" fmla="*/ 0 h 81057"/>
                <a:gd name="connsiteX2" fmla="*/ 1858613 w 1858613"/>
                <a:gd name="connsiteY2" fmla="*/ 81058 h 81057"/>
                <a:gd name="connsiteX3" fmla="*/ 0 w 185861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8613" h="81057">
                  <a:moveTo>
                    <a:pt x="0" y="0"/>
                  </a:moveTo>
                  <a:lnTo>
                    <a:pt x="1858613" y="0"/>
                  </a:lnTo>
                  <a:lnTo>
                    <a:pt x="185861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97DC3A70-C9CC-465B-9CC8-766EE48B01E5}"/>
                </a:ext>
              </a:extLst>
            </p:cNvPr>
            <p:cNvSpPr/>
            <p:nvPr/>
          </p:nvSpPr>
          <p:spPr>
            <a:xfrm>
              <a:off x="5382339" y="4258333"/>
              <a:ext cx="824686" cy="70224"/>
            </a:xfrm>
            <a:custGeom>
              <a:avLst/>
              <a:gdLst>
                <a:gd name="connsiteX0" fmla="*/ 0 w 950785"/>
                <a:gd name="connsiteY0" fmla="*/ 0 h 80962"/>
                <a:gd name="connsiteX1" fmla="*/ 950786 w 950785"/>
                <a:gd name="connsiteY1" fmla="*/ 0 h 80962"/>
                <a:gd name="connsiteX2" fmla="*/ 950786 w 950785"/>
                <a:gd name="connsiteY2" fmla="*/ 80963 h 80962"/>
                <a:gd name="connsiteX3" fmla="*/ 0 w 95078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785" h="80962">
                  <a:moveTo>
                    <a:pt x="0" y="0"/>
                  </a:moveTo>
                  <a:lnTo>
                    <a:pt x="950786" y="0"/>
                  </a:lnTo>
                  <a:lnTo>
                    <a:pt x="9507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CE184F2-3DD6-4FF4-A5E4-36CCBDB4E111}"/>
                </a:ext>
              </a:extLst>
            </p:cNvPr>
            <p:cNvSpPr/>
            <p:nvPr/>
          </p:nvSpPr>
          <p:spPr>
            <a:xfrm>
              <a:off x="2273778" y="3428525"/>
              <a:ext cx="291060" cy="70307"/>
            </a:xfrm>
            <a:custGeom>
              <a:avLst/>
              <a:gdLst>
                <a:gd name="connsiteX0" fmla="*/ 0 w 335565"/>
                <a:gd name="connsiteY0" fmla="*/ 0 h 81057"/>
                <a:gd name="connsiteX1" fmla="*/ 335566 w 335565"/>
                <a:gd name="connsiteY1" fmla="*/ 0 h 81057"/>
                <a:gd name="connsiteX2" fmla="*/ 335566 w 335565"/>
                <a:gd name="connsiteY2" fmla="*/ 81058 h 81057"/>
                <a:gd name="connsiteX3" fmla="*/ 0 w 33556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65" h="81057">
                  <a:moveTo>
                    <a:pt x="0" y="0"/>
                  </a:moveTo>
                  <a:lnTo>
                    <a:pt x="335566" y="0"/>
                  </a:lnTo>
                  <a:lnTo>
                    <a:pt x="33556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166F7BB0-A4AC-4CFC-8044-B1933B184F6F}"/>
                </a:ext>
              </a:extLst>
            </p:cNvPr>
            <p:cNvSpPr/>
            <p:nvPr/>
          </p:nvSpPr>
          <p:spPr>
            <a:xfrm>
              <a:off x="2319134" y="3309968"/>
              <a:ext cx="125330" cy="70307"/>
            </a:xfrm>
            <a:custGeom>
              <a:avLst/>
              <a:gdLst>
                <a:gd name="connsiteX0" fmla="*/ 0 w 144494"/>
                <a:gd name="connsiteY0" fmla="*/ 0 h 81057"/>
                <a:gd name="connsiteX1" fmla="*/ 144494 w 144494"/>
                <a:gd name="connsiteY1" fmla="*/ 0 h 81057"/>
                <a:gd name="connsiteX2" fmla="*/ 144494 w 144494"/>
                <a:gd name="connsiteY2" fmla="*/ 81058 h 81057"/>
                <a:gd name="connsiteX3" fmla="*/ 0 w 14449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494" h="81057">
                  <a:moveTo>
                    <a:pt x="0" y="0"/>
                  </a:moveTo>
                  <a:lnTo>
                    <a:pt x="144494" y="0"/>
                  </a:lnTo>
                  <a:lnTo>
                    <a:pt x="1444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0C42B2BA-BDF4-48CC-8DAC-218BC9A65FED}"/>
                </a:ext>
              </a:extLst>
            </p:cNvPr>
            <p:cNvSpPr/>
            <p:nvPr/>
          </p:nvSpPr>
          <p:spPr>
            <a:xfrm>
              <a:off x="2861849" y="3309968"/>
              <a:ext cx="148133" cy="70307"/>
            </a:xfrm>
            <a:custGeom>
              <a:avLst/>
              <a:gdLst>
                <a:gd name="connsiteX0" fmla="*/ 0 w 170783"/>
                <a:gd name="connsiteY0" fmla="*/ 0 h 81057"/>
                <a:gd name="connsiteX1" fmla="*/ 170783 w 170783"/>
                <a:gd name="connsiteY1" fmla="*/ 0 h 81057"/>
                <a:gd name="connsiteX2" fmla="*/ 170783 w 170783"/>
                <a:gd name="connsiteY2" fmla="*/ 81058 h 81057"/>
                <a:gd name="connsiteX3" fmla="*/ 0 w 17078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783" h="81057">
                  <a:moveTo>
                    <a:pt x="0" y="0"/>
                  </a:moveTo>
                  <a:lnTo>
                    <a:pt x="170783" y="0"/>
                  </a:lnTo>
                  <a:lnTo>
                    <a:pt x="17078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F174F0D5-2225-4F4D-8CE8-D89E27A5441E}"/>
                </a:ext>
              </a:extLst>
            </p:cNvPr>
            <p:cNvSpPr/>
            <p:nvPr/>
          </p:nvSpPr>
          <p:spPr>
            <a:xfrm>
              <a:off x="3033527" y="3309968"/>
              <a:ext cx="60558" cy="70307"/>
            </a:xfrm>
            <a:custGeom>
              <a:avLst/>
              <a:gdLst>
                <a:gd name="connsiteX0" fmla="*/ 0 w 69818"/>
                <a:gd name="connsiteY0" fmla="*/ 0 h 81057"/>
                <a:gd name="connsiteX1" fmla="*/ 69818 w 69818"/>
                <a:gd name="connsiteY1" fmla="*/ 0 h 81057"/>
                <a:gd name="connsiteX2" fmla="*/ 69818 w 69818"/>
                <a:gd name="connsiteY2" fmla="*/ 81058 h 81057"/>
                <a:gd name="connsiteX3" fmla="*/ 0 w 698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18" h="81057">
                  <a:moveTo>
                    <a:pt x="0" y="0"/>
                  </a:moveTo>
                  <a:lnTo>
                    <a:pt x="69818" y="0"/>
                  </a:lnTo>
                  <a:lnTo>
                    <a:pt x="698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41DFB11F-399D-4C8C-A018-26CF182BDE7B}"/>
                </a:ext>
              </a:extLst>
            </p:cNvPr>
            <p:cNvSpPr/>
            <p:nvPr/>
          </p:nvSpPr>
          <p:spPr>
            <a:xfrm>
              <a:off x="1957766" y="3309968"/>
              <a:ext cx="225380" cy="70307"/>
            </a:xfrm>
            <a:custGeom>
              <a:avLst/>
              <a:gdLst>
                <a:gd name="connsiteX0" fmla="*/ 0 w 259842"/>
                <a:gd name="connsiteY0" fmla="*/ 0 h 81057"/>
                <a:gd name="connsiteX1" fmla="*/ 259842 w 259842"/>
                <a:gd name="connsiteY1" fmla="*/ 0 h 81057"/>
                <a:gd name="connsiteX2" fmla="*/ 259842 w 259842"/>
                <a:gd name="connsiteY2" fmla="*/ 81058 h 81057"/>
                <a:gd name="connsiteX3" fmla="*/ 0 w 2598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42" h="81057">
                  <a:moveTo>
                    <a:pt x="0" y="0"/>
                  </a:moveTo>
                  <a:lnTo>
                    <a:pt x="259842" y="0"/>
                  </a:lnTo>
                  <a:lnTo>
                    <a:pt x="2598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EE4EDDBE-39C6-4E1C-9BDA-6B57D2F0AE74}"/>
                </a:ext>
              </a:extLst>
            </p:cNvPr>
            <p:cNvSpPr/>
            <p:nvPr/>
          </p:nvSpPr>
          <p:spPr>
            <a:xfrm>
              <a:off x="1902496" y="3191495"/>
              <a:ext cx="255948" cy="70224"/>
            </a:xfrm>
            <a:custGeom>
              <a:avLst/>
              <a:gdLst>
                <a:gd name="connsiteX0" fmla="*/ 0 w 295084"/>
                <a:gd name="connsiteY0" fmla="*/ 0 h 80962"/>
                <a:gd name="connsiteX1" fmla="*/ 295084 w 295084"/>
                <a:gd name="connsiteY1" fmla="*/ 0 h 80962"/>
                <a:gd name="connsiteX2" fmla="*/ 295084 w 295084"/>
                <a:gd name="connsiteY2" fmla="*/ 80963 h 80962"/>
                <a:gd name="connsiteX3" fmla="*/ 0 w 29508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084" h="80962">
                  <a:moveTo>
                    <a:pt x="0" y="0"/>
                  </a:moveTo>
                  <a:lnTo>
                    <a:pt x="295084" y="0"/>
                  </a:lnTo>
                  <a:lnTo>
                    <a:pt x="29508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1127BB14-14A5-4360-A8EA-15A3E9BFC025}"/>
                </a:ext>
              </a:extLst>
            </p:cNvPr>
            <p:cNvSpPr/>
            <p:nvPr/>
          </p:nvSpPr>
          <p:spPr>
            <a:xfrm>
              <a:off x="2533279" y="3191495"/>
              <a:ext cx="256031" cy="70224"/>
            </a:xfrm>
            <a:custGeom>
              <a:avLst/>
              <a:gdLst>
                <a:gd name="connsiteX0" fmla="*/ 0 w 295179"/>
                <a:gd name="connsiteY0" fmla="*/ 0 h 80962"/>
                <a:gd name="connsiteX1" fmla="*/ 295180 w 295179"/>
                <a:gd name="connsiteY1" fmla="*/ 0 h 80962"/>
                <a:gd name="connsiteX2" fmla="*/ 295180 w 295179"/>
                <a:gd name="connsiteY2" fmla="*/ 80963 h 80962"/>
                <a:gd name="connsiteX3" fmla="*/ 0 w 29517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179" h="80962">
                  <a:moveTo>
                    <a:pt x="0" y="0"/>
                  </a:moveTo>
                  <a:lnTo>
                    <a:pt x="295180" y="0"/>
                  </a:lnTo>
                  <a:lnTo>
                    <a:pt x="2951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83D6549E-09E4-4874-B8AF-DE983B4550DC}"/>
                </a:ext>
              </a:extLst>
            </p:cNvPr>
            <p:cNvSpPr/>
            <p:nvPr/>
          </p:nvSpPr>
          <p:spPr>
            <a:xfrm>
              <a:off x="2609039" y="3072939"/>
              <a:ext cx="75760" cy="70224"/>
            </a:xfrm>
            <a:custGeom>
              <a:avLst/>
              <a:gdLst>
                <a:gd name="connsiteX0" fmla="*/ 0 w 87344"/>
                <a:gd name="connsiteY0" fmla="*/ 0 h 80962"/>
                <a:gd name="connsiteX1" fmla="*/ 87344 w 87344"/>
                <a:gd name="connsiteY1" fmla="*/ 0 h 80962"/>
                <a:gd name="connsiteX2" fmla="*/ 87344 w 87344"/>
                <a:gd name="connsiteY2" fmla="*/ 80963 h 80962"/>
                <a:gd name="connsiteX3" fmla="*/ 0 w 8734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344" h="80962">
                  <a:moveTo>
                    <a:pt x="0" y="0"/>
                  </a:moveTo>
                  <a:lnTo>
                    <a:pt x="87344" y="0"/>
                  </a:lnTo>
                  <a:lnTo>
                    <a:pt x="8734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D800B92A-4BF8-46A1-97F5-F644CB72B26C}"/>
                </a:ext>
              </a:extLst>
            </p:cNvPr>
            <p:cNvSpPr/>
            <p:nvPr/>
          </p:nvSpPr>
          <p:spPr>
            <a:xfrm>
              <a:off x="1831610" y="3072939"/>
              <a:ext cx="326834" cy="70224"/>
            </a:xfrm>
            <a:custGeom>
              <a:avLst/>
              <a:gdLst>
                <a:gd name="connsiteX0" fmla="*/ 0 w 376809"/>
                <a:gd name="connsiteY0" fmla="*/ 0 h 80962"/>
                <a:gd name="connsiteX1" fmla="*/ 376809 w 376809"/>
                <a:gd name="connsiteY1" fmla="*/ 0 h 80962"/>
                <a:gd name="connsiteX2" fmla="*/ 376809 w 376809"/>
                <a:gd name="connsiteY2" fmla="*/ 80963 h 80962"/>
                <a:gd name="connsiteX3" fmla="*/ 0 w 3768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809" h="80962">
                  <a:moveTo>
                    <a:pt x="0" y="0"/>
                  </a:moveTo>
                  <a:lnTo>
                    <a:pt x="376809" y="0"/>
                  </a:lnTo>
                  <a:lnTo>
                    <a:pt x="3768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40A82424-C270-425B-AEC5-3A657B59ED8C}"/>
                </a:ext>
              </a:extLst>
            </p:cNvPr>
            <p:cNvSpPr/>
            <p:nvPr/>
          </p:nvSpPr>
          <p:spPr>
            <a:xfrm>
              <a:off x="1744201" y="2954383"/>
              <a:ext cx="668126" cy="70224"/>
            </a:xfrm>
            <a:custGeom>
              <a:avLst/>
              <a:gdLst>
                <a:gd name="connsiteX0" fmla="*/ 0 w 770286"/>
                <a:gd name="connsiteY0" fmla="*/ 0 h 80962"/>
                <a:gd name="connsiteX1" fmla="*/ 770287 w 770286"/>
                <a:gd name="connsiteY1" fmla="*/ 0 h 80962"/>
                <a:gd name="connsiteX2" fmla="*/ 770287 w 770286"/>
                <a:gd name="connsiteY2" fmla="*/ 80962 h 80962"/>
                <a:gd name="connsiteX3" fmla="*/ 0 w 77028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286" h="80962">
                  <a:moveTo>
                    <a:pt x="0" y="0"/>
                  </a:moveTo>
                  <a:lnTo>
                    <a:pt x="770287" y="0"/>
                  </a:lnTo>
                  <a:lnTo>
                    <a:pt x="77028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F25FE845-545D-4A81-BD26-00AEE5A12207}"/>
                </a:ext>
              </a:extLst>
            </p:cNvPr>
            <p:cNvSpPr/>
            <p:nvPr/>
          </p:nvSpPr>
          <p:spPr>
            <a:xfrm>
              <a:off x="1617961" y="2835827"/>
              <a:ext cx="1126074" cy="70307"/>
            </a:xfrm>
            <a:custGeom>
              <a:avLst/>
              <a:gdLst>
                <a:gd name="connsiteX0" fmla="*/ 0 w 1298257"/>
                <a:gd name="connsiteY0" fmla="*/ 0 h 81057"/>
                <a:gd name="connsiteX1" fmla="*/ 1298258 w 1298257"/>
                <a:gd name="connsiteY1" fmla="*/ 0 h 81057"/>
                <a:gd name="connsiteX2" fmla="*/ 1298258 w 1298257"/>
                <a:gd name="connsiteY2" fmla="*/ 81058 h 81057"/>
                <a:gd name="connsiteX3" fmla="*/ 0 w 12982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57" h="81057">
                  <a:moveTo>
                    <a:pt x="0" y="0"/>
                  </a:moveTo>
                  <a:lnTo>
                    <a:pt x="1298258" y="0"/>
                  </a:lnTo>
                  <a:lnTo>
                    <a:pt x="12982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703D29BE-90B6-437D-BB25-41D60C7EC2C9}"/>
                </a:ext>
              </a:extLst>
            </p:cNvPr>
            <p:cNvSpPr/>
            <p:nvPr/>
          </p:nvSpPr>
          <p:spPr>
            <a:xfrm>
              <a:off x="1510724" y="2717354"/>
              <a:ext cx="1342862" cy="70224"/>
            </a:xfrm>
            <a:custGeom>
              <a:avLst/>
              <a:gdLst>
                <a:gd name="connsiteX0" fmla="*/ 0 w 1548193"/>
                <a:gd name="connsiteY0" fmla="*/ 0 h 80962"/>
                <a:gd name="connsiteX1" fmla="*/ 1548193 w 1548193"/>
                <a:gd name="connsiteY1" fmla="*/ 0 h 80962"/>
                <a:gd name="connsiteX2" fmla="*/ 1548193 w 1548193"/>
                <a:gd name="connsiteY2" fmla="*/ 80962 h 80962"/>
                <a:gd name="connsiteX3" fmla="*/ 0 w 154819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8193" h="80962">
                  <a:moveTo>
                    <a:pt x="0" y="0"/>
                  </a:moveTo>
                  <a:lnTo>
                    <a:pt x="1548193" y="0"/>
                  </a:lnTo>
                  <a:lnTo>
                    <a:pt x="154819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8B6A81EB-DBA2-4526-96EF-84134A2D33CA}"/>
                </a:ext>
              </a:extLst>
            </p:cNvPr>
            <p:cNvSpPr/>
            <p:nvPr/>
          </p:nvSpPr>
          <p:spPr>
            <a:xfrm>
              <a:off x="1479495" y="2598798"/>
              <a:ext cx="1445556" cy="70224"/>
            </a:xfrm>
            <a:custGeom>
              <a:avLst/>
              <a:gdLst>
                <a:gd name="connsiteX0" fmla="*/ 0 w 1666589"/>
                <a:gd name="connsiteY0" fmla="*/ 0 h 80962"/>
                <a:gd name="connsiteX1" fmla="*/ 1666589 w 1666589"/>
                <a:gd name="connsiteY1" fmla="*/ 0 h 80962"/>
                <a:gd name="connsiteX2" fmla="*/ 1666589 w 1666589"/>
                <a:gd name="connsiteY2" fmla="*/ 80962 h 80962"/>
                <a:gd name="connsiteX3" fmla="*/ 0 w 166658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589" h="80962">
                  <a:moveTo>
                    <a:pt x="0" y="0"/>
                  </a:moveTo>
                  <a:lnTo>
                    <a:pt x="1666589" y="0"/>
                  </a:lnTo>
                  <a:lnTo>
                    <a:pt x="166658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530A09A1-8A30-4615-BE55-726823150E2A}"/>
                </a:ext>
              </a:extLst>
            </p:cNvPr>
            <p:cNvSpPr/>
            <p:nvPr/>
          </p:nvSpPr>
          <p:spPr>
            <a:xfrm>
              <a:off x="1479495" y="2480242"/>
              <a:ext cx="1562212" cy="70224"/>
            </a:xfrm>
            <a:custGeom>
              <a:avLst/>
              <a:gdLst>
                <a:gd name="connsiteX0" fmla="*/ 0 w 1801082"/>
                <a:gd name="connsiteY0" fmla="*/ 0 h 80962"/>
                <a:gd name="connsiteX1" fmla="*/ 1801082 w 1801082"/>
                <a:gd name="connsiteY1" fmla="*/ 0 h 80962"/>
                <a:gd name="connsiteX2" fmla="*/ 1801082 w 1801082"/>
                <a:gd name="connsiteY2" fmla="*/ 80963 h 80962"/>
                <a:gd name="connsiteX3" fmla="*/ 0 w 180108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082" h="80962">
                  <a:moveTo>
                    <a:pt x="0" y="0"/>
                  </a:moveTo>
                  <a:lnTo>
                    <a:pt x="1801082" y="0"/>
                  </a:lnTo>
                  <a:lnTo>
                    <a:pt x="180108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71D4B26-E715-47F0-8FB3-ACCCF473B2F8}"/>
                </a:ext>
              </a:extLst>
            </p:cNvPr>
            <p:cNvSpPr/>
            <p:nvPr/>
          </p:nvSpPr>
          <p:spPr>
            <a:xfrm>
              <a:off x="1479495" y="2361687"/>
              <a:ext cx="1877480" cy="70307"/>
            </a:xfrm>
            <a:custGeom>
              <a:avLst/>
              <a:gdLst>
                <a:gd name="connsiteX0" fmla="*/ 0 w 2164556"/>
                <a:gd name="connsiteY0" fmla="*/ 0 h 81057"/>
                <a:gd name="connsiteX1" fmla="*/ 2164556 w 2164556"/>
                <a:gd name="connsiteY1" fmla="*/ 0 h 81057"/>
                <a:gd name="connsiteX2" fmla="*/ 2164556 w 2164556"/>
                <a:gd name="connsiteY2" fmla="*/ 81058 h 81057"/>
                <a:gd name="connsiteX3" fmla="*/ 0 w 21645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4556" h="81057">
                  <a:moveTo>
                    <a:pt x="0" y="0"/>
                  </a:moveTo>
                  <a:lnTo>
                    <a:pt x="2164556" y="0"/>
                  </a:lnTo>
                  <a:lnTo>
                    <a:pt x="216455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B1994339-0888-403C-8B11-DEE05FFEE17E}"/>
                </a:ext>
              </a:extLst>
            </p:cNvPr>
            <p:cNvSpPr/>
            <p:nvPr/>
          </p:nvSpPr>
          <p:spPr>
            <a:xfrm>
              <a:off x="1479495" y="1887545"/>
              <a:ext cx="1280156" cy="70307"/>
            </a:xfrm>
            <a:custGeom>
              <a:avLst/>
              <a:gdLst>
                <a:gd name="connsiteX0" fmla="*/ 0 w 1475898"/>
                <a:gd name="connsiteY0" fmla="*/ 0 h 81057"/>
                <a:gd name="connsiteX1" fmla="*/ 1475899 w 1475898"/>
                <a:gd name="connsiteY1" fmla="*/ 0 h 81057"/>
                <a:gd name="connsiteX2" fmla="*/ 1475899 w 1475898"/>
                <a:gd name="connsiteY2" fmla="*/ 81058 h 81057"/>
                <a:gd name="connsiteX3" fmla="*/ 0 w 14758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898" h="81057">
                  <a:moveTo>
                    <a:pt x="0" y="0"/>
                  </a:moveTo>
                  <a:lnTo>
                    <a:pt x="1475899" y="0"/>
                  </a:lnTo>
                  <a:lnTo>
                    <a:pt x="14758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BE740322-B66B-41BF-A7F8-9E624F3FB636}"/>
                </a:ext>
              </a:extLst>
            </p:cNvPr>
            <p:cNvSpPr/>
            <p:nvPr/>
          </p:nvSpPr>
          <p:spPr>
            <a:xfrm>
              <a:off x="1479495" y="1768989"/>
              <a:ext cx="1108559" cy="70307"/>
            </a:xfrm>
            <a:custGeom>
              <a:avLst/>
              <a:gdLst>
                <a:gd name="connsiteX0" fmla="*/ 0 w 1278064"/>
                <a:gd name="connsiteY0" fmla="*/ 0 h 81057"/>
                <a:gd name="connsiteX1" fmla="*/ 1278065 w 1278064"/>
                <a:gd name="connsiteY1" fmla="*/ 0 h 81057"/>
                <a:gd name="connsiteX2" fmla="*/ 1278065 w 1278064"/>
                <a:gd name="connsiteY2" fmla="*/ 81058 h 81057"/>
                <a:gd name="connsiteX3" fmla="*/ 0 w 12780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064" h="81057">
                  <a:moveTo>
                    <a:pt x="0" y="0"/>
                  </a:moveTo>
                  <a:lnTo>
                    <a:pt x="1278065" y="0"/>
                  </a:lnTo>
                  <a:lnTo>
                    <a:pt x="12780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3793820B-E306-4EF2-BA61-09B92B93A7D0}"/>
                </a:ext>
              </a:extLst>
            </p:cNvPr>
            <p:cNvSpPr/>
            <p:nvPr/>
          </p:nvSpPr>
          <p:spPr>
            <a:xfrm>
              <a:off x="1450578" y="1650516"/>
              <a:ext cx="1137476" cy="70224"/>
            </a:xfrm>
            <a:custGeom>
              <a:avLst/>
              <a:gdLst>
                <a:gd name="connsiteX0" fmla="*/ 0 w 1311402"/>
                <a:gd name="connsiteY0" fmla="*/ 0 h 80962"/>
                <a:gd name="connsiteX1" fmla="*/ 1311402 w 1311402"/>
                <a:gd name="connsiteY1" fmla="*/ 0 h 80962"/>
                <a:gd name="connsiteX2" fmla="*/ 1311402 w 1311402"/>
                <a:gd name="connsiteY2" fmla="*/ 80963 h 80962"/>
                <a:gd name="connsiteX3" fmla="*/ 0 w 131140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1402" h="80962">
                  <a:moveTo>
                    <a:pt x="0" y="0"/>
                  </a:moveTo>
                  <a:lnTo>
                    <a:pt x="1311402" y="0"/>
                  </a:lnTo>
                  <a:lnTo>
                    <a:pt x="131140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677B5612-DA6F-45DC-B3BD-723CFC939BC1}"/>
                </a:ext>
              </a:extLst>
            </p:cNvPr>
            <p:cNvSpPr/>
            <p:nvPr/>
          </p:nvSpPr>
          <p:spPr>
            <a:xfrm>
              <a:off x="1371348" y="1531960"/>
              <a:ext cx="1375331" cy="70224"/>
            </a:xfrm>
            <a:custGeom>
              <a:avLst/>
              <a:gdLst>
                <a:gd name="connsiteX0" fmla="*/ 0 w 1585626"/>
                <a:gd name="connsiteY0" fmla="*/ 0 h 80962"/>
                <a:gd name="connsiteX1" fmla="*/ 1585627 w 1585626"/>
                <a:gd name="connsiteY1" fmla="*/ 0 h 80962"/>
                <a:gd name="connsiteX2" fmla="*/ 1585627 w 1585626"/>
                <a:gd name="connsiteY2" fmla="*/ 80962 h 80962"/>
                <a:gd name="connsiteX3" fmla="*/ 0 w 158562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626" h="80962">
                  <a:moveTo>
                    <a:pt x="0" y="0"/>
                  </a:moveTo>
                  <a:lnTo>
                    <a:pt x="1585627" y="0"/>
                  </a:lnTo>
                  <a:lnTo>
                    <a:pt x="158562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0664F876-2DBD-4E36-AF1B-ADCFC26283A0}"/>
                </a:ext>
              </a:extLst>
            </p:cNvPr>
            <p:cNvSpPr/>
            <p:nvPr/>
          </p:nvSpPr>
          <p:spPr>
            <a:xfrm>
              <a:off x="752048" y="1531960"/>
              <a:ext cx="125248" cy="70224"/>
            </a:xfrm>
            <a:custGeom>
              <a:avLst/>
              <a:gdLst>
                <a:gd name="connsiteX0" fmla="*/ 0 w 144399"/>
                <a:gd name="connsiteY0" fmla="*/ 0 h 80962"/>
                <a:gd name="connsiteX1" fmla="*/ 144399 w 144399"/>
                <a:gd name="connsiteY1" fmla="*/ 0 h 80962"/>
                <a:gd name="connsiteX2" fmla="*/ 144399 w 144399"/>
                <a:gd name="connsiteY2" fmla="*/ 80962 h 80962"/>
                <a:gd name="connsiteX3" fmla="*/ 0 w 14439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399" h="80962">
                  <a:moveTo>
                    <a:pt x="0" y="0"/>
                  </a:moveTo>
                  <a:lnTo>
                    <a:pt x="144399" y="0"/>
                  </a:lnTo>
                  <a:lnTo>
                    <a:pt x="14439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192CA032-E5A8-45EC-BC42-25FEFCC4E1E8}"/>
                </a:ext>
              </a:extLst>
            </p:cNvPr>
            <p:cNvSpPr/>
            <p:nvPr/>
          </p:nvSpPr>
          <p:spPr>
            <a:xfrm>
              <a:off x="566738" y="1650516"/>
              <a:ext cx="80386" cy="70224"/>
            </a:xfrm>
            <a:custGeom>
              <a:avLst/>
              <a:gdLst>
                <a:gd name="connsiteX0" fmla="*/ 0 w 92678"/>
                <a:gd name="connsiteY0" fmla="*/ 0 h 80962"/>
                <a:gd name="connsiteX1" fmla="*/ 92678 w 92678"/>
                <a:gd name="connsiteY1" fmla="*/ 0 h 80962"/>
                <a:gd name="connsiteX2" fmla="*/ 92678 w 92678"/>
                <a:gd name="connsiteY2" fmla="*/ 80963 h 80962"/>
                <a:gd name="connsiteX3" fmla="*/ 0 w 9267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78" h="80962">
                  <a:moveTo>
                    <a:pt x="0" y="0"/>
                  </a:moveTo>
                  <a:lnTo>
                    <a:pt x="92678" y="0"/>
                  </a:lnTo>
                  <a:lnTo>
                    <a:pt x="9267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660E97F5-2E04-46AD-939E-8E2C53EF271A}"/>
                </a:ext>
              </a:extLst>
            </p:cNvPr>
            <p:cNvSpPr/>
            <p:nvPr/>
          </p:nvSpPr>
          <p:spPr>
            <a:xfrm>
              <a:off x="785343" y="1413404"/>
              <a:ext cx="402429" cy="70224"/>
            </a:xfrm>
            <a:custGeom>
              <a:avLst/>
              <a:gdLst>
                <a:gd name="connsiteX0" fmla="*/ 0 w 463962"/>
                <a:gd name="connsiteY0" fmla="*/ 0 h 80962"/>
                <a:gd name="connsiteX1" fmla="*/ 463963 w 463962"/>
                <a:gd name="connsiteY1" fmla="*/ 0 h 80962"/>
                <a:gd name="connsiteX2" fmla="*/ 463963 w 463962"/>
                <a:gd name="connsiteY2" fmla="*/ 80963 h 80962"/>
                <a:gd name="connsiteX3" fmla="*/ 0 w 4639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962" h="80962">
                  <a:moveTo>
                    <a:pt x="0" y="0"/>
                  </a:moveTo>
                  <a:lnTo>
                    <a:pt x="463963" y="0"/>
                  </a:lnTo>
                  <a:lnTo>
                    <a:pt x="4639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3E918A5D-F8A7-4437-B8A8-1DB0A50CD3B2}"/>
                </a:ext>
              </a:extLst>
            </p:cNvPr>
            <p:cNvSpPr/>
            <p:nvPr/>
          </p:nvSpPr>
          <p:spPr>
            <a:xfrm>
              <a:off x="1261385" y="1413404"/>
              <a:ext cx="1722737" cy="70224"/>
            </a:xfrm>
            <a:custGeom>
              <a:avLst/>
              <a:gdLst>
                <a:gd name="connsiteX0" fmla="*/ 0 w 1986153"/>
                <a:gd name="connsiteY0" fmla="*/ 0 h 80962"/>
                <a:gd name="connsiteX1" fmla="*/ 1986153 w 1986153"/>
                <a:gd name="connsiteY1" fmla="*/ 0 h 80962"/>
                <a:gd name="connsiteX2" fmla="*/ 1986153 w 1986153"/>
                <a:gd name="connsiteY2" fmla="*/ 80963 h 80962"/>
                <a:gd name="connsiteX3" fmla="*/ 0 w 19861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6153" h="80962">
                  <a:moveTo>
                    <a:pt x="0" y="0"/>
                  </a:moveTo>
                  <a:lnTo>
                    <a:pt x="1986153" y="0"/>
                  </a:lnTo>
                  <a:lnTo>
                    <a:pt x="19861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938AA305-F54A-42AE-90DF-0FC54880390C}"/>
                </a:ext>
              </a:extLst>
            </p:cNvPr>
            <p:cNvSpPr/>
            <p:nvPr/>
          </p:nvSpPr>
          <p:spPr>
            <a:xfrm>
              <a:off x="745852" y="1294848"/>
              <a:ext cx="2314855" cy="70307"/>
            </a:xfrm>
            <a:custGeom>
              <a:avLst/>
              <a:gdLst>
                <a:gd name="connsiteX0" fmla="*/ 0 w 2668809"/>
                <a:gd name="connsiteY0" fmla="*/ 0 h 81057"/>
                <a:gd name="connsiteX1" fmla="*/ 2668810 w 2668809"/>
                <a:gd name="connsiteY1" fmla="*/ 0 h 81057"/>
                <a:gd name="connsiteX2" fmla="*/ 2668810 w 2668809"/>
                <a:gd name="connsiteY2" fmla="*/ 81058 h 81057"/>
                <a:gd name="connsiteX3" fmla="*/ 0 w 26688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809" h="81057">
                  <a:moveTo>
                    <a:pt x="0" y="0"/>
                  </a:moveTo>
                  <a:lnTo>
                    <a:pt x="2668810" y="0"/>
                  </a:lnTo>
                  <a:lnTo>
                    <a:pt x="26688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4156111D-35E9-49BD-AD38-517E466B8003}"/>
                </a:ext>
              </a:extLst>
            </p:cNvPr>
            <p:cNvSpPr/>
            <p:nvPr/>
          </p:nvSpPr>
          <p:spPr>
            <a:xfrm>
              <a:off x="745852" y="1176293"/>
              <a:ext cx="1799571" cy="70307"/>
            </a:xfrm>
            <a:custGeom>
              <a:avLst/>
              <a:gdLst>
                <a:gd name="connsiteX0" fmla="*/ 0 w 2074735"/>
                <a:gd name="connsiteY0" fmla="*/ 0 h 81057"/>
                <a:gd name="connsiteX1" fmla="*/ 2074736 w 2074735"/>
                <a:gd name="connsiteY1" fmla="*/ 0 h 81057"/>
                <a:gd name="connsiteX2" fmla="*/ 2074736 w 2074735"/>
                <a:gd name="connsiteY2" fmla="*/ 81058 h 81057"/>
                <a:gd name="connsiteX3" fmla="*/ 0 w 207473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735" h="81057">
                  <a:moveTo>
                    <a:pt x="0" y="0"/>
                  </a:moveTo>
                  <a:lnTo>
                    <a:pt x="2074736" y="0"/>
                  </a:lnTo>
                  <a:lnTo>
                    <a:pt x="207473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17A62EF5-F970-4DCF-A09E-D6F5A84DF7DE}"/>
                </a:ext>
              </a:extLst>
            </p:cNvPr>
            <p:cNvSpPr/>
            <p:nvPr/>
          </p:nvSpPr>
          <p:spPr>
            <a:xfrm>
              <a:off x="983625" y="1057819"/>
              <a:ext cx="1653339" cy="70224"/>
            </a:xfrm>
            <a:custGeom>
              <a:avLst/>
              <a:gdLst>
                <a:gd name="connsiteX0" fmla="*/ 0 w 1906143"/>
                <a:gd name="connsiteY0" fmla="*/ 0 h 80962"/>
                <a:gd name="connsiteX1" fmla="*/ 1906143 w 1906143"/>
                <a:gd name="connsiteY1" fmla="*/ 0 h 80962"/>
                <a:gd name="connsiteX2" fmla="*/ 1906143 w 1906143"/>
                <a:gd name="connsiteY2" fmla="*/ 80962 h 80962"/>
                <a:gd name="connsiteX3" fmla="*/ 0 w 190614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143" h="80962">
                  <a:moveTo>
                    <a:pt x="0" y="0"/>
                  </a:moveTo>
                  <a:lnTo>
                    <a:pt x="1906143" y="0"/>
                  </a:lnTo>
                  <a:lnTo>
                    <a:pt x="190614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586228EF-14A1-4427-AA23-82231E1A6E84}"/>
                </a:ext>
              </a:extLst>
            </p:cNvPr>
            <p:cNvSpPr/>
            <p:nvPr/>
          </p:nvSpPr>
          <p:spPr>
            <a:xfrm>
              <a:off x="854824" y="939263"/>
              <a:ext cx="1293374" cy="70224"/>
            </a:xfrm>
            <a:custGeom>
              <a:avLst/>
              <a:gdLst>
                <a:gd name="connsiteX0" fmla="*/ 0 w 1491138"/>
                <a:gd name="connsiteY0" fmla="*/ 0 h 80962"/>
                <a:gd name="connsiteX1" fmla="*/ 1491139 w 1491138"/>
                <a:gd name="connsiteY1" fmla="*/ 0 h 80962"/>
                <a:gd name="connsiteX2" fmla="*/ 1491139 w 1491138"/>
                <a:gd name="connsiteY2" fmla="*/ 80963 h 80962"/>
                <a:gd name="connsiteX3" fmla="*/ 0 w 14911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1138" h="80962">
                  <a:moveTo>
                    <a:pt x="0" y="0"/>
                  </a:moveTo>
                  <a:lnTo>
                    <a:pt x="1491139" y="0"/>
                  </a:lnTo>
                  <a:lnTo>
                    <a:pt x="149113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48524EE2-7E47-4C23-889B-2253555E7D73}"/>
                </a:ext>
              </a:extLst>
            </p:cNvPr>
            <p:cNvSpPr/>
            <p:nvPr/>
          </p:nvSpPr>
          <p:spPr>
            <a:xfrm>
              <a:off x="2270803" y="939263"/>
              <a:ext cx="354098" cy="70224"/>
            </a:xfrm>
            <a:custGeom>
              <a:avLst/>
              <a:gdLst>
                <a:gd name="connsiteX0" fmla="*/ 0 w 408241"/>
                <a:gd name="connsiteY0" fmla="*/ 0 h 80962"/>
                <a:gd name="connsiteX1" fmla="*/ 408241 w 408241"/>
                <a:gd name="connsiteY1" fmla="*/ 0 h 80962"/>
                <a:gd name="connsiteX2" fmla="*/ 408241 w 408241"/>
                <a:gd name="connsiteY2" fmla="*/ 80963 h 80962"/>
                <a:gd name="connsiteX3" fmla="*/ 0 w 408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0962">
                  <a:moveTo>
                    <a:pt x="0" y="0"/>
                  </a:moveTo>
                  <a:lnTo>
                    <a:pt x="408241" y="0"/>
                  </a:lnTo>
                  <a:lnTo>
                    <a:pt x="4082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57EF1927-A91D-4E16-97CB-85D63709E32E}"/>
                </a:ext>
              </a:extLst>
            </p:cNvPr>
            <p:cNvSpPr/>
            <p:nvPr/>
          </p:nvSpPr>
          <p:spPr>
            <a:xfrm>
              <a:off x="2739905" y="939263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3 h 80962"/>
                <a:gd name="connsiteX3" fmla="*/ 0 w 18373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C44DCDEF-7982-4947-8FB4-4A739934C3A2}"/>
                </a:ext>
              </a:extLst>
            </p:cNvPr>
            <p:cNvSpPr/>
            <p:nvPr/>
          </p:nvSpPr>
          <p:spPr>
            <a:xfrm>
              <a:off x="2764194" y="820707"/>
              <a:ext cx="251074" cy="70307"/>
            </a:xfrm>
            <a:custGeom>
              <a:avLst/>
              <a:gdLst>
                <a:gd name="connsiteX0" fmla="*/ 0 w 289464"/>
                <a:gd name="connsiteY0" fmla="*/ 0 h 81057"/>
                <a:gd name="connsiteX1" fmla="*/ 289465 w 289464"/>
                <a:gd name="connsiteY1" fmla="*/ 0 h 81057"/>
                <a:gd name="connsiteX2" fmla="*/ 289465 w 289464"/>
                <a:gd name="connsiteY2" fmla="*/ 81058 h 81057"/>
                <a:gd name="connsiteX3" fmla="*/ 0 w 2894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9464" h="81057">
                  <a:moveTo>
                    <a:pt x="0" y="0"/>
                  </a:moveTo>
                  <a:lnTo>
                    <a:pt x="289465" y="0"/>
                  </a:lnTo>
                  <a:lnTo>
                    <a:pt x="2894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BA08EDF2-0940-4680-8A4E-A178D366DB90}"/>
                </a:ext>
              </a:extLst>
            </p:cNvPr>
            <p:cNvSpPr/>
            <p:nvPr/>
          </p:nvSpPr>
          <p:spPr>
            <a:xfrm>
              <a:off x="3054016" y="702151"/>
              <a:ext cx="254626" cy="70307"/>
            </a:xfrm>
            <a:custGeom>
              <a:avLst/>
              <a:gdLst>
                <a:gd name="connsiteX0" fmla="*/ 0 w 293560"/>
                <a:gd name="connsiteY0" fmla="*/ 0 h 81057"/>
                <a:gd name="connsiteX1" fmla="*/ 293561 w 293560"/>
                <a:gd name="connsiteY1" fmla="*/ 0 h 81057"/>
                <a:gd name="connsiteX2" fmla="*/ 293561 w 293560"/>
                <a:gd name="connsiteY2" fmla="*/ 81058 h 81057"/>
                <a:gd name="connsiteX3" fmla="*/ 0 w 29356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60" h="81057">
                  <a:moveTo>
                    <a:pt x="0" y="0"/>
                  </a:moveTo>
                  <a:lnTo>
                    <a:pt x="293561" y="0"/>
                  </a:lnTo>
                  <a:lnTo>
                    <a:pt x="293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E6BAED4E-9EF5-49CE-841E-0AA15F3B2B14}"/>
                </a:ext>
              </a:extLst>
            </p:cNvPr>
            <p:cNvSpPr/>
            <p:nvPr/>
          </p:nvSpPr>
          <p:spPr>
            <a:xfrm>
              <a:off x="2495358" y="583677"/>
              <a:ext cx="290399" cy="70224"/>
            </a:xfrm>
            <a:custGeom>
              <a:avLst/>
              <a:gdLst>
                <a:gd name="connsiteX0" fmla="*/ 0 w 334803"/>
                <a:gd name="connsiteY0" fmla="*/ 0 h 80962"/>
                <a:gd name="connsiteX1" fmla="*/ 334804 w 334803"/>
                <a:gd name="connsiteY1" fmla="*/ 0 h 80962"/>
                <a:gd name="connsiteX2" fmla="*/ 334804 w 334803"/>
                <a:gd name="connsiteY2" fmla="*/ 80962 h 80962"/>
                <a:gd name="connsiteX3" fmla="*/ 0 w 33480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803" h="80962">
                  <a:moveTo>
                    <a:pt x="0" y="0"/>
                  </a:moveTo>
                  <a:lnTo>
                    <a:pt x="334804" y="0"/>
                  </a:lnTo>
                  <a:lnTo>
                    <a:pt x="33480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B328EA9F-E859-4EFE-AF15-A0675570C0FF}"/>
                </a:ext>
              </a:extLst>
            </p:cNvPr>
            <p:cNvSpPr/>
            <p:nvPr/>
          </p:nvSpPr>
          <p:spPr>
            <a:xfrm>
              <a:off x="2832850" y="583677"/>
              <a:ext cx="149537" cy="70224"/>
            </a:xfrm>
            <a:custGeom>
              <a:avLst/>
              <a:gdLst>
                <a:gd name="connsiteX0" fmla="*/ 0 w 172402"/>
                <a:gd name="connsiteY0" fmla="*/ 0 h 80962"/>
                <a:gd name="connsiteX1" fmla="*/ 172403 w 172402"/>
                <a:gd name="connsiteY1" fmla="*/ 0 h 80962"/>
                <a:gd name="connsiteX2" fmla="*/ 172403 w 172402"/>
                <a:gd name="connsiteY2" fmla="*/ 80962 h 80962"/>
                <a:gd name="connsiteX3" fmla="*/ 0 w 172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02" h="80962">
                  <a:moveTo>
                    <a:pt x="0" y="0"/>
                  </a:moveTo>
                  <a:lnTo>
                    <a:pt x="172403" y="0"/>
                  </a:lnTo>
                  <a:lnTo>
                    <a:pt x="172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6C9E249E-604A-48D5-AEBA-75709ABBE282}"/>
                </a:ext>
              </a:extLst>
            </p:cNvPr>
            <p:cNvSpPr/>
            <p:nvPr/>
          </p:nvSpPr>
          <p:spPr>
            <a:xfrm>
              <a:off x="3026918" y="583677"/>
              <a:ext cx="429362" cy="70224"/>
            </a:xfrm>
            <a:custGeom>
              <a:avLst/>
              <a:gdLst>
                <a:gd name="connsiteX0" fmla="*/ 0 w 495014"/>
                <a:gd name="connsiteY0" fmla="*/ 0 h 80962"/>
                <a:gd name="connsiteX1" fmla="*/ 495014 w 495014"/>
                <a:gd name="connsiteY1" fmla="*/ 0 h 80962"/>
                <a:gd name="connsiteX2" fmla="*/ 495014 w 495014"/>
                <a:gd name="connsiteY2" fmla="*/ 80962 h 80962"/>
                <a:gd name="connsiteX3" fmla="*/ 0 w 495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014" h="80962">
                  <a:moveTo>
                    <a:pt x="0" y="0"/>
                  </a:moveTo>
                  <a:lnTo>
                    <a:pt x="495014" y="0"/>
                  </a:lnTo>
                  <a:lnTo>
                    <a:pt x="49501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841959A3-D7E8-44FA-A852-25629B36FB8C}"/>
                </a:ext>
              </a:extLst>
            </p:cNvPr>
            <p:cNvSpPr/>
            <p:nvPr/>
          </p:nvSpPr>
          <p:spPr>
            <a:xfrm>
              <a:off x="2436369" y="465122"/>
              <a:ext cx="227528" cy="70224"/>
            </a:xfrm>
            <a:custGeom>
              <a:avLst/>
              <a:gdLst>
                <a:gd name="connsiteX0" fmla="*/ 0 w 262318"/>
                <a:gd name="connsiteY0" fmla="*/ 0 h 80962"/>
                <a:gd name="connsiteX1" fmla="*/ 262318 w 262318"/>
                <a:gd name="connsiteY1" fmla="*/ 0 h 80962"/>
                <a:gd name="connsiteX2" fmla="*/ 262318 w 262318"/>
                <a:gd name="connsiteY2" fmla="*/ 80963 h 80962"/>
                <a:gd name="connsiteX3" fmla="*/ 0 w 26231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318" h="80962">
                  <a:moveTo>
                    <a:pt x="0" y="0"/>
                  </a:moveTo>
                  <a:lnTo>
                    <a:pt x="262318" y="0"/>
                  </a:lnTo>
                  <a:lnTo>
                    <a:pt x="26231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F69D38D1-5179-4071-8988-AD9FA6C0D6D9}"/>
                </a:ext>
              </a:extLst>
            </p:cNvPr>
            <p:cNvSpPr/>
            <p:nvPr/>
          </p:nvSpPr>
          <p:spPr>
            <a:xfrm>
              <a:off x="2763533" y="346566"/>
              <a:ext cx="93770" cy="70224"/>
            </a:xfrm>
            <a:custGeom>
              <a:avLst/>
              <a:gdLst>
                <a:gd name="connsiteX0" fmla="*/ 0 w 108108"/>
                <a:gd name="connsiteY0" fmla="*/ 0 h 80962"/>
                <a:gd name="connsiteX1" fmla="*/ 108109 w 108108"/>
                <a:gd name="connsiteY1" fmla="*/ 0 h 80962"/>
                <a:gd name="connsiteX2" fmla="*/ 108109 w 108108"/>
                <a:gd name="connsiteY2" fmla="*/ 80963 h 80962"/>
                <a:gd name="connsiteX3" fmla="*/ 0 w 10810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08" h="80962">
                  <a:moveTo>
                    <a:pt x="0" y="0"/>
                  </a:moveTo>
                  <a:lnTo>
                    <a:pt x="108109" y="0"/>
                  </a:lnTo>
                  <a:lnTo>
                    <a:pt x="1081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586EBBEB-718E-43A9-B6F5-6DD28E14219E}"/>
                </a:ext>
              </a:extLst>
            </p:cNvPr>
            <p:cNvSpPr/>
            <p:nvPr/>
          </p:nvSpPr>
          <p:spPr>
            <a:xfrm>
              <a:off x="2946201" y="346566"/>
              <a:ext cx="120538" cy="70224"/>
            </a:xfrm>
            <a:custGeom>
              <a:avLst/>
              <a:gdLst>
                <a:gd name="connsiteX0" fmla="*/ 0 w 138969"/>
                <a:gd name="connsiteY0" fmla="*/ 0 h 80962"/>
                <a:gd name="connsiteX1" fmla="*/ 138970 w 138969"/>
                <a:gd name="connsiteY1" fmla="*/ 0 h 80962"/>
                <a:gd name="connsiteX2" fmla="*/ 138970 w 138969"/>
                <a:gd name="connsiteY2" fmla="*/ 80963 h 80962"/>
                <a:gd name="connsiteX3" fmla="*/ 0 w 1389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969" h="80962">
                  <a:moveTo>
                    <a:pt x="0" y="0"/>
                  </a:moveTo>
                  <a:lnTo>
                    <a:pt x="138970" y="0"/>
                  </a:lnTo>
                  <a:lnTo>
                    <a:pt x="1389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67BE24A1-6782-4AF9-8FF0-D11D13A217F0}"/>
                </a:ext>
              </a:extLst>
            </p:cNvPr>
            <p:cNvSpPr/>
            <p:nvPr/>
          </p:nvSpPr>
          <p:spPr>
            <a:xfrm>
              <a:off x="3167946" y="346566"/>
              <a:ext cx="561137" cy="70224"/>
            </a:xfrm>
            <a:custGeom>
              <a:avLst/>
              <a:gdLst>
                <a:gd name="connsiteX0" fmla="*/ 0 w 646938"/>
                <a:gd name="connsiteY0" fmla="*/ 0 h 80962"/>
                <a:gd name="connsiteX1" fmla="*/ 646938 w 646938"/>
                <a:gd name="connsiteY1" fmla="*/ 0 h 80962"/>
                <a:gd name="connsiteX2" fmla="*/ 646938 w 646938"/>
                <a:gd name="connsiteY2" fmla="*/ 80963 h 80962"/>
                <a:gd name="connsiteX3" fmla="*/ 0 w 64693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938" h="80962">
                  <a:moveTo>
                    <a:pt x="0" y="0"/>
                  </a:moveTo>
                  <a:lnTo>
                    <a:pt x="646938" y="0"/>
                  </a:lnTo>
                  <a:lnTo>
                    <a:pt x="64693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F3ABCB33-7EBB-4F35-A269-D605077EFF41}"/>
                </a:ext>
              </a:extLst>
            </p:cNvPr>
            <p:cNvSpPr/>
            <p:nvPr/>
          </p:nvSpPr>
          <p:spPr>
            <a:xfrm>
              <a:off x="3252215" y="228010"/>
              <a:ext cx="83526" cy="70307"/>
            </a:xfrm>
            <a:custGeom>
              <a:avLst/>
              <a:gdLst>
                <a:gd name="connsiteX0" fmla="*/ 0 w 96297"/>
                <a:gd name="connsiteY0" fmla="*/ 0 h 81057"/>
                <a:gd name="connsiteX1" fmla="*/ 96297 w 96297"/>
                <a:gd name="connsiteY1" fmla="*/ 0 h 81057"/>
                <a:gd name="connsiteX2" fmla="*/ 96297 w 96297"/>
                <a:gd name="connsiteY2" fmla="*/ 81058 h 81057"/>
                <a:gd name="connsiteX3" fmla="*/ 0 w 9629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97" h="81057">
                  <a:moveTo>
                    <a:pt x="0" y="0"/>
                  </a:moveTo>
                  <a:lnTo>
                    <a:pt x="96297" y="0"/>
                  </a:lnTo>
                  <a:lnTo>
                    <a:pt x="9629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E3AB58B7-2B2D-4D6B-B74F-A49FDA76D862}"/>
                </a:ext>
              </a:extLst>
            </p:cNvPr>
            <p:cNvSpPr/>
            <p:nvPr/>
          </p:nvSpPr>
          <p:spPr>
            <a:xfrm>
              <a:off x="3374406" y="228010"/>
              <a:ext cx="565929" cy="70307"/>
            </a:xfrm>
            <a:custGeom>
              <a:avLst/>
              <a:gdLst>
                <a:gd name="connsiteX0" fmla="*/ 0 w 652462"/>
                <a:gd name="connsiteY0" fmla="*/ 0 h 81057"/>
                <a:gd name="connsiteX1" fmla="*/ 652462 w 652462"/>
                <a:gd name="connsiteY1" fmla="*/ 0 h 81057"/>
                <a:gd name="connsiteX2" fmla="*/ 652462 w 652462"/>
                <a:gd name="connsiteY2" fmla="*/ 81058 h 81057"/>
                <a:gd name="connsiteX3" fmla="*/ 0 w 6524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462" h="81057">
                  <a:moveTo>
                    <a:pt x="0" y="0"/>
                  </a:moveTo>
                  <a:lnTo>
                    <a:pt x="652462" y="0"/>
                  </a:lnTo>
                  <a:lnTo>
                    <a:pt x="6524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BA45FA2-3544-4A20-A168-F5C90EDCF505}"/>
                </a:ext>
              </a:extLst>
            </p:cNvPr>
            <p:cNvSpPr/>
            <p:nvPr/>
          </p:nvSpPr>
          <p:spPr>
            <a:xfrm>
              <a:off x="3581281" y="109537"/>
              <a:ext cx="201834" cy="70224"/>
            </a:xfrm>
            <a:custGeom>
              <a:avLst/>
              <a:gdLst>
                <a:gd name="connsiteX0" fmla="*/ 0 w 232695"/>
                <a:gd name="connsiteY0" fmla="*/ 0 h 80962"/>
                <a:gd name="connsiteX1" fmla="*/ 232696 w 232695"/>
                <a:gd name="connsiteY1" fmla="*/ 0 h 80962"/>
                <a:gd name="connsiteX2" fmla="*/ 232696 w 232695"/>
                <a:gd name="connsiteY2" fmla="*/ 80963 h 80962"/>
                <a:gd name="connsiteX3" fmla="*/ 0 w 23269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695" h="80962">
                  <a:moveTo>
                    <a:pt x="0" y="0"/>
                  </a:moveTo>
                  <a:lnTo>
                    <a:pt x="232696" y="0"/>
                  </a:lnTo>
                  <a:lnTo>
                    <a:pt x="23269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C26506E6-31A5-4F89-919D-A4CA0C9BF34C}"/>
                </a:ext>
              </a:extLst>
            </p:cNvPr>
            <p:cNvSpPr/>
            <p:nvPr/>
          </p:nvSpPr>
          <p:spPr>
            <a:xfrm>
              <a:off x="2946201" y="465122"/>
              <a:ext cx="162756" cy="70224"/>
            </a:xfrm>
            <a:custGeom>
              <a:avLst/>
              <a:gdLst>
                <a:gd name="connsiteX0" fmla="*/ 0 w 187642"/>
                <a:gd name="connsiteY0" fmla="*/ 0 h 80962"/>
                <a:gd name="connsiteX1" fmla="*/ 187643 w 187642"/>
                <a:gd name="connsiteY1" fmla="*/ 0 h 80962"/>
                <a:gd name="connsiteX2" fmla="*/ 187643 w 187642"/>
                <a:gd name="connsiteY2" fmla="*/ 80963 h 80962"/>
                <a:gd name="connsiteX3" fmla="*/ 0 w 18764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80962">
                  <a:moveTo>
                    <a:pt x="0" y="0"/>
                  </a:moveTo>
                  <a:lnTo>
                    <a:pt x="187643" y="0"/>
                  </a:lnTo>
                  <a:lnTo>
                    <a:pt x="1876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34865C7D-8F2E-45F5-BE0E-3B09CE44C6F3}"/>
                </a:ext>
              </a:extLst>
            </p:cNvPr>
            <p:cNvSpPr/>
            <p:nvPr/>
          </p:nvSpPr>
          <p:spPr>
            <a:xfrm>
              <a:off x="3167946" y="465122"/>
              <a:ext cx="433741" cy="70224"/>
            </a:xfrm>
            <a:custGeom>
              <a:avLst/>
              <a:gdLst>
                <a:gd name="connsiteX0" fmla="*/ 0 w 500062"/>
                <a:gd name="connsiteY0" fmla="*/ 0 h 80962"/>
                <a:gd name="connsiteX1" fmla="*/ 500063 w 500062"/>
                <a:gd name="connsiteY1" fmla="*/ 0 h 80962"/>
                <a:gd name="connsiteX2" fmla="*/ 500063 w 500062"/>
                <a:gd name="connsiteY2" fmla="*/ 80963 h 80962"/>
                <a:gd name="connsiteX3" fmla="*/ 0 w 50006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62" h="80962">
                  <a:moveTo>
                    <a:pt x="0" y="0"/>
                  </a:moveTo>
                  <a:lnTo>
                    <a:pt x="500063" y="0"/>
                  </a:lnTo>
                  <a:lnTo>
                    <a:pt x="50006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EF57E917-0F01-4A26-840E-DEEB2C63C438}"/>
                </a:ext>
              </a:extLst>
            </p:cNvPr>
            <p:cNvSpPr/>
            <p:nvPr/>
          </p:nvSpPr>
          <p:spPr>
            <a:xfrm>
              <a:off x="3201984" y="820707"/>
              <a:ext cx="100463" cy="70307"/>
            </a:xfrm>
            <a:custGeom>
              <a:avLst/>
              <a:gdLst>
                <a:gd name="connsiteX0" fmla="*/ 0 w 115824"/>
                <a:gd name="connsiteY0" fmla="*/ 0 h 81057"/>
                <a:gd name="connsiteX1" fmla="*/ 115824 w 115824"/>
                <a:gd name="connsiteY1" fmla="*/ 0 h 81057"/>
                <a:gd name="connsiteX2" fmla="*/ 115824 w 115824"/>
                <a:gd name="connsiteY2" fmla="*/ 81058 h 81057"/>
                <a:gd name="connsiteX3" fmla="*/ 0 w 11582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24" h="81057">
                  <a:moveTo>
                    <a:pt x="0" y="0"/>
                  </a:moveTo>
                  <a:lnTo>
                    <a:pt x="115824" y="0"/>
                  </a:lnTo>
                  <a:lnTo>
                    <a:pt x="1158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4BE657A4-722C-4966-B5E6-E80C460DF676}"/>
                </a:ext>
              </a:extLst>
            </p:cNvPr>
            <p:cNvSpPr/>
            <p:nvPr/>
          </p:nvSpPr>
          <p:spPr>
            <a:xfrm>
              <a:off x="2739905" y="1057819"/>
              <a:ext cx="159369" cy="70224"/>
            </a:xfrm>
            <a:custGeom>
              <a:avLst/>
              <a:gdLst>
                <a:gd name="connsiteX0" fmla="*/ 0 w 183737"/>
                <a:gd name="connsiteY0" fmla="*/ 0 h 80962"/>
                <a:gd name="connsiteX1" fmla="*/ 183737 w 183737"/>
                <a:gd name="connsiteY1" fmla="*/ 0 h 80962"/>
                <a:gd name="connsiteX2" fmla="*/ 183737 w 183737"/>
                <a:gd name="connsiteY2" fmla="*/ 80962 h 80962"/>
                <a:gd name="connsiteX3" fmla="*/ 0 w 1837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737" h="80962">
                  <a:moveTo>
                    <a:pt x="0" y="0"/>
                  </a:moveTo>
                  <a:lnTo>
                    <a:pt x="183737" y="0"/>
                  </a:lnTo>
                  <a:lnTo>
                    <a:pt x="1837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F00FCFFD-DA5F-4E20-8167-AD156B49156C}"/>
                </a:ext>
              </a:extLst>
            </p:cNvPr>
            <p:cNvSpPr/>
            <p:nvPr/>
          </p:nvSpPr>
          <p:spPr>
            <a:xfrm>
              <a:off x="2947275" y="1057819"/>
              <a:ext cx="431097" cy="70224"/>
            </a:xfrm>
            <a:custGeom>
              <a:avLst/>
              <a:gdLst>
                <a:gd name="connsiteX0" fmla="*/ 0 w 497014"/>
                <a:gd name="connsiteY0" fmla="*/ 0 h 80962"/>
                <a:gd name="connsiteX1" fmla="*/ 497015 w 497014"/>
                <a:gd name="connsiteY1" fmla="*/ 0 h 80962"/>
                <a:gd name="connsiteX2" fmla="*/ 497015 w 497014"/>
                <a:gd name="connsiteY2" fmla="*/ 80962 h 80962"/>
                <a:gd name="connsiteX3" fmla="*/ 0 w 4970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014" h="80962">
                  <a:moveTo>
                    <a:pt x="0" y="0"/>
                  </a:moveTo>
                  <a:lnTo>
                    <a:pt x="497015" y="0"/>
                  </a:lnTo>
                  <a:lnTo>
                    <a:pt x="4970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54075968-DDF7-466A-B66A-1BB2047158E4}"/>
                </a:ext>
              </a:extLst>
            </p:cNvPr>
            <p:cNvSpPr/>
            <p:nvPr/>
          </p:nvSpPr>
          <p:spPr>
            <a:xfrm>
              <a:off x="2982387" y="939263"/>
              <a:ext cx="320059" cy="70224"/>
            </a:xfrm>
            <a:custGeom>
              <a:avLst/>
              <a:gdLst>
                <a:gd name="connsiteX0" fmla="*/ 0 w 368998"/>
                <a:gd name="connsiteY0" fmla="*/ 0 h 80962"/>
                <a:gd name="connsiteX1" fmla="*/ 368999 w 368998"/>
                <a:gd name="connsiteY1" fmla="*/ 0 h 80962"/>
                <a:gd name="connsiteX2" fmla="*/ 368999 w 368998"/>
                <a:gd name="connsiteY2" fmla="*/ 80963 h 80962"/>
                <a:gd name="connsiteX3" fmla="*/ 0 w 36899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998" h="80962">
                  <a:moveTo>
                    <a:pt x="0" y="0"/>
                  </a:moveTo>
                  <a:lnTo>
                    <a:pt x="368999" y="0"/>
                  </a:lnTo>
                  <a:lnTo>
                    <a:pt x="36899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6174DB95-1840-48C0-903B-876239AF9C6F}"/>
                </a:ext>
              </a:extLst>
            </p:cNvPr>
            <p:cNvSpPr/>
            <p:nvPr/>
          </p:nvSpPr>
          <p:spPr>
            <a:xfrm>
              <a:off x="2739905" y="1176293"/>
              <a:ext cx="183245" cy="70307"/>
            </a:xfrm>
            <a:custGeom>
              <a:avLst/>
              <a:gdLst>
                <a:gd name="connsiteX0" fmla="*/ 0 w 211264"/>
                <a:gd name="connsiteY0" fmla="*/ 0 h 81057"/>
                <a:gd name="connsiteX1" fmla="*/ 211265 w 211264"/>
                <a:gd name="connsiteY1" fmla="*/ 0 h 81057"/>
                <a:gd name="connsiteX2" fmla="*/ 211265 w 211264"/>
                <a:gd name="connsiteY2" fmla="*/ 81058 h 81057"/>
                <a:gd name="connsiteX3" fmla="*/ 0 w 21126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64" h="81057">
                  <a:moveTo>
                    <a:pt x="0" y="0"/>
                  </a:moveTo>
                  <a:lnTo>
                    <a:pt x="211265" y="0"/>
                  </a:lnTo>
                  <a:lnTo>
                    <a:pt x="21126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08B7C376-3E86-4DC4-A82A-C278E464A28F}"/>
                </a:ext>
              </a:extLst>
            </p:cNvPr>
            <p:cNvSpPr/>
            <p:nvPr/>
          </p:nvSpPr>
          <p:spPr>
            <a:xfrm>
              <a:off x="2991723" y="1176293"/>
              <a:ext cx="100876" cy="70307"/>
            </a:xfrm>
            <a:custGeom>
              <a:avLst/>
              <a:gdLst>
                <a:gd name="connsiteX0" fmla="*/ 0 w 116300"/>
                <a:gd name="connsiteY0" fmla="*/ 0 h 81057"/>
                <a:gd name="connsiteX1" fmla="*/ 116300 w 116300"/>
                <a:gd name="connsiteY1" fmla="*/ 0 h 81057"/>
                <a:gd name="connsiteX2" fmla="*/ 116300 w 116300"/>
                <a:gd name="connsiteY2" fmla="*/ 81058 h 81057"/>
                <a:gd name="connsiteX3" fmla="*/ 0 w 1163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00" h="81057">
                  <a:moveTo>
                    <a:pt x="0" y="0"/>
                  </a:moveTo>
                  <a:lnTo>
                    <a:pt x="116300" y="0"/>
                  </a:lnTo>
                  <a:lnTo>
                    <a:pt x="1163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BD014961-0FE4-46BE-B899-659A4E15AFD7}"/>
                </a:ext>
              </a:extLst>
            </p:cNvPr>
            <p:cNvSpPr/>
            <p:nvPr/>
          </p:nvSpPr>
          <p:spPr>
            <a:xfrm>
              <a:off x="3200993" y="1176293"/>
              <a:ext cx="241408" cy="70307"/>
            </a:xfrm>
            <a:custGeom>
              <a:avLst/>
              <a:gdLst>
                <a:gd name="connsiteX0" fmla="*/ 0 w 278320"/>
                <a:gd name="connsiteY0" fmla="*/ 0 h 81057"/>
                <a:gd name="connsiteX1" fmla="*/ 278321 w 278320"/>
                <a:gd name="connsiteY1" fmla="*/ 0 h 81057"/>
                <a:gd name="connsiteX2" fmla="*/ 278321 w 278320"/>
                <a:gd name="connsiteY2" fmla="*/ 81058 h 81057"/>
                <a:gd name="connsiteX3" fmla="*/ 0 w 2783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20" h="81057">
                  <a:moveTo>
                    <a:pt x="0" y="0"/>
                  </a:moveTo>
                  <a:lnTo>
                    <a:pt x="278321" y="0"/>
                  </a:lnTo>
                  <a:lnTo>
                    <a:pt x="2783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6C5838BA-E4F9-43FC-BEFA-5FEDC12EB310}"/>
                </a:ext>
              </a:extLst>
            </p:cNvPr>
            <p:cNvSpPr/>
            <p:nvPr/>
          </p:nvSpPr>
          <p:spPr>
            <a:xfrm>
              <a:off x="3262212" y="1294848"/>
              <a:ext cx="180188" cy="70307"/>
            </a:xfrm>
            <a:custGeom>
              <a:avLst/>
              <a:gdLst>
                <a:gd name="connsiteX0" fmla="*/ 0 w 207740"/>
                <a:gd name="connsiteY0" fmla="*/ 0 h 81057"/>
                <a:gd name="connsiteX1" fmla="*/ 207740 w 207740"/>
                <a:gd name="connsiteY1" fmla="*/ 0 h 81057"/>
                <a:gd name="connsiteX2" fmla="*/ 207740 w 207740"/>
                <a:gd name="connsiteY2" fmla="*/ 81058 h 81057"/>
                <a:gd name="connsiteX3" fmla="*/ 0 w 2077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740" h="81057">
                  <a:moveTo>
                    <a:pt x="0" y="0"/>
                  </a:moveTo>
                  <a:lnTo>
                    <a:pt x="207740" y="0"/>
                  </a:lnTo>
                  <a:lnTo>
                    <a:pt x="2077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5EAB0BBA-7D53-4A9A-A63F-2D0ABECDF10B}"/>
                </a:ext>
              </a:extLst>
            </p:cNvPr>
            <p:cNvSpPr/>
            <p:nvPr/>
          </p:nvSpPr>
          <p:spPr>
            <a:xfrm>
              <a:off x="3190005" y="1531960"/>
              <a:ext cx="213648" cy="70224"/>
            </a:xfrm>
            <a:custGeom>
              <a:avLst/>
              <a:gdLst>
                <a:gd name="connsiteX0" fmla="*/ 0 w 246316"/>
                <a:gd name="connsiteY0" fmla="*/ 0 h 80962"/>
                <a:gd name="connsiteX1" fmla="*/ 246316 w 246316"/>
                <a:gd name="connsiteY1" fmla="*/ 0 h 80962"/>
                <a:gd name="connsiteX2" fmla="*/ 246316 w 246316"/>
                <a:gd name="connsiteY2" fmla="*/ 80962 h 80962"/>
                <a:gd name="connsiteX3" fmla="*/ 0 w 2463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316" h="80962">
                  <a:moveTo>
                    <a:pt x="0" y="0"/>
                  </a:moveTo>
                  <a:lnTo>
                    <a:pt x="246316" y="0"/>
                  </a:lnTo>
                  <a:lnTo>
                    <a:pt x="24631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D91C6214-C943-4EB8-85FC-9819866476E5}"/>
                </a:ext>
              </a:extLst>
            </p:cNvPr>
            <p:cNvSpPr/>
            <p:nvPr/>
          </p:nvSpPr>
          <p:spPr>
            <a:xfrm>
              <a:off x="3190831" y="1413404"/>
              <a:ext cx="333609" cy="70224"/>
            </a:xfrm>
            <a:custGeom>
              <a:avLst/>
              <a:gdLst>
                <a:gd name="connsiteX0" fmla="*/ 0 w 384619"/>
                <a:gd name="connsiteY0" fmla="*/ 0 h 80962"/>
                <a:gd name="connsiteX1" fmla="*/ 384620 w 384619"/>
                <a:gd name="connsiteY1" fmla="*/ 0 h 80962"/>
                <a:gd name="connsiteX2" fmla="*/ 384620 w 384619"/>
                <a:gd name="connsiteY2" fmla="*/ 80963 h 80962"/>
                <a:gd name="connsiteX3" fmla="*/ 0 w 384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19" h="80962">
                  <a:moveTo>
                    <a:pt x="0" y="0"/>
                  </a:moveTo>
                  <a:lnTo>
                    <a:pt x="384620" y="0"/>
                  </a:lnTo>
                  <a:lnTo>
                    <a:pt x="3846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8A424787-16DC-4D5D-B5B6-F587AAFFC58B}"/>
                </a:ext>
              </a:extLst>
            </p:cNvPr>
            <p:cNvSpPr/>
            <p:nvPr/>
          </p:nvSpPr>
          <p:spPr>
            <a:xfrm>
              <a:off x="2270803" y="820707"/>
              <a:ext cx="354098" cy="70307"/>
            </a:xfrm>
            <a:custGeom>
              <a:avLst/>
              <a:gdLst>
                <a:gd name="connsiteX0" fmla="*/ 0 w 408241"/>
                <a:gd name="connsiteY0" fmla="*/ 0 h 81057"/>
                <a:gd name="connsiteX1" fmla="*/ 408241 w 408241"/>
                <a:gd name="connsiteY1" fmla="*/ 0 h 81057"/>
                <a:gd name="connsiteX2" fmla="*/ 408241 w 408241"/>
                <a:gd name="connsiteY2" fmla="*/ 81058 h 81057"/>
                <a:gd name="connsiteX3" fmla="*/ 0 w 40824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241" h="81057">
                  <a:moveTo>
                    <a:pt x="0" y="0"/>
                  </a:moveTo>
                  <a:lnTo>
                    <a:pt x="408241" y="0"/>
                  </a:lnTo>
                  <a:lnTo>
                    <a:pt x="4082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8A949CDB-FDCE-4996-8A2B-16D528611A7E}"/>
                </a:ext>
              </a:extLst>
            </p:cNvPr>
            <p:cNvSpPr/>
            <p:nvPr/>
          </p:nvSpPr>
          <p:spPr>
            <a:xfrm>
              <a:off x="2207601" y="702151"/>
              <a:ext cx="259666" cy="70307"/>
            </a:xfrm>
            <a:custGeom>
              <a:avLst/>
              <a:gdLst>
                <a:gd name="connsiteX0" fmla="*/ 0 w 299370"/>
                <a:gd name="connsiteY0" fmla="*/ 0 h 81057"/>
                <a:gd name="connsiteX1" fmla="*/ 299371 w 299370"/>
                <a:gd name="connsiteY1" fmla="*/ 0 h 81057"/>
                <a:gd name="connsiteX2" fmla="*/ 299371 w 299370"/>
                <a:gd name="connsiteY2" fmla="*/ 81058 h 81057"/>
                <a:gd name="connsiteX3" fmla="*/ 0 w 29937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370" h="81057">
                  <a:moveTo>
                    <a:pt x="0" y="0"/>
                  </a:moveTo>
                  <a:lnTo>
                    <a:pt x="299371" y="0"/>
                  </a:lnTo>
                  <a:lnTo>
                    <a:pt x="2993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E28BB13D-F289-4258-BDB5-0B5D3529222C}"/>
                </a:ext>
              </a:extLst>
            </p:cNvPr>
            <p:cNvSpPr/>
            <p:nvPr/>
          </p:nvSpPr>
          <p:spPr>
            <a:xfrm>
              <a:off x="1043275" y="820707"/>
              <a:ext cx="674158" cy="70307"/>
            </a:xfrm>
            <a:custGeom>
              <a:avLst/>
              <a:gdLst>
                <a:gd name="connsiteX0" fmla="*/ 0 w 777240"/>
                <a:gd name="connsiteY0" fmla="*/ 0 h 81057"/>
                <a:gd name="connsiteX1" fmla="*/ 777240 w 777240"/>
                <a:gd name="connsiteY1" fmla="*/ 0 h 81057"/>
                <a:gd name="connsiteX2" fmla="*/ 777240 w 777240"/>
                <a:gd name="connsiteY2" fmla="*/ 81058 h 81057"/>
                <a:gd name="connsiteX3" fmla="*/ 0 w 7772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240" h="81057">
                  <a:moveTo>
                    <a:pt x="0" y="0"/>
                  </a:moveTo>
                  <a:lnTo>
                    <a:pt x="777240" y="0"/>
                  </a:lnTo>
                  <a:lnTo>
                    <a:pt x="77724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FA232CD0-76AC-4391-BB2A-151BAC60B97F}"/>
                </a:ext>
              </a:extLst>
            </p:cNvPr>
            <p:cNvSpPr/>
            <p:nvPr/>
          </p:nvSpPr>
          <p:spPr>
            <a:xfrm>
              <a:off x="1043275" y="702151"/>
              <a:ext cx="546266" cy="70307"/>
            </a:xfrm>
            <a:custGeom>
              <a:avLst/>
              <a:gdLst>
                <a:gd name="connsiteX0" fmla="*/ 0 w 629793"/>
                <a:gd name="connsiteY0" fmla="*/ 0 h 81057"/>
                <a:gd name="connsiteX1" fmla="*/ 629793 w 629793"/>
                <a:gd name="connsiteY1" fmla="*/ 0 h 81057"/>
                <a:gd name="connsiteX2" fmla="*/ 629793 w 629793"/>
                <a:gd name="connsiteY2" fmla="*/ 81058 h 81057"/>
                <a:gd name="connsiteX3" fmla="*/ 0 w 6297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793" h="81057">
                  <a:moveTo>
                    <a:pt x="0" y="0"/>
                  </a:moveTo>
                  <a:lnTo>
                    <a:pt x="629793" y="0"/>
                  </a:lnTo>
                  <a:lnTo>
                    <a:pt x="6297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670AD3D9-23BF-4E45-ADE4-66E29ADC2957}"/>
                </a:ext>
              </a:extLst>
            </p:cNvPr>
            <p:cNvSpPr/>
            <p:nvPr/>
          </p:nvSpPr>
          <p:spPr>
            <a:xfrm>
              <a:off x="1237922" y="583677"/>
              <a:ext cx="262475" cy="70224"/>
            </a:xfrm>
            <a:custGeom>
              <a:avLst/>
              <a:gdLst>
                <a:gd name="connsiteX0" fmla="*/ 0 w 302609"/>
                <a:gd name="connsiteY0" fmla="*/ 0 h 80962"/>
                <a:gd name="connsiteX1" fmla="*/ 302609 w 302609"/>
                <a:gd name="connsiteY1" fmla="*/ 0 h 80962"/>
                <a:gd name="connsiteX2" fmla="*/ 302609 w 302609"/>
                <a:gd name="connsiteY2" fmla="*/ 80962 h 80962"/>
                <a:gd name="connsiteX3" fmla="*/ 0 w 30260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609" h="80962">
                  <a:moveTo>
                    <a:pt x="0" y="0"/>
                  </a:moveTo>
                  <a:lnTo>
                    <a:pt x="302609" y="0"/>
                  </a:lnTo>
                  <a:lnTo>
                    <a:pt x="30260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CD96103F-75C0-4CB4-80E9-E5E60790809F}"/>
                </a:ext>
              </a:extLst>
            </p:cNvPr>
            <p:cNvSpPr/>
            <p:nvPr/>
          </p:nvSpPr>
          <p:spPr>
            <a:xfrm>
              <a:off x="2971316" y="1887545"/>
              <a:ext cx="438698" cy="70307"/>
            </a:xfrm>
            <a:custGeom>
              <a:avLst/>
              <a:gdLst>
                <a:gd name="connsiteX0" fmla="*/ 0 w 505777"/>
                <a:gd name="connsiteY0" fmla="*/ 0 h 81057"/>
                <a:gd name="connsiteX1" fmla="*/ 505777 w 505777"/>
                <a:gd name="connsiteY1" fmla="*/ 0 h 81057"/>
                <a:gd name="connsiteX2" fmla="*/ 505777 w 505777"/>
                <a:gd name="connsiteY2" fmla="*/ 81058 h 81057"/>
                <a:gd name="connsiteX3" fmla="*/ 0 w 505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777" h="81057">
                  <a:moveTo>
                    <a:pt x="0" y="0"/>
                  </a:moveTo>
                  <a:lnTo>
                    <a:pt x="505777" y="0"/>
                  </a:lnTo>
                  <a:lnTo>
                    <a:pt x="50577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9A08EB35-5841-4BFF-A5F8-87C2B5BB24BF}"/>
                </a:ext>
              </a:extLst>
            </p:cNvPr>
            <p:cNvSpPr/>
            <p:nvPr/>
          </p:nvSpPr>
          <p:spPr>
            <a:xfrm>
              <a:off x="2971316" y="1768989"/>
              <a:ext cx="258427" cy="70307"/>
            </a:xfrm>
            <a:custGeom>
              <a:avLst/>
              <a:gdLst>
                <a:gd name="connsiteX0" fmla="*/ 0 w 297942"/>
                <a:gd name="connsiteY0" fmla="*/ 0 h 81057"/>
                <a:gd name="connsiteX1" fmla="*/ 297942 w 297942"/>
                <a:gd name="connsiteY1" fmla="*/ 0 h 81057"/>
                <a:gd name="connsiteX2" fmla="*/ 297942 w 297942"/>
                <a:gd name="connsiteY2" fmla="*/ 81058 h 81057"/>
                <a:gd name="connsiteX3" fmla="*/ 0 w 2979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42" h="81057">
                  <a:moveTo>
                    <a:pt x="0" y="0"/>
                  </a:moveTo>
                  <a:lnTo>
                    <a:pt x="297942" y="0"/>
                  </a:lnTo>
                  <a:lnTo>
                    <a:pt x="2979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3F591501-7437-4892-9381-FED1C2FEAFC5}"/>
                </a:ext>
              </a:extLst>
            </p:cNvPr>
            <p:cNvSpPr/>
            <p:nvPr/>
          </p:nvSpPr>
          <p:spPr>
            <a:xfrm>
              <a:off x="3018656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CBB69AA3-EAC8-42AC-B64D-13F804602ABB}"/>
                </a:ext>
              </a:extLst>
            </p:cNvPr>
            <p:cNvSpPr/>
            <p:nvPr/>
          </p:nvSpPr>
          <p:spPr>
            <a:xfrm>
              <a:off x="3743872" y="1650516"/>
              <a:ext cx="211087" cy="70224"/>
            </a:xfrm>
            <a:custGeom>
              <a:avLst/>
              <a:gdLst>
                <a:gd name="connsiteX0" fmla="*/ 0 w 243363"/>
                <a:gd name="connsiteY0" fmla="*/ 0 h 80962"/>
                <a:gd name="connsiteX1" fmla="*/ 243364 w 243363"/>
                <a:gd name="connsiteY1" fmla="*/ 0 h 80962"/>
                <a:gd name="connsiteX2" fmla="*/ 243364 w 243363"/>
                <a:gd name="connsiteY2" fmla="*/ 80963 h 80962"/>
                <a:gd name="connsiteX3" fmla="*/ 0 w 24336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363" h="80962">
                  <a:moveTo>
                    <a:pt x="0" y="0"/>
                  </a:moveTo>
                  <a:lnTo>
                    <a:pt x="243364" y="0"/>
                  </a:lnTo>
                  <a:lnTo>
                    <a:pt x="24336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76F805A4-66F9-47A1-9350-CC70A86BFBD6}"/>
                </a:ext>
              </a:extLst>
            </p:cNvPr>
            <p:cNvSpPr/>
            <p:nvPr/>
          </p:nvSpPr>
          <p:spPr>
            <a:xfrm>
              <a:off x="3718425" y="1531960"/>
              <a:ext cx="335096" cy="70224"/>
            </a:xfrm>
            <a:custGeom>
              <a:avLst/>
              <a:gdLst>
                <a:gd name="connsiteX0" fmla="*/ 0 w 386334"/>
                <a:gd name="connsiteY0" fmla="*/ 0 h 80962"/>
                <a:gd name="connsiteX1" fmla="*/ 386334 w 386334"/>
                <a:gd name="connsiteY1" fmla="*/ 0 h 80962"/>
                <a:gd name="connsiteX2" fmla="*/ 386334 w 386334"/>
                <a:gd name="connsiteY2" fmla="*/ 80962 h 80962"/>
                <a:gd name="connsiteX3" fmla="*/ 0 w 3863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334" h="80962">
                  <a:moveTo>
                    <a:pt x="0" y="0"/>
                  </a:moveTo>
                  <a:lnTo>
                    <a:pt x="386334" y="0"/>
                  </a:lnTo>
                  <a:lnTo>
                    <a:pt x="3863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0595E816-2877-4755-B5D8-2122332055FB}"/>
                </a:ext>
              </a:extLst>
            </p:cNvPr>
            <p:cNvSpPr/>
            <p:nvPr/>
          </p:nvSpPr>
          <p:spPr>
            <a:xfrm>
              <a:off x="4414146" y="1531960"/>
              <a:ext cx="250413" cy="70224"/>
            </a:xfrm>
            <a:custGeom>
              <a:avLst/>
              <a:gdLst>
                <a:gd name="connsiteX0" fmla="*/ 0 w 288702"/>
                <a:gd name="connsiteY0" fmla="*/ 0 h 80962"/>
                <a:gd name="connsiteX1" fmla="*/ 288703 w 288702"/>
                <a:gd name="connsiteY1" fmla="*/ 0 h 80962"/>
                <a:gd name="connsiteX2" fmla="*/ 288703 w 288702"/>
                <a:gd name="connsiteY2" fmla="*/ 80962 h 80962"/>
                <a:gd name="connsiteX3" fmla="*/ 0 w 2887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02" h="80962">
                  <a:moveTo>
                    <a:pt x="0" y="0"/>
                  </a:moveTo>
                  <a:lnTo>
                    <a:pt x="288703" y="0"/>
                  </a:lnTo>
                  <a:lnTo>
                    <a:pt x="2887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1F738C37-9DAC-4277-94AA-9091FC7CD7B4}"/>
                </a:ext>
              </a:extLst>
            </p:cNvPr>
            <p:cNvSpPr/>
            <p:nvPr/>
          </p:nvSpPr>
          <p:spPr>
            <a:xfrm>
              <a:off x="3718425" y="1413404"/>
              <a:ext cx="529743" cy="70224"/>
            </a:xfrm>
            <a:custGeom>
              <a:avLst/>
              <a:gdLst>
                <a:gd name="connsiteX0" fmla="*/ 0 w 610743"/>
                <a:gd name="connsiteY0" fmla="*/ 0 h 80962"/>
                <a:gd name="connsiteX1" fmla="*/ 610743 w 610743"/>
                <a:gd name="connsiteY1" fmla="*/ 0 h 80962"/>
                <a:gd name="connsiteX2" fmla="*/ 610743 w 610743"/>
                <a:gd name="connsiteY2" fmla="*/ 80963 h 80962"/>
                <a:gd name="connsiteX3" fmla="*/ 0 w 61074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743" h="80962">
                  <a:moveTo>
                    <a:pt x="0" y="0"/>
                  </a:moveTo>
                  <a:lnTo>
                    <a:pt x="610743" y="0"/>
                  </a:lnTo>
                  <a:lnTo>
                    <a:pt x="61074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6D1C7E26-5E48-4E0B-8D70-AD823C423D4B}"/>
                </a:ext>
              </a:extLst>
            </p:cNvPr>
            <p:cNvSpPr/>
            <p:nvPr/>
          </p:nvSpPr>
          <p:spPr>
            <a:xfrm>
              <a:off x="3718425" y="1294848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3ACB13DE-5311-49CE-921F-DA0A979420D9}"/>
                </a:ext>
              </a:extLst>
            </p:cNvPr>
            <p:cNvSpPr/>
            <p:nvPr/>
          </p:nvSpPr>
          <p:spPr>
            <a:xfrm>
              <a:off x="3718425" y="1365155"/>
              <a:ext cx="793127" cy="5039"/>
            </a:xfrm>
            <a:custGeom>
              <a:avLst/>
              <a:gdLst>
                <a:gd name="connsiteX0" fmla="*/ 0 w 914400"/>
                <a:gd name="connsiteY0" fmla="*/ 0 h 5810"/>
                <a:gd name="connsiteX1" fmla="*/ 914400 w 914400"/>
                <a:gd name="connsiteY1" fmla="*/ 0 h 5810"/>
                <a:gd name="connsiteX2" fmla="*/ 914400 w 914400"/>
                <a:gd name="connsiteY2" fmla="*/ 5810 h 5810"/>
                <a:gd name="connsiteX3" fmla="*/ 0 w 914400"/>
                <a:gd name="connsiteY3" fmla="*/ 5810 h 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5810">
                  <a:moveTo>
                    <a:pt x="0" y="0"/>
                  </a:moveTo>
                  <a:lnTo>
                    <a:pt x="914400" y="0"/>
                  </a:lnTo>
                  <a:lnTo>
                    <a:pt x="914400" y="5810"/>
                  </a:lnTo>
                  <a:lnTo>
                    <a:pt x="0" y="581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A6D89735-3B93-4D29-9FEA-E233D847EB3E}"/>
                </a:ext>
              </a:extLst>
            </p:cNvPr>
            <p:cNvSpPr/>
            <p:nvPr/>
          </p:nvSpPr>
          <p:spPr>
            <a:xfrm>
              <a:off x="3718425" y="1176293"/>
              <a:ext cx="793127" cy="70307"/>
            </a:xfrm>
            <a:custGeom>
              <a:avLst/>
              <a:gdLst>
                <a:gd name="connsiteX0" fmla="*/ 0 w 914400"/>
                <a:gd name="connsiteY0" fmla="*/ 0 h 81057"/>
                <a:gd name="connsiteX1" fmla="*/ 914400 w 914400"/>
                <a:gd name="connsiteY1" fmla="*/ 0 h 81057"/>
                <a:gd name="connsiteX2" fmla="*/ 914400 w 914400"/>
                <a:gd name="connsiteY2" fmla="*/ 81058 h 81057"/>
                <a:gd name="connsiteX3" fmla="*/ 0 w 9144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81057">
                  <a:moveTo>
                    <a:pt x="0" y="0"/>
                  </a:moveTo>
                  <a:lnTo>
                    <a:pt x="914400" y="0"/>
                  </a:lnTo>
                  <a:lnTo>
                    <a:pt x="91440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7ECD9B5C-1453-4C92-8D21-336DA6CACCC9}"/>
                </a:ext>
              </a:extLst>
            </p:cNvPr>
            <p:cNvSpPr/>
            <p:nvPr/>
          </p:nvSpPr>
          <p:spPr>
            <a:xfrm>
              <a:off x="3752711" y="1057819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2 h 80962"/>
                <a:gd name="connsiteX3" fmla="*/ 0 w 96593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99459F59-0C52-4D57-90A6-3E4CE6996F27}"/>
                </a:ext>
              </a:extLst>
            </p:cNvPr>
            <p:cNvSpPr/>
            <p:nvPr/>
          </p:nvSpPr>
          <p:spPr>
            <a:xfrm>
              <a:off x="3540715" y="702151"/>
              <a:ext cx="1099554" cy="70307"/>
            </a:xfrm>
            <a:custGeom>
              <a:avLst/>
              <a:gdLst>
                <a:gd name="connsiteX0" fmla="*/ 0 w 1267682"/>
                <a:gd name="connsiteY0" fmla="*/ 0 h 81057"/>
                <a:gd name="connsiteX1" fmla="*/ 1267682 w 1267682"/>
                <a:gd name="connsiteY1" fmla="*/ 0 h 81057"/>
                <a:gd name="connsiteX2" fmla="*/ 1267682 w 1267682"/>
                <a:gd name="connsiteY2" fmla="*/ 81058 h 81057"/>
                <a:gd name="connsiteX3" fmla="*/ 0 w 126768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82" h="81057">
                  <a:moveTo>
                    <a:pt x="0" y="0"/>
                  </a:moveTo>
                  <a:lnTo>
                    <a:pt x="1267682" y="0"/>
                  </a:lnTo>
                  <a:lnTo>
                    <a:pt x="126768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EC81B1DA-B3A8-4D5C-B6B4-30328AF758EC}"/>
                </a:ext>
              </a:extLst>
            </p:cNvPr>
            <p:cNvSpPr/>
            <p:nvPr/>
          </p:nvSpPr>
          <p:spPr>
            <a:xfrm>
              <a:off x="5192897" y="702151"/>
              <a:ext cx="261566" cy="70307"/>
            </a:xfrm>
            <a:custGeom>
              <a:avLst/>
              <a:gdLst>
                <a:gd name="connsiteX0" fmla="*/ 0 w 301561"/>
                <a:gd name="connsiteY0" fmla="*/ 0 h 81057"/>
                <a:gd name="connsiteX1" fmla="*/ 301561 w 301561"/>
                <a:gd name="connsiteY1" fmla="*/ 0 h 81057"/>
                <a:gd name="connsiteX2" fmla="*/ 301561 w 301561"/>
                <a:gd name="connsiteY2" fmla="*/ 81058 h 81057"/>
                <a:gd name="connsiteX3" fmla="*/ 0 w 30156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561" h="81057">
                  <a:moveTo>
                    <a:pt x="0" y="0"/>
                  </a:moveTo>
                  <a:lnTo>
                    <a:pt x="301561" y="0"/>
                  </a:lnTo>
                  <a:lnTo>
                    <a:pt x="30156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C2031B5C-A8D7-4201-A9A9-7299E9A97B31}"/>
                </a:ext>
              </a:extLst>
            </p:cNvPr>
            <p:cNvSpPr/>
            <p:nvPr/>
          </p:nvSpPr>
          <p:spPr>
            <a:xfrm>
              <a:off x="5333264" y="583677"/>
              <a:ext cx="185476" cy="70224"/>
            </a:xfrm>
            <a:custGeom>
              <a:avLst/>
              <a:gdLst>
                <a:gd name="connsiteX0" fmla="*/ 0 w 213836"/>
                <a:gd name="connsiteY0" fmla="*/ 0 h 80962"/>
                <a:gd name="connsiteX1" fmla="*/ 213836 w 213836"/>
                <a:gd name="connsiteY1" fmla="*/ 0 h 80962"/>
                <a:gd name="connsiteX2" fmla="*/ 213836 w 213836"/>
                <a:gd name="connsiteY2" fmla="*/ 80962 h 80962"/>
                <a:gd name="connsiteX3" fmla="*/ 0 w 21383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836" h="80962">
                  <a:moveTo>
                    <a:pt x="0" y="0"/>
                  </a:moveTo>
                  <a:lnTo>
                    <a:pt x="213836" y="0"/>
                  </a:lnTo>
                  <a:lnTo>
                    <a:pt x="21383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CD25B34C-09CF-4EA3-BEAD-560BC54C3E38}"/>
                </a:ext>
              </a:extLst>
            </p:cNvPr>
            <p:cNvSpPr/>
            <p:nvPr/>
          </p:nvSpPr>
          <p:spPr>
            <a:xfrm>
              <a:off x="5273862" y="820707"/>
              <a:ext cx="95505" cy="70307"/>
            </a:xfrm>
            <a:custGeom>
              <a:avLst/>
              <a:gdLst>
                <a:gd name="connsiteX0" fmla="*/ 0 w 110108"/>
                <a:gd name="connsiteY0" fmla="*/ 0 h 81057"/>
                <a:gd name="connsiteX1" fmla="*/ 110109 w 110108"/>
                <a:gd name="connsiteY1" fmla="*/ 0 h 81057"/>
                <a:gd name="connsiteX2" fmla="*/ 110109 w 110108"/>
                <a:gd name="connsiteY2" fmla="*/ 81058 h 81057"/>
                <a:gd name="connsiteX3" fmla="*/ 0 w 11010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8" h="81057">
                  <a:moveTo>
                    <a:pt x="0" y="0"/>
                  </a:moveTo>
                  <a:lnTo>
                    <a:pt x="110109" y="0"/>
                  </a:lnTo>
                  <a:lnTo>
                    <a:pt x="11010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99C49AE9-579D-4D66-A792-209F585F0A2A}"/>
                </a:ext>
              </a:extLst>
            </p:cNvPr>
            <p:cNvSpPr/>
            <p:nvPr/>
          </p:nvSpPr>
          <p:spPr>
            <a:xfrm>
              <a:off x="3540715" y="583677"/>
              <a:ext cx="1142680" cy="70224"/>
            </a:xfrm>
            <a:custGeom>
              <a:avLst/>
              <a:gdLst>
                <a:gd name="connsiteX0" fmla="*/ 0 w 1317402"/>
                <a:gd name="connsiteY0" fmla="*/ 0 h 80962"/>
                <a:gd name="connsiteX1" fmla="*/ 1317403 w 1317402"/>
                <a:gd name="connsiteY1" fmla="*/ 0 h 80962"/>
                <a:gd name="connsiteX2" fmla="*/ 1317403 w 1317402"/>
                <a:gd name="connsiteY2" fmla="*/ 80962 h 80962"/>
                <a:gd name="connsiteX3" fmla="*/ 0 w 13174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402" h="80962">
                  <a:moveTo>
                    <a:pt x="0" y="0"/>
                  </a:moveTo>
                  <a:lnTo>
                    <a:pt x="1317403" y="0"/>
                  </a:lnTo>
                  <a:lnTo>
                    <a:pt x="131740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092073D1-0214-437C-B95E-4B1727D2C297}"/>
                </a:ext>
              </a:extLst>
            </p:cNvPr>
            <p:cNvSpPr/>
            <p:nvPr/>
          </p:nvSpPr>
          <p:spPr>
            <a:xfrm>
              <a:off x="3737509" y="465122"/>
              <a:ext cx="1052628" cy="70224"/>
            </a:xfrm>
            <a:custGeom>
              <a:avLst/>
              <a:gdLst>
                <a:gd name="connsiteX0" fmla="*/ 0 w 1213580"/>
                <a:gd name="connsiteY0" fmla="*/ 0 h 80962"/>
                <a:gd name="connsiteX1" fmla="*/ 1213580 w 1213580"/>
                <a:gd name="connsiteY1" fmla="*/ 0 h 80962"/>
                <a:gd name="connsiteX2" fmla="*/ 1213580 w 1213580"/>
                <a:gd name="connsiteY2" fmla="*/ 80963 h 80962"/>
                <a:gd name="connsiteX3" fmla="*/ 0 w 121358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3580" h="80962">
                  <a:moveTo>
                    <a:pt x="0" y="0"/>
                  </a:moveTo>
                  <a:lnTo>
                    <a:pt x="1213580" y="0"/>
                  </a:lnTo>
                  <a:lnTo>
                    <a:pt x="121358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10894283-56DD-4ACF-9479-73707CB0B693}"/>
                </a:ext>
              </a:extLst>
            </p:cNvPr>
            <p:cNvSpPr/>
            <p:nvPr/>
          </p:nvSpPr>
          <p:spPr>
            <a:xfrm>
              <a:off x="3807156" y="346566"/>
              <a:ext cx="847489" cy="70224"/>
            </a:xfrm>
            <a:custGeom>
              <a:avLst/>
              <a:gdLst>
                <a:gd name="connsiteX0" fmla="*/ 0 w 977074"/>
                <a:gd name="connsiteY0" fmla="*/ 0 h 80962"/>
                <a:gd name="connsiteX1" fmla="*/ 977074 w 977074"/>
                <a:gd name="connsiteY1" fmla="*/ 0 h 80962"/>
                <a:gd name="connsiteX2" fmla="*/ 977074 w 977074"/>
                <a:gd name="connsiteY2" fmla="*/ 80963 h 80962"/>
                <a:gd name="connsiteX3" fmla="*/ 0 w 97707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074" h="80962">
                  <a:moveTo>
                    <a:pt x="0" y="0"/>
                  </a:moveTo>
                  <a:lnTo>
                    <a:pt x="977074" y="0"/>
                  </a:lnTo>
                  <a:lnTo>
                    <a:pt x="97707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8BDA85BD-4253-4573-AE1B-6005DCDB0509}"/>
                </a:ext>
              </a:extLst>
            </p:cNvPr>
            <p:cNvSpPr/>
            <p:nvPr/>
          </p:nvSpPr>
          <p:spPr>
            <a:xfrm>
              <a:off x="4239576" y="228010"/>
              <a:ext cx="320885" cy="70307"/>
            </a:xfrm>
            <a:custGeom>
              <a:avLst/>
              <a:gdLst>
                <a:gd name="connsiteX0" fmla="*/ 0 w 369950"/>
                <a:gd name="connsiteY0" fmla="*/ 0 h 81057"/>
                <a:gd name="connsiteX1" fmla="*/ 369951 w 369950"/>
                <a:gd name="connsiteY1" fmla="*/ 0 h 81057"/>
                <a:gd name="connsiteX2" fmla="*/ 369951 w 369950"/>
                <a:gd name="connsiteY2" fmla="*/ 81058 h 81057"/>
                <a:gd name="connsiteX3" fmla="*/ 0 w 36995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950" h="81057">
                  <a:moveTo>
                    <a:pt x="0" y="0"/>
                  </a:moveTo>
                  <a:lnTo>
                    <a:pt x="369951" y="0"/>
                  </a:lnTo>
                  <a:lnTo>
                    <a:pt x="36995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D820BE05-ACF3-4930-8DEA-B3CDC5E4C460}"/>
                </a:ext>
              </a:extLst>
            </p:cNvPr>
            <p:cNvSpPr/>
            <p:nvPr/>
          </p:nvSpPr>
          <p:spPr>
            <a:xfrm>
              <a:off x="3752711" y="820707"/>
              <a:ext cx="837823" cy="70307"/>
            </a:xfrm>
            <a:custGeom>
              <a:avLst/>
              <a:gdLst>
                <a:gd name="connsiteX0" fmla="*/ 0 w 965930"/>
                <a:gd name="connsiteY0" fmla="*/ 0 h 81057"/>
                <a:gd name="connsiteX1" fmla="*/ 965930 w 965930"/>
                <a:gd name="connsiteY1" fmla="*/ 0 h 81057"/>
                <a:gd name="connsiteX2" fmla="*/ 965930 w 965930"/>
                <a:gd name="connsiteY2" fmla="*/ 81058 h 81057"/>
                <a:gd name="connsiteX3" fmla="*/ 0 w 9659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1057">
                  <a:moveTo>
                    <a:pt x="0" y="0"/>
                  </a:moveTo>
                  <a:lnTo>
                    <a:pt x="965930" y="0"/>
                  </a:lnTo>
                  <a:lnTo>
                    <a:pt x="9659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EE8D6362-5BC7-4C0C-AEEC-0C837857329B}"/>
                </a:ext>
              </a:extLst>
            </p:cNvPr>
            <p:cNvSpPr/>
            <p:nvPr/>
          </p:nvSpPr>
          <p:spPr>
            <a:xfrm>
              <a:off x="3752711" y="939263"/>
              <a:ext cx="837823" cy="70224"/>
            </a:xfrm>
            <a:custGeom>
              <a:avLst/>
              <a:gdLst>
                <a:gd name="connsiteX0" fmla="*/ 0 w 965930"/>
                <a:gd name="connsiteY0" fmla="*/ 0 h 80962"/>
                <a:gd name="connsiteX1" fmla="*/ 965930 w 965930"/>
                <a:gd name="connsiteY1" fmla="*/ 0 h 80962"/>
                <a:gd name="connsiteX2" fmla="*/ 965930 w 965930"/>
                <a:gd name="connsiteY2" fmla="*/ 80963 h 80962"/>
                <a:gd name="connsiteX3" fmla="*/ 0 w 96593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930" h="80962">
                  <a:moveTo>
                    <a:pt x="0" y="0"/>
                  </a:moveTo>
                  <a:lnTo>
                    <a:pt x="965930" y="0"/>
                  </a:lnTo>
                  <a:lnTo>
                    <a:pt x="96593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E7FC9900-D90F-433B-8605-C18A4EBE67DB}"/>
                </a:ext>
              </a:extLst>
            </p:cNvPr>
            <p:cNvSpPr/>
            <p:nvPr/>
          </p:nvSpPr>
          <p:spPr>
            <a:xfrm>
              <a:off x="3834420" y="1768989"/>
              <a:ext cx="90548" cy="70307"/>
            </a:xfrm>
            <a:custGeom>
              <a:avLst/>
              <a:gdLst>
                <a:gd name="connsiteX0" fmla="*/ 0 w 104393"/>
                <a:gd name="connsiteY0" fmla="*/ 0 h 81057"/>
                <a:gd name="connsiteX1" fmla="*/ 104394 w 104393"/>
                <a:gd name="connsiteY1" fmla="*/ 0 h 81057"/>
                <a:gd name="connsiteX2" fmla="*/ 104394 w 104393"/>
                <a:gd name="connsiteY2" fmla="*/ 81058 h 81057"/>
                <a:gd name="connsiteX3" fmla="*/ 0 w 10439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93" h="81057">
                  <a:moveTo>
                    <a:pt x="0" y="0"/>
                  </a:moveTo>
                  <a:lnTo>
                    <a:pt x="104394" y="0"/>
                  </a:lnTo>
                  <a:lnTo>
                    <a:pt x="10439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98B58413-8BBD-494F-AA75-596D97C22723}"/>
                </a:ext>
              </a:extLst>
            </p:cNvPr>
            <p:cNvSpPr/>
            <p:nvPr/>
          </p:nvSpPr>
          <p:spPr>
            <a:xfrm>
              <a:off x="3288980" y="1768989"/>
              <a:ext cx="80634" cy="70307"/>
            </a:xfrm>
            <a:custGeom>
              <a:avLst/>
              <a:gdLst>
                <a:gd name="connsiteX0" fmla="*/ 0 w 92963"/>
                <a:gd name="connsiteY0" fmla="*/ 0 h 81057"/>
                <a:gd name="connsiteX1" fmla="*/ 92964 w 92963"/>
                <a:gd name="connsiteY1" fmla="*/ 0 h 81057"/>
                <a:gd name="connsiteX2" fmla="*/ 92964 w 92963"/>
                <a:gd name="connsiteY2" fmla="*/ 81058 h 81057"/>
                <a:gd name="connsiteX3" fmla="*/ 0 w 929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963" h="81057">
                  <a:moveTo>
                    <a:pt x="0" y="0"/>
                  </a:moveTo>
                  <a:lnTo>
                    <a:pt x="92964" y="0"/>
                  </a:lnTo>
                  <a:lnTo>
                    <a:pt x="929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D7D2B320-056E-4E0A-B251-B2DE1C78FE48}"/>
                </a:ext>
              </a:extLst>
            </p:cNvPr>
            <p:cNvSpPr/>
            <p:nvPr/>
          </p:nvSpPr>
          <p:spPr>
            <a:xfrm>
              <a:off x="1544844" y="2243130"/>
              <a:ext cx="1708362" cy="70307"/>
            </a:xfrm>
            <a:custGeom>
              <a:avLst/>
              <a:gdLst>
                <a:gd name="connsiteX0" fmla="*/ 0 w 1969579"/>
                <a:gd name="connsiteY0" fmla="*/ 0 h 81057"/>
                <a:gd name="connsiteX1" fmla="*/ 1969580 w 1969579"/>
                <a:gd name="connsiteY1" fmla="*/ 0 h 81057"/>
                <a:gd name="connsiteX2" fmla="*/ 1969580 w 1969579"/>
                <a:gd name="connsiteY2" fmla="*/ 81058 h 81057"/>
                <a:gd name="connsiteX3" fmla="*/ 0 w 19695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579" h="81057">
                  <a:moveTo>
                    <a:pt x="0" y="0"/>
                  </a:moveTo>
                  <a:lnTo>
                    <a:pt x="1969580" y="0"/>
                  </a:lnTo>
                  <a:lnTo>
                    <a:pt x="196958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F31A871A-65E6-4DA3-83BF-221AB050958F}"/>
                </a:ext>
              </a:extLst>
            </p:cNvPr>
            <p:cNvSpPr/>
            <p:nvPr/>
          </p:nvSpPr>
          <p:spPr>
            <a:xfrm>
              <a:off x="3386386" y="2243130"/>
              <a:ext cx="173248" cy="70307"/>
            </a:xfrm>
            <a:custGeom>
              <a:avLst/>
              <a:gdLst>
                <a:gd name="connsiteX0" fmla="*/ 0 w 199739"/>
                <a:gd name="connsiteY0" fmla="*/ 0 h 81057"/>
                <a:gd name="connsiteX1" fmla="*/ 199739 w 199739"/>
                <a:gd name="connsiteY1" fmla="*/ 0 h 81057"/>
                <a:gd name="connsiteX2" fmla="*/ 199739 w 199739"/>
                <a:gd name="connsiteY2" fmla="*/ 81058 h 81057"/>
                <a:gd name="connsiteX3" fmla="*/ 0 w 19973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739" h="81057">
                  <a:moveTo>
                    <a:pt x="0" y="0"/>
                  </a:moveTo>
                  <a:lnTo>
                    <a:pt x="199739" y="0"/>
                  </a:lnTo>
                  <a:lnTo>
                    <a:pt x="19973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41AE1B49-7F5D-4AB8-B344-B86AE0F21329}"/>
                </a:ext>
              </a:extLst>
            </p:cNvPr>
            <p:cNvSpPr/>
            <p:nvPr/>
          </p:nvSpPr>
          <p:spPr>
            <a:xfrm>
              <a:off x="1544844" y="2124657"/>
              <a:ext cx="1971994" cy="70224"/>
            </a:xfrm>
            <a:custGeom>
              <a:avLst/>
              <a:gdLst>
                <a:gd name="connsiteX0" fmla="*/ 0 w 2273522"/>
                <a:gd name="connsiteY0" fmla="*/ 0 h 80962"/>
                <a:gd name="connsiteX1" fmla="*/ 2273522 w 2273522"/>
                <a:gd name="connsiteY1" fmla="*/ 0 h 80962"/>
                <a:gd name="connsiteX2" fmla="*/ 2273522 w 2273522"/>
                <a:gd name="connsiteY2" fmla="*/ 80963 h 80962"/>
                <a:gd name="connsiteX3" fmla="*/ 0 w 22735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522" h="80962">
                  <a:moveTo>
                    <a:pt x="0" y="0"/>
                  </a:moveTo>
                  <a:lnTo>
                    <a:pt x="2273522" y="0"/>
                  </a:lnTo>
                  <a:lnTo>
                    <a:pt x="227352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128D11EF-BF06-4616-8D2D-63311A1FBDAF}"/>
                </a:ext>
              </a:extLst>
            </p:cNvPr>
            <p:cNvSpPr/>
            <p:nvPr/>
          </p:nvSpPr>
          <p:spPr>
            <a:xfrm>
              <a:off x="2886881" y="2006101"/>
              <a:ext cx="629957" cy="70224"/>
            </a:xfrm>
            <a:custGeom>
              <a:avLst/>
              <a:gdLst>
                <a:gd name="connsiteX0" fmla="*/ 0 w 726281"/>
                <a:gd name="connsiteY0" fmla="*/ 0 h 80962"/>
                <a:gd name="connsiteX1" fmla="*/ 726281 w 726281"/>
                <a:gd name="connsiteY1" fmla="*/ 0 h 80962"/>
                <a:gd name="connsiteX2" fmla="*/ 726281 w 726281"/>
                <a:gd name="connsiteY2" fmla="*/ 80962 h 80962"/>
                <a:gd name="connsiteX3" fmla="*/ 0 w 72628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6281" h="80962">
                  <a:moveTo>
                    <a:pt x="0" y="0"/>
                  </a:moveTo>
                  <a:lnTo>
                    <a:pt x="726281" y="0"/>
                  </a:lnTo>
                  <a:lnTo>
                    <a:pt x="72628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82A15C57-1CE6-4206-819E-F06B69668214}"/>
                </a:ext>
              </a:extLst>
            </p:cNvPr>
            <p:cNvSpPr/>
            <p:nvPr/>
          </p:nvSpPr>
          <p:spPr>
            <a:xfrm>
              <a:off x="1544844" y="2006101"/>
              <a:ext cx="1275282" cy="70224"/>
            </a:xfrm>
            <a:custGeom>
              <a:avLst/>
              <a:gdLst>
                <a:gd name="connsiteX0" fmla="*/ 0 w 1470279"/>
                <a:gd name="connsiteY0" fmla="*/ 0 h 80962"/>
                <a:gd name="connsiteX1" fmla="*/ 1470279 w 1470279"/>
                <a:gd name="connsiteY1" fmla="*/ 0 h 80962"/>
                <a:gd name="connsiteX2" fmla="*/ 1470279 w 1470279"/>
                <a:gd name="connsiteY2" fmla="*/ 80962 h 80962"/>
                <a:gd name="connsiteX3" fmla="*/ 0 w 14702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0279" h="80962">
                  <a:moveTo>
                    <a:pt x="0" y="0"/>
                  </a:moveTo>
                  <a:lnTo>
                    <a:pt x="1470279" y="0"/>
                  </a:lnTo>
                  <a:lnTo>
                    <a:pt x="147027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4C6F282C-7C7F-4556-8439-9B293C31EB2B}"/>
                </a:ext>
              </a:extLst>
            </p:cNvPr>
            <p:cNvSpPr/>
            <p:nvPr/>
          </p:nvSpPr>
          <p:spPr>
            <a:xfrm>
              <a:off x="1667284" y="2954383"/>
              <a:ext cx="47752" cy="70224"/>
            </a:xfrm>
            <a:custGeom>
              <a:avLst/>
              <a:gdLst>
                <a:gd name="connsiteX0" fmla="*/ 0 w 55054"/>
                <a:gd name="connsiteY0" fmla="*/ 0 h 80962"/>
                <a:gd name="connsiteX1" fmla="*/ 55055 w 55054"/>
                <a:gd name="connsiteY1" fmla="*/ 0 h 80962"/>
                <a:gd name="connsiteX2" fmla="*/ 55055 w 55054"/>
                <a:gd name="connsiteY2" fmla="*/ 80962 h 80962"/>
                <a:gd name="connsiteX3" fmla="*/ 0 w 5505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54" h="80962">
                  <a:moveTo>
                    <a:pt x="0" y="0"/>
                  </a:moveTo>
                  <a:lnTo>
                    <a:pt x="55055" y="0"/>
                  </a:lnTo>
                  <a:lnTo>
                    <a:pt x="5505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14BB8C96-B7BF-4474-9F99-19AC16263D02}"/>
                </a:ext>
              </a:extLst>
            </p:cNvPr>
            <p:cNvSpPr/>
            <p:nvPr/>
          </p:nvSpPr>
          <p:spPr>
            <a:xfrm>
              <a:off x="2609039" y="2954383"/>
              <a:ext cx="69728" cy="70224"/>
            </a:xfrm>
            <a:custGeom>
              <a:avLst/>
              <a:gdLst>
                <a:gd name="connsiteX0" fmla="*/ 0 w 80390"/>
                <a:gd name="connsiteY0" fmla="*/ 0 h 80962"/>
                <a:gd name="connsiteX1" fmla="*/ 80391 w 80390"/>
                <a:gd name="connsiteY1" fmla="*/ 0 h 80962"/>
                <a:gd name="connsiteX2" fmla="*/ 80391 w 80390"/>
                <a:gd name="connsiteY2" fmla="*/ 80962 h 80962"/>
                <a:gd name="connsiteX3" fmla="*/ 0 w 8039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90" h="80962">
                  <a:moveTo>
                    <a:pt x="0" y="0"/>
                  </a:moveTo>
                  <a:lnTo>
                    <a:pt x="80391" y="0"/>
                  </a:lnTo>
                  <a:lnTo>
                    <a:pt x="803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475B2C95-2E44-45C5-A4AC-2A5E910DB50A}"/>
                </a:ext>
              </a:extLst>
            </p:cNvPr>
            <p:cNvSpPr/>
            <p:nvPr/>
          </p:nvSpPr>
          <p:spPr>
            <a:xfrm>
              <a:off x="1723381" y="3072939"/>
              <a:ext cx="41638" cy="70224"/>
            </a:xfrm>
            <a:custGeom>
              <a:avLst/>
              <a:gdLst>
                <a:gd name="connsiteX0" fmla="*/ 0 w 48005"/>
                <a:gd name="connsiteY0" fmla="*/ 0 h 80962"/>
                <a:gd name="connsiteX1" fmla="*/ 48006 w 48005"/>
                <a:gd name="connsiteY1" fmla="*/ 0 h 80962"/>
                <a:gd name="connsiteX2" fmla="*/ 48006 w 48005"/>
                <a:gd name="connsiteY2" fmla="*/ 80963 h 80962"/>
                <a:gd name="connsiteX3" fmla="*/ 0 w 4800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" h="80962">
                  <a:moveTo>
                    <a:pt x="0" y="0"/>
                  </a:moveTo>
                  <a:lnTo>
                    <a:pt x="48006" y="0"/>
                  </a:lnTo>
                  <a:lnTo>
                    <a:pt x="480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FD46046F-EEC1-4D0B-8F6A-CD508313238F}"/>
                </a:ext>
              </a:extLst>
            </p:cNvPr>
            <p:cNvSpPr/>
            <p:nvPr/>
          </p:nvSpPr>
          <p:spPr>
            <a:xfrm>
              <a:off x="7253044" y="3547081"/>
              <a:ext cx="139292" cy="70224"/>
            </a:xfrm>
            <a:custGeom>
              <a:avLst/>
              <a:gdLst>
                <a:gd name="connsiteX0" fmla="*/ 0 w 160591"/>
                <a:gd name="connsiteY0" fmla="*/ 0 h 80962"/>
                <a:gd name="connsiteX1" fmla="*/ 160591 w 160591"/>
                <a:gd name="connsiteY1" fmla="*/ 0 h 80962"/>
                <a:gd name="connsiteX2" fmla="*/ 160591 w 160591"/>
                <a:gd name="connsiteY2" fmla="*/ 80962 h 80962"/>
                <a:gd name="connsiteX3" fmla="*/ 0 w 1605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591" h="80962">
                  <a:moveTo>
                    <a:pt x="0" y="0"/>
                  </a:moveTo>
                  <a:lnTo>
                    <a:pt x="160591" y="0"/>
                  </a:lnTo>
                  <a:lnTo>
                    <a:pt x="16059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57C37641-6CE9-4A79-8EE1-8173CA63DAE7}"/>
                </a:ext>
              </a:extLst>
            </p:cNvPr>
            <p:cNvSpPr/>
            <p:nvPr/>
          </p:nvSpPr>
          <p:spPr>
            <a:xfrm>
              <a:off x="7195956" y="3428525"/>
              <a:ext cx="196381" cy="70307"/>
            </a:xfrm>
            <a:custGeom>
              <a:avLst/>
              <a:gdLst>
                <a:gd name="connsiteX0" fmla="*/ 0 w 226409"/>
                <a:gd name="connsiteY0" fmla="*/ 0 h 81057"/>
                <a:gd name="connsiteX1" fmla="*/ 226410 w 226409"/>
                <a:gd name="connsiteY1" fmla="*/ 0 h 81057"/>
                <a:gd name="connsiteX2" fmla="*/ 226410 w 226409"/>
                <a:gd name="connsiteY2" fmla="*/ 81058 h 81057"/>
                <a:gd name="connsiteX3" fmla="*/ 0 w 2264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409" h="81057">
                  <a:moveTo>
                    <a:pt x="0" y="0"/>
                  </a:moveTo>
                  <a:lnTo>
                    <a:pt x="226410" y="0"/>
                  </a:lnTo>
                  <a:lnTo>
                    <a:pt x="2264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8134BE66-BAD1-401E-AB63-E0522940BE11}"/>
                </a:ext>
              </a:extLst>
            </p:cNvPr>
            <p:cNvSpPr/>
            <p:nvPr/>
          </p:nvSpPr>
          <p:spPr>
            <a:xfrm>
              <a:off x="6269567" y="3428525"/>
              <a:ext cx="235046" cy="70307"/>
            </a:xfrm>
            <a:custGeom>
              <a:avLst/>
              <a:gdLst>
                <a:gd name="connsiteX0" fmla="*/ 0 w 270986"/>
                <a:gd name="connsiteY0" fmla="*/ 0 h 81057"/>
                <a:gd name="connsiteX1" fmla="*/ 270987 w 270986"/>
                <a:gd name="connsiteY1" fmla="*/ 0 h 81057"/>
                <a:gd name="connsiteX2" fmla="*/ 270987 w 270986"/>
                <a:gd name="connsiteY2" fmla="*/ 81058 h 81057"/>
                <a:gd name="connsiteX3" fmla="*/ 0 w 27098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986" h="81057">
                  <a:moveTo>
                    <a:pt x="0" y="0"/>
                  </a:moveTo>
                  <a:lnTo>
                    <a:pt x="270987" y="0"/>
                  </a:lnTo>
                  <a:lnTo>
                    <a:pt x="27098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62984299-0AB4-457F-AE1D-775BCDD76D5E}"/>
                </a:ext>
              </a:extLst>
            </p:cNvPr>
            <p:cNvSpPr/>
            <p:nvPr/>
          </p:nvSpPr>
          <p:spPr>
            <a:xfrm>
              <a:off x="7156960" y="3309968"/>
              <a:ext cx="368886" cy="70307"/>
            </a:xfrm>
            <a:custGeom>
              <a:avLst/>
              <a:gdLst>
                <a:gd name="connsiteX0" fmla="*/ 0 w 425291"/>
                <a:gd name="connsiteY0" fmla="*/ 0 h 81057"/>
                <a:gd name="connsiteX1" fmla="*/ 425291 w 425291"/>
                <a:gd name="connsiteY1" fmla="*/ 0 h 81057"/>
                <a:gd name="connsiteX2" fmla="*/ 425291 w 425291"/>
                <a:gd name="connsiteY2" fmla="*/ 81058 h 81057"/>
                <a:gd name="connsiteX3" fmla="*/ 0 w 42529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291" h="81057">
                  <a:moveTo>
                    <a:pt x="0" y="0"/>
                  </a:moveTo>
                  <a:lnTo>
                    <a:pt x="425291" y="0"/>
                  </a:lnTo>
                  <a:lnTo>
                    <a:pt x="42529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8B4CCF7C-6367-49C8-B2D0-05428DC5BF6A}"/>
                </a:ext>
              </a:extLst>
            </p:cNvPr>
            <p:cNvSpPr/>
            <p:nvPr/>
          </p:nvSpPr>
          <p:spPr>
            <a:xfrm>
              <a:off x="6211735" y="3309968"/>
              <a:ext cx="516771" cy="70307"/>
            </a:xfrm>
            <a:custGeom>
              <a:avLst/>
              <a:gdLst>
                <a:gd name="connsiteX0" fmla="*/ 0 w 595788"/>
                <a:gd name="connsiteY0" fmla="*/ 0 h 81057"/>
                <a:gd name="connsiteX1" fmla="*/ 595789 w 595788"/>
                <a:gd name="connsiteY1" fmla="*/ 0 h 81057"/>
                <a:gd name="connsiteX2" fmla="*/ 595789 w 595788"/>
                <a:gd name="connsiteY2" fmla="*/ 81058 h 81057"/>
                <a:gd name="connsiteX3" fmla="*/ 0 w 59578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788" h="81057">
                  <a:moveTo>
                    <a:pt x="0" y="0"/>
                  </a:moveTo>
                  <a:lnTo>
                    <a:pt x="595789" y="0"/>
                  </a:lnTo>
                  <a:lnTo>
                    <a:pt x="59578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9C3B825B-CF3F-4CEF-9DD2-5189C2E96F1B}"/>
                </a:ext>
              </a:extLst>
            </p:cNvPr>
            <p:cNvSpPr/>
            <p:nvPr/>
          </p:nvSpPr>
          <p:spPr>
            <a:xfrm>
              <a:off x="6134901" y="3191495"/>
              <a:ext cx="632271" cy="70224"/>
            </a:xfrm>
            <a:custGeom>
              <a:avLst/>
              <a:gdLst>
                <a:gd name="connsiteX0" fmla="*/ 0 w 728948"/>
                <a:gd name="connsiteY0" fmla="*/ 0 h 80962"/>
                <a:gd name="connsiteX1" fmla="*/ 728948 w 728948"/>
                <a:gd name="connsiteY1" fmla="*/ 0 h 80962"/>
                <a:gd name="connsiteX2" fmla="*/ 728948 w 728948"/>
                <a:gd name="connsiteY2" fmla="*/ 80963 h 80962"/>
                <a:gd name="connsiteX3" fmla="*/ 0 w 72894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948" h="80962">
                  <a:moveTo>
                    <a:pt x="0" y="0"/>
                  </a:moveTo>
                  <a:lnTo>
                    <a:pt x="728948" y="0"/>
                  </a:lnTo>
                  <a:lnTo>
                    <a:pt x="728948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D2E24810-E216-4D7A-96DD-D89BC20357D6}"/>
                </a:ext>
              </a:extLst>
            </p:cNvPr>
            <p:cNvSpPr/>
            <p:nvPr/>
          </p:nvSpPr>
          <p:spPr>
            <a:xfrm>
              <a:off x="6055010" y="3072939"/>
              <a:ext cx="449603" cy="70224"/>
            </a:xfrm>
            <a:custGeom>
              <a:avLst/>
              <a:gdLst>
                <a:gd name="connsiteX0" fmla="*/ 0 w 518350"/>
                <a:gd name="connsiteY0" fmla="*/ 0 h 80962"/>
                <a:gd name="connsiteX1" fmla="*/ 518350 w 518350"/>
                <a:gd name="connsiteY1" fmla="*/ 0 h 80962"/>
                <a:gd name="connsiteX2" fmla="*/ 518350 w 518350"/>
                <a:gd name="connsiteY2" fmla="*/ 80963 h 80962"/>
                <a:gd name="connsiteX3" fmla="*/ 0 w 51835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350" h="80962">
                  <a:moveTo>
                    <a:pt x="0" y="0"/>
                  </a:moveTo>
                  <a:lnTo>
                    <a:pt x="518350" y="0"/>
                  </a:lnTo>
                  <a:lnTo>
                    <a:pt x="51835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3062E52F-7FB9-4B11-891B-9E4457444165}"/>
                </a:ext>
              </a:extLst>
            </p:cNvPr>
            <p:cNvSpPr/>
            <p:nvPr/>
          </p:nvSpPr>
          <p:spPr>
            <a:xfrm>
              <a:off x="6015849" y="2835827"/>
              <a:ext cx="2546102" cy="70307"/>
            </a:xfrm>
            <a:custGeom>
              <a:avLst/>
              <a:gdLst>
                <a:gd name="connsiteX0" fmla="*/ 0 w 2935414"/>
                <a:gd name="connsiteY0" fmla="*/ 0 h 81057"/>
                <a:gd name="connsiteX1" fmla="*/ 2935415 w 2935414"/>
                <a:gd name="connsiteY1" fmla="*/ 0 h 81057"/>
                <a:gd name="connsiteX2" fmla="*/ 2935415 w 2935414"/>
                <a:gd name="connsiteY2" fmla="*/ 81058 h 81057"/>
                <a:gd name="connsiteX3" fmla="*/ 0 w 293541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5414" h="81057">
                  <a:moveTo>
                    <a:pt x="0" y="0"/>
                  </a:moveTo>
                  <a:lnTo>
                    <a:pt x="2935415" y="0"/>
                  </a:lnTo>
                  <a:lnTo>
                    <a:pt x="293541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A8242EE9-20D6-417C-850E-705B946A0DA5}"/>
                </a:ext>
              </a:extLst>
            </p:cNvPr>
            <p:cNvSpPr/>
            <p:nvPr/>
          </p:nvSpPr>
          <p:spPr>
            <a:xfrm>
              <a:off x="5751804" y="2717354"/>
              <a:ext cx="2743392" cy="70224"/>
            </a:xfrm>
            <a:custGeom>
              <a:avLst/>
              <a:gdLst>
                <a:gd name="connsiteX0" fmla="*/ 0 w 3162871"/>
                <a:gd name="connsiteY0" fmla="*/ 0 h 80962"/>
                <a:gd name="connsiteX1" fmla="*/ 3162871 w 3162871"/>
                <a:gd name="connsiteY1" fmla="*/ 0 h 80962"/>
                <a:gd name="connsiteX2" fmla="*/ 3162871 w 3162871"/>
                <a:gd name="connsiteY2" fmla="*/ 80962 h 80962"/>
                <a:gd name="connsiteX3" fmla="*/ 0 w 316287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871" h="80962">
                  <a:moveTo>
                    <a:pt x="0" y="0"/>
                  </a:moveTo>
                  <a:lnTo>
                    <a:pt x="3162871" y="0"/>
                  </a:lnTo>
                  <a:lnTo>
                    <a:pt x="316287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BA02DCE5-5A25-4E19-BDFF-FE92BAFF794E}"/>
                </a:ext>
              </a:extLst>
            </p:cNvPr>
            <p:cNvSpPr/>
            <p:nvPr/>
          </p:nvSpPr>
          <p:spPr>
            <a:xfrm>
              <a:off x="8778905" y="2717354"/>
              <a:ext cx="204643" cy="70224"/>
            </a:xfrm>
            <a:custGeom>
              <a:avLst/>
              <a:gdLst>
                <a:gd name="connsiteX0" fmla="*/ 0 w 235934"/>
                <a:gd name="connsiteY0" fmla="*/ 0 h 80962"/>
                <a:gd name="connsiteX1" fmla="*/ 235934 w 235934"/>
                <a:gd name="connsiteY1" fmla="*/ 0 h 80962"/>
                <a:gd name="connsiteX2" fmla="*/ 235934 w 235934"/>
                <a:gd name="connsiteY2" fmla="*/ 80962 h 80962"/>
                <a:gd name="connsiteX3" fmla="*/ 0 w 23593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934" h="80962">
                  <a:moveTo>
                    <a:pt x="0" y="0"/>
                  </a:moveTo>
                  <a:lnTo>
                    <a:pt x="235934" y="0"/>
                  </a:lnTo>
                  <a:lnTo>
                    <a:pt x="23593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D4FD5E87-6983-49BF-AB1A-B4494ED328B8}"/>
                </a:ext>
              </a:extLst>
            </p:cNvPr>
            <p:cNvSpPr/>
            <p:nvPr/>
          </p:nvSpPr>
          <p:spPr>
            <a:xfrm>
              <a:off x="7791627" y="3309968"/>
              <a:ext cx="375330" cy="70307"/>
            </a:xfrm>
            <a:custGeom>
              <a:avLst/>
              <a:gdLst>
                <a:gd name="connsiteX0" fmla="*/ 0 w 432720"/>
                <a:gd name="connsiteY0" fmla="*/ 0 h 81057"/>
                <a:gd name="connsiteX1" fmla="*/ 432721 w 432720"/>
                <a:gd name="connsiteY1" fmla="*/ 0 h 81057"/>
                <a:gd name="connsiteX2" fmla="*/ 432721 w 432720"/>
                <a:gd name="connsiteY2" fmla="*/ 81058 h 81057"/>
                <a:gd name="connsiteX3" fmla="*/ 0 w 4327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720" h="81057">
                  <a:moveTo>
                    <a:pt x="0" y="0"/>
                  </a:moveTo>
                  <a:lnTo>
                    <a:pt x="432721" y="0"/>
                  </a:lnTo>
                  <a:lnTo>
                    <a:pt x="43272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DD26B922-DBE2-47B6-B920-CC93CC7AD5B6}"/>
                </a:ext>
              </a:extLst>
            </p:cNvPr>
            <p:cNvSpPr/>
            <p:nvPr/>
          </p:nvSpPr>
          <p:spPr>
            <a:xfrm>
              <a:off x="8226607" y="3309968"/>
              <a:ext cx="71298" cy="70307"/>
            </a:xfrm>
            <a:custGeom>
              <a:avLst/>
              <a:gdLst>
                <a:gd name="connsiteX0" fmla="*/ 0 w 82200"/>
                <a:gd name="connsiteY0" fmla="*/ 0 h 81057"/>
                <a:gd name="connsiteX1" fmla="*/ 82201 w 82200"/>
                <a:gd name="connsiteY1" fmla="*/ 0 h 81057"/>
                <a:gd name="connsiteX2" fmla="*/ 82201 w 82200"/>
                <a:gd name="connsiteY2" fmla="*/ 81058 h 81057"/>
                <a:gd name="connsiteX3" fmla="*/ 0 w 8220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200" h="81057">
                  <a:moveTo>
                    <a:pt x="0" y="0"/>
                  </a:moveTo>
                  <a:lnTo>
                    <a:pt x="82201" y="0"/>
                  </a:lnTo>
                  <a:lnTo>
                    <a:pt x="8220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D64C3434-2968-4732-82CA-6385B439B739}"/>
                </a:ext>
              </a:extLst>
            </p:cNvPr>
            <p:cNvSpPr/>
            <p:nvPr/>
          </p:nvSpPr>
          <p:spPr>
            <a:xfrm>
              <a:off x="7918032" y="3428525"/>
              <a:ext cx="334600" cy="70307"/>
            </a:xfrm>
            <a:custGeom>
              <a:avLst/>
              <a:gdLst>
                <a:gd name="connsiteX0" fmla="*/ 0 w 385762"/>
                <a:gd name="connsiteY0" fmla="*/ 0 h 81057"/>
                <a:gd name="connsiteX1" fmla="*/ 385762 w 385762"/>
                <a:gd name="connsiteY1" fmla="*/ 0 h 81057"/>
                <a:gd name="connsiteX2" fmla="*/ 385762 w 385762"/>
                <a:gd name="connsiteY2" fmla="*/ 81058 h 81057"/>
                <a:gd name="connsiteX3" fmla="*/ 0 w 38576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62" h="81057">
                  <a:moveTo>
                    <a:pt x="0" y="0"/>
                  </a:moveTo>
                  <a:lnTo>
                    <a:pt x="385762" y="0"/>
                  </a:lnTo>
                  <a:lnTo>
                    <a:pt x="38576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3F107170-46C8-4792-96D8-890CC736DD59}"/>
                </a:ext>
              </a:extLst>
            </p:cNvPr>
            <p:cNvSpPr/>
            <p:nvPr/>
          </p:nvSpPr>
          <p:spPr>
            <a:xfrm>
              <a:off x="8089462" y="3547081"/>
              <a:ext cx="163169" cy="70224"/>
            </a:xfrm>
            <a:custGeom>
              <a:avLst/>
              <a:gdLst>
                <a:gd name="connsiteX0" fmla="*/ 0 w 188118"/>
                <a:gd name="connsiteY0" fmla="*/ 0 h 80962"/>
                <a:gd name="connsiteX1" fmla="*/ 188119 w 188118"/>
                <a:gd name="connsiteY1" fmla="*/ 0 h 80962"/>
                <a:gd name="connsiteX2" fmla="*/ 188119 w 188118"/>
                <a:gd name="connsiteY2" fmla="*/ 80962 h 80962"/>
                <a:gd name="connsiteX3" fmla="*/ 0 w 188118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8118" h="80962">
                  <a:moveTo>
                    <a:pt x="0" y="0"/>
                  </a:moveTo>
                  <a:lnTo>
                    <a:pt x="188119" y="0"/>
                  </a:lnTo>
                  <a:lnTo>
                    <a:pt x="18811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3D156575-1BB0-4BC9-BB4A-F6C2EB20DBAE}"/>
                </a:ext>
              </a:extLst>
            </p:cNvPr>
            <p:cNvSpPr/>
            <p:nvPr/>
          </p:nvSpPr>
          <p:spPr>
            <a:xfrm>
              <a:off x="7938851" y="3547081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15420837-D7CB-47FD-B67F-F75B8EA7A1A4}"/>
                </a:ext>
              </a:extLst>
            </p:cNvPr>
            <p:cNvSpPr/>
            <p:nvPr/>
          </p:nvSpPr>
          <p:spPr>
            <a:xfrm>
              <a:off x="7982308" y="3665636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230837B0-FA66-4882-9CFE-4DCAFE20C40C}"/>
                </a:ext>
              </a:extLst>
            </p:cNvPr>
            <p:cNvSpPr/>
            <p:nvPr/>
          </p:nvSpPr>
          <p:spPr>
            <a:xfrm>
              <a:off x="8060298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0D523327-7C18-4071-B5D6-FE888C9D2BA7}"/>
                </a:ext>
              </a:extLst>
            </p:cNvPr>
            <p:cNvSpPr/>
            <p:nvPr/>
          </p:nvSpPr>
          <p:spPr>
            <a:xfrm>
              <a:off x="8367966" y="3784192"/>
              <a:ext cx="166721" cy="70224"/>
            </a:xfrm>
            <a:custGeom>
              <a:avLst/>
              <a:gdLst>
                <a:gd name="connsiteX0" fmla="*/ 0 w 192214"/>
                <a:gd name="connsiteY0" fmla="*/ 0 h 80962"/>
                <a:gd name="connsiteX1" fmla="*/ 192215 w 192214"/>
                <a:gd name="connsiteY1" fmla="*/ 0 h 80962"/>
                <a:gd name="connsiteX2" fmla="*/ 192215 w 192214"/>
                <a:gd name="connsiteY2" fmla="*/ 80962 h 80962"/>
                <a:gd name="connsiteX3" fmla="*/ 0 w 19221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14" h="80962">
                  <a:moveTo>
                    <a:pt x="0" y="0"/>
                  </a:moveTo>
                  <a:lnTo>
                    <a:pt x="192215" y="0"/>
                  </a:lnTo>
                  <a:lnTo>
                    <a:pt x="19221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454E757A-07D5-48C0-B10B-48FE990223F5}"/>
                </a:ext>
              </a:extLst>
            </p:cNvPr>
            <p:cNvSpPr/>
            <p:nvPr/>
          </p:nvSpPr>
          <p:spPr>
            <a:xfrm>
              <a:off x="8265602" y="3902666"/>
              <a:ext cx="269085" cy="70307"/>
            </a:xfrm>
            <a:custGeom>
              <a:avLst/>
              <a:gdLst>
                <a:gd name="connsiteX0" fmla="*/ 0 w 310229"/>
                <a:gd name="connsiteY0" fmla="*/ 0 h 81057"/>
                <a:gd name="connsiteX1" fmla="*/ 310229 w 310229"/>
                <a:gd name="connsiteY1" fmla="*/ 0 h 81057"/>
                <a:gd name="connsiteX2" fmla="*/ 310229 w 310229"/>
                <a:gd name="connsiteY2" fmla="*/ 81058 h 81057"/>
                <a:gd name="connsiteX3" fmla="*/ 0 w 3102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229" h="81057">
                  <a:moveTo>
                    <a:pt x="0" y="0"/>
                  </a:moveTo>
                  <a:lnTo>
                    <a:pt x="310229" y="0"/>
                  </a:lnTo>
                  <a:lnTo>
                    <a:pt x="31022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2643CBD4-F2F6-467D-93C5-E3FDB6F4772A}"/>
                </a:ext>
              </a:extLst>
            </p:cNvPr>
            <p:cNvSpPr/>
            <p:nvPr/>
          </p:nvSpPr>
          <p:spPr>
            <a:xfrm>
              <a:off x="8384489" y="4021221"/>
              <a:ext cx="94349" cy="70224"/>
            </a:xfrm>
            <a:custGeom>
              <a:avLst/>
              <a:gdLst>
                <a:gd name="connsiteX0" fmla="*/ 0 w 108775"/>
                <a:gd name="connsiteY0" fmla="*/ 0 h 80962"/>
                <a:gd name="connsiteX1" fmla="*/ 108775 w 108775"/>
                <a:gd name="connsiteY1" fmla="*/ 0 h 80962"/>
                <a:gd name="connsiteX2" fmla="*/ 108775 w 108775"/>
                <a:gd name="connsiteY2" fmla="*/ 80963 h 80962"/>
                <a:gd name="connsiteX3" fmla="*/ 0 w 10877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75" h="80962">
                  <a:moveTo>
                    <a:pt x="0" y="0"/>
                  </a:moveTo>
                  <a:lnTo>
                    <a:pt x="108775" y="0"/>
                  </a:lnTo>
                  <a:lnTo>
                    <a:pt x="10877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505CD225-F592-403F-B356-AED39DFC23F5}"/>
                </a:ext>
              </a:extLst>
            </p:cNvPr>
            <p:cNvSpPr/>
            <p:nvPr/>
          </p:nvSpPr>
          <p:spPr>
            <a:xfrm>
              <a:off x="8554268" y="4021221"/>
              <a:ext cx="135905" cy="70224"/>
            </a:xfrm>
            <a:custGeom>
              <a:avLst/>
              <a:gdLst>
                <a:gd name="connsiteX0" fmla="*/ 0 w 156686"/>
                <a:gd name="connsiteY0" fmla="*/ 0 h 80962"/>
                <a:gd name="connsiteX1" fmla="*/ 156686 w 156686"/>
                <a:gd name="connsiteY1" fmla="*/ 0 h 80962"/>
                <a:gd name="connsiteX2" fmla="*/ 156686 w 156686"/>
                <a:gd name="connsiteY2" fmla="*/ 80963 h 80962"/>
                <a:gd name="connsiteX3" fmla="*/ 0 w 15668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86" h="80962">
                  <a:moveTo>
                    <a:pt x="0" y="0"/>
                  </a:moveTo>
                  <a:lnTo>
                    <a:pt x="156686" y="0"/>
                  </a:lnTo>
                  <a:lnTo>
                    <a:pt x="15668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4B86AE69-05CF-4BF9-BBC0-8A8573107C7E}"/>
                </a:ext>
              </a:extLst>
            </p:cNvPr>
            <p:cNvSpPr/>
            <p:nvPr/>
          </p:nvSpPr>
          <p:spPr>
            <a:xfrm>
              <a:off x="9018742" y="4021221"/>
              <a:ext cx="354594" cy="70224"/>
            </a:xfrm>
            <a:custGeom>
              <a:avLst/>
              <a:gdLst>
                <a:gd name="connsiteX0" fmla="*/ 0 w 408813"/>
                <a:gd name="connsiteY0" fmla="*/ 0 h 80962"/>
                <a:gd name="connsiteX1" fmla="*/ 408814 w 408813"/>
                <a:gd name="connsiteY1" fmla="*/ 0 h 80962"/>
                <a:gd name="connsiteX2" fmla="*/ 408814 w 408813"/>
                <a:gd name="connsiteY2" fmla="*/ 80963 h 80962"/>
                <a:gd name="connsiteX3" fmla="*/ 1 w 40881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813" h="80962">
                  <a:moveTo>
                    <a:pt x="0" y="0"/>
                  </a:moveTo>
                  <a:lnTo>
                    <a:pt x="408814" y="0"/>
                  </a:lnTo>
                  <a:lnTo>
                    <a:pt x="408814" y="80963"/>
                  </a:lnTo>
                  <a:lnTo>
                    <a:pt x="1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F9D4CFBF-04D2-4802-A119-55BD171AA768}"/>
                </a:ext>
              </a:extLst>
            </p:cNvPr>
            <p:cNvSpPr/>
            <p:nvPr/>
          </p:nvSpPr>
          <p:spPr>
            <a:xfrm>
              <a:off x="9134076" y="4139777"/>
              <a:ext cx="156146" cy="70224"/>
            </a:xfrm>
            <a:custGeom>
              <a:avLst/>
              <a:gdLst>
                <a:gd name="connsiteX0" fmla="*/ 0 w 180022"/>
                <a:gd name="connsiteY0" fmla="*/ 0 h 80962"/>
                <a:gd name="connsiteX1" fmla="*/ 180023 w 180022"/>
                <a:gd name="connsiteY1" fmla="*/ 0 h 80962"/>
                <a:gd name="connsiteX2" fmla="*/ 180023 w 180022"/>
                <a:gd name="connsiteY2" fmla="*/ 80963 h 80962"/>
                <a:gd name="connsiteX3" fmla="*/ 0 w 1800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2" h="80962">
                  <a:moveTo>
                    <a:pt x="0" y="0"/>
                  </a:moveTo>
                  <a:lnTo>
                    <a:pt x="180023" y="0"/>
                  </a:lnTo>
                  <a:lnTo>
                    <a:pt x="1800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8118999B-5392-446D-B349-E6B64A04CAE8}"/>
                </a:ext>
              </a:extLst>
            </p:cNvPr>
            <p:cNvSpPr/>
            <p:nvPr/>
          </p:nvSpPr>
          <p:spPr>
            <a:xfrm>
              <a:off x="9384159" y="4139777"/>
              <a:ext cx="78073" cy="70224"/>
            </a:xfrm>
            <a:custGeom>
              <a:avLst/>
              <a:gdLst>
                <a:gd name="connsiteX0" fmla="*/ 0 w 90011"/>
                <a:gd name="connsiteY0" fmla="*/ 0 h 80962"/>
                <a:gd name="connsiteX1" fmla="*/ 90011 w 90011"/>
                <a:gd name="connsiteY1" fmla="*/ 0 h 80962"/>
                <a:gd name="connsiteX2" fmla="*/ 90011 w 90011"/>
                <a:gd name="connsiteY2" fmla="*/ 80963 h 80962"/>
                <a:gd name="connsiteX3" fmla="*/ 0 w 900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" h="80962">
                  <a:moveTo>
                    <a:pt x="0" y="0"/>
                  </a:moveTo>
                  <a:lnTo>
                    <a:pt x="90011" y="0"/>
                  </a:lnTo>
                  <a:lnTo>
                    <a:pt x="900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24AC7A08-A954-474A-B7F2-B3C996DDB507}"/>
                </a:ext>
              </a:extLst>
            </p:cNvPr>
            <p:cNvSpPr/>
            <p:nvPr/>
          </p:nvSpPr>
          <p:spPr>
            <a:xfrm>
              <a:off x="9545180" y="4021221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3 h 80962"/>
                <a:gd name="connsiteX3" fmla="*/ 0 w 5191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EC7E9B7C-0DE0-4759-BE8C-1F6A704D0F04}"/>
                </a:ext>
              </a:extLst>
            </p:cNvPr>
            <p:cNvSpPr/>
            <p:nvPr/>
          </p:nvSpPr>
          <p:spPr>
            <a:xfrm>
              <a:off x="8920015" y="3902666"/>
              <a:ext cx="103354" cy="70307"/>
            </a:xfrm>
            <a:custGeom>
              <a:avLst/>
              <a:gdLst>
                <a:gd name="connsiteX0" fmla="*/ 0 w 119157"/>
                <a:gd name="connsiteY0" fmla="*/ 0 h 81057"/>
                <a:gd name="connsiteX1" fmla="*/ 119158 w 119157"/>
                <a:gd name="connsiteY1" fmla="*/ 0 h 81057"/>
                <a:gd name="connsiteX2" fmla="*/ 119158 w 119157"/>
                <a:gd name="connsiteY2" fmla="*/ 81058 h 81057"/>
                <a:gd name="connsiteX3" fmla="*/ 0 w 11915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81057">
                  <a:moveTo>
                    <a:pt x="0" y="0"/>
                  </a:moveTo>
                  <a:lnTo>
                    <a:pt x="119158" y="0"/>
                  </a:lnTo>
                  <a:lnTo>
                    <a:pt x="11915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299CD379-90A0-4D2F-BDE1-F0815732D30B}"/>
                </a:ext>
              </a:extLst>
            </p:cNvPr>
            <p:cNvSpPr/>
            <p:nvPr/>
          </p:nvSpPr>
          <p:spPr>
            <a:xfrm>
              <a:off x="8920015" y="3900517"/>
              <a:ext cx="103354" cy="2148"/>
            </a:xfrm>
            <a:custGeom>
              <a:avLst/>
              <a:gdLst>
                <a:gd name="connsiteX0" fmla="*/ 0 w 119157"/>
                <a:gd name="connsiteY0" fmla="*/ 0 h 2476"/>
                <a:gd name="connsiteX1" fmla="*/ 119158 w 119157"/>
                <a:gd name="connsiteY1" fmla="*/ 0 h 2476"/>
                <a:gd name="connsiteX2" fmla="*/ 119158 w 119157"/>
                <a:gd name="connsiteY2" fmla="*/ 2476 h 2476"/>
                <a:gd name="connsiteX3" fmla="*/ 0 w 119157"/>
                <a:gd name="connsiteY3" fmla="*/ 2476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157" h="2476">
                  <a:moveTo>
                    <a:pt x="0" y="0"/>
                  </a:moveTo>
                  <a:lnTo>
                    <a:pt x="119158" y="0"/>
                  </a:lnTo>
                  <a:lnTo>
                    <a:pt x="119158" y="2476"/>
                  </a:lnTo>
                  <a:lnTo>
                    <a:pt x="0" y="2476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D2CF2921-E3AB-4ACB-A7F9-79DCD7CA0351}"/>
                </a:ext>
              </a:extLst>
            </p:cNvPr>
            <p:cNvSpPr/>
            <p:nvPr/>
          </p:nvSpPr>
          <p:spPr>
            <a:xfrm>
              <a:off x="8574344" y="3902666"/>
              <a:ext cx="60393" cy="70307"/>
            </a:xfrm>
            <a:custGeom>
              <a:avLst/>
              <a:gdLst>
                <a:gd name="connsiteX0" fmla="*/ 0 w 69627"/>
                <a:gd name="connsiteY0" fmla="*/ 0 h 81057"/>
                <a:gd name="connsiteX1" fmla="*/ 69628 w 69627"/>
                <a:gd name="connsiteY1" fmla="*/ 0 h 81057"/>
                <a:gd name="connsiteX2" fmla="*/ 69628 w 69627"/>
                <a:gd name="connsiteY2" fmla="*/ 81058 h 81057"/>
                <a:gd name="connsiteX3" fmla="*/ 0 w 6962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627" h="81057">
                  <a:moveTo>
                    <a:pt x="0" y="0"/>
                  </a:moveTo>
                  <a:lnTo>
                    <a:pt x="69628" y="0"/>
                  </a:lnTo>
                  <a:lnTo>
                    <a:pt x="6962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EA83E257-ACF6-40A9-B18F-0EB5BC8AD9E9}"/>
                </a:ext>
              </a:extLst>
            </p:cNvPr>
            <p:cNvSpPr/>
            <p:nvPr/>
          </p:nvSpPr>
          <p:spPr>
            <a:xfrm>
              <a:off x="8047410" y="4021221"/>
              <a:ext cx="140862" cy="70224"/>
            </a:xfrm>
            <a:custGeom>
              <a:avLst/>
              <a:gdLst>
                <a:gd name="connsiteX0" fmla="*/ 0 w 162401"/>
                <a:gd name="connsiteY0" fmla="*/ 0 h 80962"/>
                <a:gd name="connsiteX1" fmla="*/ 162401 w 162401"/>
                <a:gd name="connsiteY1" fmla="*/ 0 h 80962"/>
                <a:gd name="connsiteX2" fmla="*/ 162401 w 162401"/>
                <a:gd name="connsiteY2" fmla="*/ 80963 h 80962"/>
                <a:gd name="connsiteX3" fmla="*/ 0 w 16240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01" h="80962">
                  <a:moveTo>
                    <a:pt x="0" y="0"/>
                  </a:moveTo>
                  <a:lnTo>
                    <a:pt x="162401" y="0"/>
                  </a:lnTo>
                  <a:lnTo>
                    <a:pt x="16240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F74C8D50-1E0D-4E7E-9B99-D36CCE33E6CC}"/>
                </a:ext>
              </a:extLst>
            </p:cNvPr>
            <p:cNvSpPr/>
            <p:nvPr/>
          </p:nvSpPr>
          <p:spPr>
            <a:xfrm>
              <a:off x="7989826" y="3902666"/>
              <a:ext cx="127974" cy="70307"/>
            </a:xfrm>
            <a:custGeom>
              <a:avLst/>
              <a:gdLst>
                <a:gd name="connsiteX0" fmla="*/ 0 w 147542"/>
                <a:gd name="connsiteY0" fmla="*/ 0 h 81057"/>
                <a:gd name="connsiteX1" fmla="*/ 147542 w 147542"/>
                <a:gd name="connsiteY1" fmla="*/ 0 h 81057"/>
                <a:gd name="connsiteX2" fmla="*/ 147542 w 147542"/>
                <a:gd name="connsiteY2" fmla="*/ 81058 h 81057"/>
                <a:gd name="connsiteX3" fmla="*/ 0 w 14754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542" h="81057">
                  <a:moveTo>
                    <a:pt x="0" y="0"/>
                  </a:moveTo>
                  <a:lnTo>
                    <a:pt x="147542" y="0"/>
                  </a:lnTo>
                  <a:lnTo>
                    <a:pt x="14754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22B38C9C-E009-40DC-AAAA-C220EC87491D}"/>
                </a:ext>
              </a:extLst>
            </p:cNvPr>
            <p:cNvSpPr/>
            <p:nvPr/>
          </p:nvSpPr>
          <p:spPr>
            <a:xfrm>
              <a:off x="8481399" y="3665636"/>
              <a:ext cx="45026" cy="70224"/>
            </a:xfrm>
            <a:custGeom>
              <a:avLst/>
              <a:gdLst>
                <a:gd name="connsiteX0" fmla="*/ 0 w 51911"/>
                <a:gd name="connsiteY0" fmla="*/ 0 h 80962"/>
                <a:gd name="connsiteX1" fmla="*/ 51911 w 51911"/>
                <a:gd name="connsiteY1" fmla="*/ 0 h 80962"/>
                <a:gd name="connsiteX2" fmla="*/ 51911 w 51911"/>
                <a:gd name="connsiteY2" fmla="*/ 80962 h 80962"/>
                <a:gd name="connsiteX3" fmla="*/ 0 w 5191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911" h="80962">
                  <a:moveTo>
                    <a:pt x="0" y="0"/>
                  </a:moveTo>
                  <a:lnTo>
                    <a:pt x="51911" y="0"/>
                  </a:lnTo>
                  <a:lnTo>
                    <a:pt x="5191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2AFB5607-45CF-45D6-ABDF-96A40ED777A4}"/>
                </a:ext>
              </a:extLst>
            </p:cNvPr>
            <p:cNvSpPr/>
            <p:nvPr/>
          </p:nvSpPr>
          <p:spPr>
            <a:xfrm>
              <a:off x="8679020" y="3665636"/>
              <a:ext cx="107155" cy="70224"/>
            </a:xfrm>
            <a:custGeom>
              <a:avLst/>
              <a:gdLst>
                <a:gd name="connsiteX0" fmla="*/ 0 w 123539"/>
                <a:gd name="connsiteY0" fmla="*/ 0 h 80962"/>
                <a:gd name="connsiteX1" fmla="*/ 123539 w 123539"/>
                <a:gd name="connsiteY1" fmla="*/ 0 h 80962"/>
                <a:gd name="connsiteX2" fmla="*/ 123539 w 123539"/>
                <a:gd name="connsiteY2" fmla="*/ 80962 h 80962"/>
                <a:gd name="connsiteX3" fmla="*/ 0 w 12353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539" h="80962">
                  <a:moveTo>
                    <a:pt x="0" y="0"/>
                  </a:moveTo>
                  <a:lnTo>
                    <a:pt x="123539" y="0"/>
                  </a:lnTo>
                  <a:lnTo>
                    <a:pt x="12353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9DE92AA-7A41-43DB-8C30-07086CF9CE3D}"/>
                </a:ext>
              </a:extLst>
            </p:cNvPr>
            <p:cNvSpPr/>
            <p:nvPr/>
          </p:nvSpPr>
          <p:spPr>
            <a:xfrm>
              <a:off x="8651095" y="3547081"/>
              <a:ext cx="104427" cy="70224"/>
            </a:xfrm>
            <a:custGeom>
              <a:avLst/>
              <a:gdLst>
                <a:gd name="connsiteX0" fmla="*/ 0 w 120395"/>
                <a:gd name="connsiteY0" fmla="*/ 0 h 80962"/>
                <a:gd name="connsiteX1" fmla="*/ 120396 w 120395"/>
                <a:gd name="connsiteY1" fmla="*/ 0 h 80962"/>
                <a:gd name="connsiteX2" fmla="*/ 120396 w 120395"/>
                <a:gd name="connsiteY2" fmla="*/ 80962 h 80962"/>
                <a:gd name="connsiteX3" fmla="*/ 0 w 120395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395" h="80962">
                  <a:moveTo>
                    <a:pt x="0" y="0"/>
                  </a:moveTo>
                  <a:lnTo>
                    <a:pt x="120396" y="0"/>
                  </a:lnTo>
                  <a:lnTo>
                    <a:pt x="1203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9FFC6B7E-BF1B-4007-8926-5E821326C663}"/>
                </a:ext>
              </a:extLst>
            </p:cNvPr>
            <p:cNvSpPr/>
            <p:nvPr/>
          </p:nvSpPr>
          <p:spPr>
            <a:xfrm>
              <a:off x="8582110" y="3428525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FF92FA9E-434E-4AED-A844-9B47180793B5}"/>
                </a:ext>
              </a:extLst>
            </p:cNvPr>
            <p:cNvSpPr/>
            <p:nvPr/>
          </p:nvSpPr>
          <p:spPr>
            <a:xfrm>
              <a:off x="8582110" y="3309968"/>
              <a:ext cx="74438" cy="70307"/>
            </a:xfrm>
            <a:custGeom>
              <a:avLst/>
              <a:gdLst>
                <a:gd name="connsiteX0" fmla="*/ 0 w 85820"/>
                <a:gd name="connsiteY0" fmla="*/ 0 h 81057"/>
                <a:gd name="connsiteX1" fmla="*/ 85820 w 85820"/>
                <a:gd name="connsiteY1" fmla="*/ 0 h 81057"/>
                <a:gd name="connsiteX2" fmla="*/ 85820 w 85820"/>
                <a:gd name="connsiteY2" fmla="*/ 81058 h 81057"/>
                <a:gd name="connsiteX3" fmla="*/ 0 w 8582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1057">
                  <a:moveTo>
                    <a:pt x="0" y="0"/>
                  </a:moveTo>
                  <a:lnTo>
                    <a:pt x="85820" y="0"/>
                  </a:lnTo>
                  <a:lnTo>
                    <a:pt x="8582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C601FE5C-CA3A-4CBB-9EA2-61F3B8BCDE3C}"/>
                </a:ext>
              </a:extLst>
            </p:cNvPr>
            <p:cNvSpPr/>
            <p:nvPr/>
          </p:nvSpPr>
          <p:spPr>
            <a:xfrm>
              <a:off x="8544849" y="3072939"/>
              <a:ext cx="74438" cy="70224"/>
            </a:xfrm>
            <a:custGeom>
              <a:avLst/>
              <a:gdLst>
                <a:gd name="connsiteX0" fmla="*/ 0 w 85820"/>
                <a:gd name="connsiteY0" fmla="*/ 0 h 80962"/>
                <a:gd name="connsiteX1" fmla="*/ 85820 w 85820"/>
                <a:gd name="connsiteY1" fmla="*/ 0 h 80962"/>
                <a:gd name="connsiteX2" fmla="*/ 85820 w 85820"/>
                <a:gd name="connsiteY2" fmla="*/ 80963 h 80962"/>
                <a:gd name="connsiteX3" fmla="*/ 0 w 8582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20" h="80962">
                  <a:moveTo>
                    <a:pt x="0" y="0"/>
                  </a:moveTo>
                  <a:lnTo>
                    <a:pt x="85820" y="0"/>
                  </a:lnTo>
                  <a:lnTo>
                    <a:pt x="8582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60173121-7688-4706-BB1F-79ED04A244C5}"/>
                </a:ext>
              </a:extLst>
            </p:cNvPr>
            <p:cNvSpPr/>
            <p:nvPr/>
          </p:nvSpPr>
          <p:spPr>
            <a:xfrm>
              <a:off x="6561785" y="3072939"/>
              <a:ext cx="1962493" cy="70224"/>
            </a:xfrm>
            <a:custGeom>
              <a:avLst/>
              <a:gdLst>
                <a:gd name="connsiteX0" fmla="*/ 0 w 2262568"/>
                <a:gd name="connsiteY0" fmla="*/ 0 h 80962"/>
                <a:gd name="connsiteX1" fmla="*/ 2262569 w 2262568"/>
                <a:gd name="connsiteY1" fmla="*/ 0 h 80962"/>
                <a:gd name="connsiteX2" fmla="*/ 2262569 w 2262568"/>
                <a:gd name="connsiteY2" fmla="*/ 80963 h 80962"/>
                <a:gd name="connsiteX3" fmla="*/ 0 w 22625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568" h="80962">
                  <a:moveTo>
                    <a:pt x="0" y="0"/>
                  </a:moveTo>
                  <a:lnTo>
                    <a:pt x="2262569" y="0"/>
                  </a:lnTo>
                  <a:lnTo>
                    <a:pt x="22625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8B5B6F65-118B-4B59-9522-CAFF4581129C}"/>
                </a:ext>
              </a:extLst>
            </p:cNvPr>
            <p:cNvSpPr/>
            <p:nvPr/>
          </p:nvSpPr>
          <p:spPr>
            <a:xfrm>
              <a:off x="6483380" y="2954383"/>
              <a:ext cx="2078570" cy="70224"/>
            </a:xfrm>
            <a:custGeom>
              <a:avLst/>
              <a:gdLst>
                <a:gd name="connsiteX0" fmla="*/ 0 w 2396394"/>
                <a:gd name="connsiteY0" fmla="*/ 0 h 80962"/>
                <a:gd name="connsiteX1" fmla="*/ 2396395 w 2396394"/>
                <a:gd name="connsiteY1" fmla="*/ 0 h 80962"/>
                <a:gd name="connsiteX2" fmla="*/ 2396395 w 2396394"/>
                <a:gd name="connsiteY2" fmla="*/ 80962 h 80962"/>
                <a:gd name="connsiteX3" fmla="*/ 0 w 239639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6394" h="80962">
                  <a:moveTo>
                    <a:pt x="0" y="0"/>
                  </a:moveTo>
                  <a:lnTo>
                    <a:pt x="2396395" y="0"/>
                  </a:lnTo>
                  <a:lnTo>
                    <a:pt x="239639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6D196D1-C39A-43E3-AA95-A0F1F282A7B3}"/>
                </a:ext>
              </a:extLst>
            </p:cNvPr>
            <p:cNvSpPr/>
            <p:nvPr/>
          </p:nvSpPr>
          <p:spPr>
            <a:xfrm>
              <a:off x="7921584" y="3784192"/>
              <a:ext cx="50148" cy="70224"/>
            </a:xfrm>
            <a:custGeom>
              <a:avLst/>
              <a:gdLst>
                <a:gd name="connsiteX0" fmla="*/ 0 w 57816"/>
                <a:gd name="connsiteY0" fmla="*/ 0 h 80962"/>
                <a:gd name="connsiteX1" fmla="*/ 57817 w 57816"/>
                <a:gd name="connsiteY1" fmla="*/ 0 h 80962"/>
                <a:gd name="connsiteX2" fmla="*/ 57817 w 57816"/>
                <a:gd name="connsiteY2" fmla="*/ 80962 h 80962"/>
                <a:gd name="connsiteX3" fmla="*/ 0 w 5781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6" h="80962">
                  <a:moveTo>
                    <a:pt x="0" y="0"/>
                  </a:moveTo>
                  <a:lnTo>
                    <a:pt x="57817" y="0"/>
                  </a:lnTo>
                  <a:lnTo>
                    <a:pt x="5781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E9100782-EB76-4778-8A9D-10C0130407EF}"/>
                </a:ext>
              </a:extLst>
            </p:cNvPr>
            <p:cNvSpPr/>
            <p:nvPr/>
          </p:nvSpPr>
          <p:spPr>
            <a:xfrm>
              <a:off x="7716362" y="3191495"/>
              <a:ext cx="660609" cy="70224"/>
            </a:xfrm>
            <a:custGeom>
              <a:avLst/>
              <a:gdLst>
                <a:gd name="connsiteX0" fmla="*/ 0 w 761619"/>
                <a:gd name="connsiteY0" fmla="*/ 0 h 80962"/>
                <a:gd name="connsiteX1" fmla="*/ 761619 w 761619"/>
                <a:gd name="connsiteY1" fmla="*/ 0 h 80962"/>
                <a:gd name="connsiteX2" fmla="*/ 761619 w 761619"/>
                <a:gd name="connsiteY2" fmla="*/ 80963 h 80962"/>
                <a:gd name="connsiteX3" fmla="*/ 0 w 7616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619" h="80962">
                  <a:moveTo>
                    <a:pt x="0" y="0"/>
                  </a:moveTo>
                  <a:lnTo>
                    <a:pt x="761619" y="0"/>
                  </a:lnTo>
                  <a:lnTo>
                    <a:pt x="7616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53C6E7FA-39CE-49BF-999B-933043C790E9}"/>
                </a:ext>
              </a:extLst>
            </p:cNvPr>
            <p:cNvSpPr/>
            <p:nvPr/>
          </p:nvSpPr>
          <p:spPr>
            <a:xfrm>
              <a:off x="7034934" y="3191495"/>
              <a:ext cx="544530" cy="70224"/>
            </a:xfrm>
            <a:custGeom>
              <a:avLst/>
              <a:gdLst>
                <a:gd name="connsiteX0" fmla="*/ 0 w 627792"/>
                <a:gd name="connsiteY0" fmla="*/ 0 h 80962"/>
                <a:gd name="connsiteX1" fmla="*/ 627792 w 627792"/>
                <a:gd name="connsiteY1" fmla="*/ 0 h 80962"/>
                <a:gd name="connsiteX2" fmla="*/ 627792 w 627792"/>
                <a:gd name="connsiteY2" fmla="*/ 80963 h 80962"/>
                <a:gd name="connsiteX3" fmla="*/ 0 w 627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92" h="80962">
                  <a:moveTo>
                    <a:pt x="0" y="0"/>
                  </a:moveTo>
                  <a:lnTo>
                    <a:pt x="627792" y="0"/>
                  </a:lnTo>
                  <a:lnTo>
                    <a:pt x="62779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C0A238A0-C991-4CC2-B79C-11A6416A869E}"/>
                </a:ext>
              </a:extLst>
            </p:cNvPr>
            <p:cNvSpPr/>
            <p:nvPr/>
          </p:nvSpPr>
          <p:spPr>
            <a:xfrm>
              <a:off x="7391346" y="3665636"/>
              <a:ext cx="61963" cy="70224"/>
            </a:xfrm>
            <a:custGeom>
              <a:avLst/>
              <a:gdLst>
                <a:gd name="connsiteX0" fmla="*/ 0 w 71437"/>
                <a:gd name="connsiteY0" fmla="*/ 0 h 80962"/>
                <a:gd name="connsiteX1" fmla="*/ 71437 w 71437"/>
                <a:gd name="connsiteY1" fmla="*/ 0 h 80962"/>
                <a:gd name="connsiteX2" fmla="*/ 71437 w 71437"/>
                <a:gd name="connsiteY2" fmla="*/ 80962 h 80962"/>
                <a:gd name="connsiteX3" fmla="*/ 0 w 7143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37" h="80962">
                  <a:moveTo>
                    <a:pt x="0" y="0"/>
                  </a:moveTo>
                  <a:lnTo>
                    <a:pt x="71437" y="0"/>
                  </a:lnTo>
                  <a:lnTo>
                    <a:pt x="7143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EFCFFF13-2220-46F9-97DA-A06EDCA31026}"/>
                </a:ext>
              </a:extLst>
            </p:cNvPr>
            <p:cNvSpPr/>
            <p:nvPr/>
          </p:nvSpPr>
          <p:spPr>
            <a:xfrm>
              <a:off x="5824838" y="465122"/>
              <a:ext cx="100545" cy="70224"/>
            </a:xfrm>
            <a:custGeom>
              <a:avLst/>
              <a:gdLst>
                <a:gd name="connsiteX0" fmla="*/ 0 w 115919"/>
                <a:gd name="connsiteY0" fmla="*/ 0 h 80962"/>
                <a:gd name="connsiteX1" fmla="*/ 115919 w 115919"/>
                <a:gd name="connsiteY1" fmla="*/ 0 h 80962"/>
                <a:gd name="connsiteX2" fmla="*/ 115919 w 115919"/>
                <a:gd name="connsiteY2" fmla="*/ 80963 h 80962"/>
                <a:gd name="connsiteX3" fmla="*/ 0 w 11591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19" h="80962">
                  <a:moveTo>
                    <a:pt x="0" y="0"/>
                  </a:moveTo>
                  <a:lnTo>
                    <a:pt x="115919" y="0"/>
                  </a:lnTo>
                  <a:lnTo>
                    <a:pt x="11591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6D2CC053-02E5-4861-87CB-0FCDF4026FAC}"/>
                </a:ext>
              </a:extLst>
            </p:cNvPr>
            <p:cNvSpPr/>
            <p:nvPr/>
          </p:nvSpPr>
          <p:spPr>
            <a:xfrm>
              <a:off x="5989577" y="465122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2174AFA9-38A2-4E02-8038-8D2B8BFBBEF1}"/>
                </a:ext>
              </a:extLst>
            </p:cNvPr>
            <p:cNvSpPr/>
            <p:nvPr/>
          </p:nvSpPr>
          <p:spPr>
            <a:xfrm>
              <a:off x="6098962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4 w 83724"/>
                <a:gd name="connsiteY1" fmla="*/ 0 h 80962"/>
                <a:gd name="connsiteX2" fmla="*/ 83724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4" y="0"/>
                  </a:lnTo>
                  <a:lnTo>
                    <a:pt x="8372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FBBA998F-C3EA-407B-BFBF-DC510972A375}"/>
                </a:ext>
              </a:extLst>
            </p:cNvPr>
            <p:cNvSpPr/>
            <p:nvPr/>
          </p:nvSpPr>
          <p:spPr>
            <a:xfrm>
              <a:off x="6697112" y="346566"/>
              <a:ext cx="194811" cy="70224"/>
            </a:xfrm>
            <a:custGeom>
              <a:avLst/>
              <a:gdLst>
                <a:gd name="connsiteX0" fmla="*/ 0 w 224599"/>
                <a:gd name="connsiteY0" fmla="*/ 0 h 80962"/>
                <a:gd name="connsiteX1" fmla="*/ 224600 w 224599"/>
                <a:gd name="connsiteY1" fmla="*/ 0 h 80962"/>
                <a:gd name="connsiteX2" fmla="*/ 224600 w 224599"/>
                <a:gd name="connsiteY2" fmla="*/ 80963 h 80962"/>
                <a:gd name="connsiteX3" fmla="*/ 0 w 22459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99" h="80962">
                  <a:moveTo>
                    <a:pt x="0" y="0"/>
                  </a:moveTo>
                  <a:lnTo>
                    <a:pt x="224600" y="0"/>
                  </a:lnTo>
                  <a:lnTo>
                    <a:pt x="22460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6703ADB5-9D63-4D78-A0FE-9FEE98A5E0B5}"/>
                </a:ext>
              </a:extLst>
            </p:cNvPr>
            <p:cNvSpPr/>
            <p:nvPr/>
          </p:nvSpPr>
          <p:spPr>
            <a:xfrm>
              <a:off x="6940255" y="346566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3 h 80962"/>
                <a:gd name="connsiteX3" fmla="*/ 0 w 12287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79587007-2775-4302-8D85-2062FF513458}"/>
                </a:ext>
              </a:extLst>
            </p:cNvPr>
            <p:cNvSpPr/>
            <p:nvPr/>
          </p:nvSpPr>
          <p:spPr>
            <a:xfrm>
              <a:off x="6940255" y="465122"/>
              <a:ext cx="57336" cy="70224"/>
            </a:xfrm>
            <a:custGeom>
              <a:avLst/>
              <a:gdLst>
                <a:gd name="connsiteX0" fmla="*/ 0 w 66103"/>
                <a:gd name="connsiteY0" fmla="*/ 0 h 80962"/>
                <a:gd name="connsiteX1" fmla="*/ 66104 w 66103"/>
                <a:gd name="connsiteY1" fmla="*/ 0 h 80962"/>
                <a:gd name="connsiteX2" fmla="*/ 66104 w 66103"/>
                <a:gd name="connsiteY2" fmla="*/ 80963 h 80962"/>
                <a:gd name="connsiteX3" fmla="*/ 0 w 6610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103" h="80962">
                  <a:moveTo>
                    <a:pt x="0" y="0"/>
                  </a:moveTo>
                  <a:lnTo>
                    <a:pt x="66104" y="0"/>
                  </a:lnTo>
                  <a:lnTo>
                    <a:pt x="6610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B2CC292D-0613-4F78-BA03-0DBC7AFB5886}"/>
                </a:ext>
              </a:extLst>
            </p:cNvPr>
            <p:cNvSpPr/>
            <p:nvPr/>
          </p:nvSpPr>
          <p:spPr>
            <a:xfrm>
              <a:off x="7050549" y="583677"/>
              <a:ext cx="352858" cy="70224"/>
            </a:xfrm>
            <a:custGeom>
              <a:avLst/>
              <a:gdLst>
                <a:gd name="connsiteX0" fmla="*/ 0 w 406812"/>
                <a:gd name="connsiteY0" fmla="*/ 0 h 80962"/>
                <a:gd name="connsiteX1" fmla="*/ 406813 w 406812"/>
                <a:gd name="connsiteY1" fmla="*/ 0 h 80962"/>
                <a:gd name="connsiteX2" fmla="*/ 406813 w 406812"/>
                <a:gd name="connsiteY2" fmla="*/ 80962 h 80962"/>
                <a:gd name="connsiteX3" fmla="*/ 0 w 40681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12" h="80962">
                  <a:moveTo>
                    <a:pt x="0" y="0"/>
                  </a:moveTo>
                  <a:lnTo>
                    <a:pt x="406813" y="0"/>
                  </a:lnTo>
                  <a:lnTo>
                    <a:pt x="40681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DD5FD714-2005-44BC-961B-D997ADBCFED7}"/>
                </a:ext>
              </a:extLst>
            </p:cNvPr>
            <p:cNvSpPr/>
            <p:nvPr/>
          </p:nvSpPr>
          <p:spPr>
            <a:xfrm>
              <a:off x="6891924" y="702151"/>
              <a:ext cx="485542" cy="70307"/>
            </a:xfrm>
            <a:custGeom>
              <a:avLst/>
              <a:gdLst>
                <a:gd name="connsiteX0" fmla="*/ 0 w 559784"/>
                <a:gd name="connsiteY0" fmla="*/ 0 h 81057"/>
                <a:gd name="connsiteX1" fmla="*/ 559784 w 559784"/>
                <a:gd name="connsiteY1" fmla="*/ 0 h 81057"/>
                <a:gd name="connsiteX2" fmla="*/ 559784 w 559784"/>
                <a:gd name="connsiteY2" fmla="*/ 81058 h 81057"/>
                <a:gd name="connsiteX3" fmla="*/ 0 w 55978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9784" h="81057">
                  <a:moveTo>
                    <a:pt x="0" y="0"/>
                  </a:moveTo>
                  <a:lnTo>
                    <a:pt x="559784" y="0"/>
                  </a:lnTo>
                  <a:lnTo>
                    <a:pt x="55978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C40EF72C-61CE-4BFA-BE6F-7FCA6252C620}"/>
                </a:ext>
              </a:extLst>
            </p:cNvPr>
            <p:cNvSpPr/>
            <p:nvPr/>
          </p:nvSpPr>
          <p:spPr>
            <a:xfrm>
              <a:off x="6829465" y="820707"/>
              <a:ext cx="2602447" cy="70307"/>
            </a:xfrm>
            <a:custGeom>
              <a:avLst/>
              <a:gdLst>
                <a:gd name="connsiteX0" fmla="*/ 0 w 3000375"/>
                <a:gd name="connsiteY0" fmla="*/ 0 h 81057"/>
                <a:gd name="connsiteX1" fmla="*/ 3000375 w 3000375"/>
                <a:gd name="connsiteY1" fmla="*/ 0 h 81057"/>
                <a:gd name="connsiteX2" fmla="*/ 3000375 w 3000375"/>
                <a:gd name="connsiteY2" fmla="*/ 81058 h 81057"/>
                <a:gd name="connsiteX3" fmla="*/ 0 w 300037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375" h="81057">
                  <a:moveTo>
                    <a:pt x="0" y="0"/>
                  </a:moveTo>
                  <a:lnTo>
                    <a:pt x="3000375" y="0"/>
                  </a:lnTo>
                  <a:lnTo>
                    <a:pt x="300037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C3F8B931-D93C-4382-87F9-C47D35FB486C}"/>
                </a:ext>
              </a:extLst>
            </p:cNvPr>
            <p:cNvSpPr/>
            <p:nvPr/>
          </p:nvSpPr>
          <p:spPr>
            <a:xfrm>
              <a:off x="6772128" y="939263"/>
              <a:ext cx="2695226" cy="70224"/>
            </a:xfrm>
            <a:custGeom>
              <a:avLst/>
              <a:gdLst>
                <a:gd name="connsiteX0" fmla="*/ 0 w 3107340"/>
                <a:gd name="connsiteY0" fmla="*/ 0 h 80962"/>
                <a:gd name="connsiteX1" fmla="*/ 3107340 w 3107340"/>
                <a:gd name="connsiteY1" fmla="*/ 0 h 80962"/>
                <a:gd name="connsiteX2" fmla="*/ 3107340 w 3107340"/>
                <a:gd name="connsiteY2" fmla="*/ 80963 h 80962"/>
                <a:gd name="connsiteX3" fmla="*/ 0 w 31073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7340" h="80962">
                  <a:moveTo>
                    <a:pt x="0" y="0"/>
                  </a:moveTo>
                  <a:lnTo>
                    <a:pt x="3107340" y="0"/>
                  </a:lnTo>
                  <a:lnTo>
                    <a:pt x="310734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11864E22-CD34-4F4E-AC88-2A784BC4BBD5}"/>
                </a:ext>
              </a:extLst>
            </p:cNvPr>
            <p:cNvSpPr/>
            <p:nvPr/>
          </p:nvSpPr>
          <p:spPr>
            <a:xfrm>
              <a:off x="6656877" y="1057819"/>
              <a:ext cx="2882107" cy="70224"/>
            </a:xfrm>
            <a:custGeom>
              <a:avLst/>
              <a:gdLst>
                <a:gd name="connsiteX0" fmla="*/ 0 w 3322796"/>
                <a:gd name="connsiteY0" fmla="*/ 0 h 80962"/>
                <a:gd name="connsiteX1" fmla="*/ 3322796 w 3322796"/>
                <a:gd name="connsiteY1" fmla="*/ 0 h 80962"/>
                <a:gd name="connsiteX2" fmla="*/ 3322796 w 3322796"/>
                <a:gd name="connsiteY2" fmla="*/ 80962 h 80962"/>
                <a:gd name="connsiteX3" fmla="*/ 0 w 332279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796" h="80962">
                  <a:moveTo>
                    <a:pt x="0" y="0"/>
                  </a:moveTo>
                  <a:lnTo>
                    <a:pt x="3322796" y="0"/>
                  </a:lnTo>
                  <a:lnTo>
                    <a:pt x="3322796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FE31CBCE-0523-4FDA-85A6-B5E9DDA53CFA}"/>
                </a:ext>
              </a:extLst>
            </p:cNvPr>
            <p:cNvSpPr/>
            <p:nvPr/>
          </p:nvSpPr>
          <p:spPr>
            <a:xfrm>
              <a:off x="6530721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A3430AF9-9489-482D-BB1D-49E1DAD05138}"/>
                </a:ext>
              </a:extLst>
            </p:cNvPr>
            <p:cNvSpPr/>
            <p:nvPr/>
          </p:nvSpPr>
          <p:spPr>
            <a:xfrm>
              <a:off x="6163569" y="1057819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2 h 80962"/>
                <a:gd name="connsiteX3" fmla="*/ 0 w 9544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58732372-959D-4FB1-9348-EB486CE0DEDA}"/>
                </a:ext>
              </a:extLst>
            </p:cNvPr>
            <p:cNvSpPr/>
            <p:nvPr/>
          </p:nvSpPr>
          <p:spPr>
            <a:xfrm>
              <a:off x="6204960" y="1176293"/>
              <a:ext cx="114259" cy="70307"/>
            </a:xfrm>
            <a:custGeom>
              <a:avLst/>
              <a:gdLst>
                <a:gd name="connsiteX0" fmla="*/ 0 w 131730"/>
                <a:gd name="connsiteY0" fmla="*/ 0 h 81057"/>
                <a:gd name="connsiteX1" fmla="*/ 131731 w 131730"/>
                <a:gd name="connsiteY1" fmla="*/ 0 h 81057"/>
                <a:gd name="connsiteX2" fmla="*/ 131731 w 131730"/>
                <a:gd name="connsiteY2" fmla="*/ 81058 h 81057"/>
                <a:gd name="connsiteX3" fmla="*/ 0 w 13173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81057">
                  <a:moveTo>
                    <a:pt x="0" y="0"/>
                  </a:moveTo>
                  <a:lnTo>
                    <a:pt x="131731" y="0"/>
                  </a:lnTo>
                  <a:lnTo>
                    <a:pt x="13173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F7D1F02-0D03-4D7A-A2A7-65A47A2C883C}"/>
                </a:ext>
              </a:extLst>
            </p:cNvPr>
            <p:cNvSpPr/>
            <p:nvPr/>
          </p:nvSpPr>
          <p:spPr>
            <a:xfrm>
              <a:off x="6163569" y="939263"/>
              <a:ext cx="82782" cy="70224"/>
            </a:xfrm>
            <a:custGeom>
              <a:avLst/>
              <a:gdLst>
                <a:gd name="connsiteX0" fmla="*/ 0 w 95440"/>
                <a:gd name="connsiteY0" fmla="*/ 0 h 80962"/>
                <a:gd name="connsiteX1" fmla="*/ 95441 w 95440"/>
                <a:gd name="connsiteY1" fmla="*/ 0 h 80962"/>
                <a:gd name="connsiteX2" fmla="*/ 95441 w 95440"/>
                <a:gd name="connsiteY2" fmla="*/ 80963 h 80962"/>
                <a:gd name="connsiteX3" fmla="*/ 0 w 9544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0962">
                  <a:moveTo>
                    <a:pt x="0" y="0"/>
                  </a:moveTo>
                  <a:lnTo>
                    <a:pt x="95441" y="0"/>
                  </a:lnTo>
                  <a:lnTo>
                    <a:pt x="9544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90E5AF10-0D9F-407C-BC0F-F68A11E1FF25}"/>
                </a:ext>
              </a:extLst>
            </p:cNvPr>
            <p:cNvSpPr/>
            <p:nvPr/>
          </p:nvSpPr>
          <p:spPr>
            <a:xfrm>
              <a:off x="6239494" y="820707"/>
              <a:ext cx="82782" cy="70307"/>
            </a:xfrm>
            <a:custGeom>
              <a:avLst/>
              <a:gdLst>
                <a:gd name="connsiteX0" fmla="*/ 0 w 95440"/>
                <a:gd name="connsiteY0" fmla="*/ 0 h 81057"/>
                <a:gd name="connsiteX1" fmla="*/ 95441 w 95440"/>
                <a:gd name="connsiteY1" fmla="*/ 0 h 81057"/>
                <a:gd name="connsiteX2" fmla="*/ 95441 w 95440"/>
                <a:gd name="connsiteY2" fmla="*/ 81058 h 81057"/>
                <a:gd name="connsiteX3" fmla="*/ 0 w 9544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40" h="81057">
                  <a:moveTo>
                    <a:pt x="0" y="0"/>
                  </a:moveTo>
                  <a:lnTo>
                    <a:pt x="95441" y="0"/>
                  </a:lnTo>
                  <a:lnTo>
                    <a:pt x="9544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4EE45709-4654-40F5-B247-697024D33A6D}"/>
                </a:ext>
              </a:extLst>
            </p:cNvPr>
            <p:cNvSpPr/>
            <p:nvPr/>
          </p:nvSpPr>
          <p:spPr>
            <a:xfrm>
              <a:off x="6346318" y="702151"/>
              <a:ext cx="82700" cy="70307"/>
            </a:xfrm>
            <a:custGeom>
              <a:avLst/>
              <a:gdLst>
                <a:gd name="connsiteX0" fmla="*/ 0 w 95345"/>
                <a:gd name="connsiteY0" fmla="*/ 0 h 81057"/>
                <a:gd name="connsiteX1" fmla="*/ 95345 w 95345"/>
                <a:gd name="connsiteY1" fmla="*/ 0 h 81057"/>
                <a:gd name="connsiteX2" fmla="*/ 95345 w 95345"/>
                <a:gd name="connsiteY2" fmla="*/ 81058 h 81057"/>
                <a:gd name="connsiteX3" fmla="*/ 0 w 9534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" h="81057">
                  <a:moveTo>
                    <a:pt x="0" y="0"/>
                  </a:moveTo>
                  <a:lnTo>
                    <a:pt x="95345" y="0"/>
                  </a:lnTo>
                  <a:lnTo>
                    <a:pt x="953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C9579706-B1D4-4B6C-8FA5-74727B395CCA}"/>
                </a:ext>
              </a:extLst>
            </p:cNvPr>
            <p:cNvSpPr/>
            <p:nvPr/>
          </p:nvSpPr>
          <p:spPr>
            <a:xfrm>
              <a:off x="9184804" y="1176293"/>
              <a:ext cx="247108" cy="70307"/>
            </a:xfrm>
            <a:custGeom>
              <a:avLst/>
              <a:gdLst>
                <a:gd name="connsiteX0" fmla="*/ 0 w 284892"/>
                <a:gd name="connsiteY0" fmla="*/ 0 h 81057"/>
                <a:gd name="connsiteX1" fmla="*/ 284893 w 284892"/>
                <a:gd name="connsiteY1" fmla="*/ 0 h 81057"/>
                <a:gd name="connsiteX2" fmla="*/ 284893 w 284892"/>
                <a:gd name="connsiteY2" fmla="*/ 81058 h 81057"/>
                <a:gd name="connsiteX3" fmla="*/ 0 w 284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2" h="81057">
                  <a:moveTo>
                    <a:pt x="0" y="0"/>
                  </a:moveTo>
                  <a:lnTo>
                    <a:pt x="284893" y="0"/>
                  </a:lnTo>
                  <a:lnTo>
                    <a:pt x="284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EC87BCFA-2138-456F-B0A8-FF8BAFB3B9EA}"/>
                </a:ext>
              </a:extLst>
            </p:cNvPr>
            <p:cNvSpPr/>
            <p:nvPr/>
          </p:nvSpPr>
          <p:spPr>
            <a:xfrm>
              <a:off x="6713057" y="1176293"/>
              <a:ext cx="2425232" cy="70307"/>
            </a:xfrm>
            <a:custGeom>
              <a:avLst/>
              <a:gdLst>
                <a:gd name="connsiteX0" fmla="*/ 0 w 2796063"/>
                <a:gd name="connsiteY0" fmla="*/ 0 h 81057"/>
                <a:gd name="connsiteX1" fmla="*/ 2796064 w 2796063"/>
                <a:gd name="connsiteY1" fmla="*/ 0 h 81057"/>
                <a:gd name="connsiteX2" fmla="*/ 2796064 w 2796063"/>
                <a:gd name="connsiteY2" fmla="*/ 81058 h 81057"/>
                <a:gd name="connsiteX3" fmla="*/ 0 w 279606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6063" h="81057">
                  <a:moveTo>
                    <a:pt x="0" y="0"/>
                  </a:moveTo>
                  <a:lnTo>
                    <a:pt x="2796064" y="0"/>
                  </a:lnTo>
                  <a:lnTo>
                    <a:pt x="279606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058127F4-5978-4F21-AAD2-5F7437D11E74}"/>
                </a:ext>
              </a:extLst>
            </p:cNvPr>
            <p:cNvSpPr/>
            <p:nvPr/>
          </p:nvSpPr>
          <p:spPr>
            <a:xfrm>
              <a:off x="6779481" y="1294848"/>
              <a:ext cx="2229925" cy="70307"/>
            </a:xfrm>
            <a:custGeom>
              <a:avLst/>
              <a:gdLst>
                <a:gd name="connsiteX0" fmla="*/ 0 w 2570892"/>
                <a:gd name="connsiteY0" fmla="*/ 0 h 81057"/>
                <a:gd name="connsiteX1" fmla="*/ 2570893 w 2570892"/>
                <a:gd name="connsiteY1" fmla="*/ 0 h 81057"/>
                <a:gd name="connsiteX2" fmla="*/ 2570893 w 2570892"/>
                <a:gd name="connsiteY2" fmla="*/ 81058 h 81057"/>
                <a:gd name="connsiteX3" fmla="*/ 0 w 257089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892" h="81057">
                  <a:moveTo>
                    <a:pt x="0" y="0"/>
                  </a:moveTo>
                  <a:lnTo>
                    <a:pt x="2570893" y="0"/>
                  </a:lnTo>
                  <a:lnTo>
                    <a:pt x="257089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AFA92320-29F3-4DE7-AE67-385373508D20}"/>
                </a:ext>
              </a:extLst>
            </p:cNvPr>
            <p:cNvSpPr/>
            <p:nvPr/>
          </p:nvSpPr>
          <p:spPr>
            <a:xfrm>
              <a:off x="9175715" y="1294848"/>
              <a:ext cx="140366" cy="70307"/>
            </a:xfrm>
            <a:custGeom>
              <a:avLst/>
              <a:gdLst>
                <a:gd name="connsiteX0" fmla="*/ 0 w 161829"/>
                <a:gd name="connsiteY0" fmla="*/ 0 h 81057"/>
                <a:gd name="connsiteX1" fmla="*/ 161830 w 161829"/>
                <a:gd name="connsiteY1" fmla="*/ 0 h 81057"/>
                <a:gd name="connsiteX2" fmla="*/ 161830 w 161829"/>
                <a:gd name="connsiteY2" fmla="*/ 81058 h 81057"/>
                <a:gd name="connsiteX3" fmla="*/ 0 w 16182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829" h="81057">
                  <a:moveTo>
                    <a:pt x="0" y="0"/>
                  </a:moveTo>
                  <a:lnTo>
                    <a:pt x="161830" y="0"/>
                  </a:lnTo>
                  <a:lnTo>
                    <a:pt x="16183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75653E32-8A27-4E26-8118-B09A0AD3FAE5}"/>
                </a:ext>
              </a:extLst>
            </p:cNvPr>
            <p:cNvSpPr/>
            <p:nvPr/>
          </p:nvSpPr>
          <p:spPr>
            <a:xfrm>
              <a:off x="9129367" y="1531960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2 h 80962"/>
                <a:gd name="connsiteX3" fmla="*/ 0 w 24679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78BE5A95-0948-419C-8730-4001894CCF04}"/>
                </a:ext>
              </a:extLst>
            </p:cNvPr>
            <p:cNvSpPr/>
            <p:nvPr/>
          </p:nvSpPr>
          <p:spPr>
            <a:xfrm>
              <a:off x="5973880" y="1531960"/>
              <a:ext cx="2738517" cy="70224"/>
            </a:xfrm>
            <a:custGeom>
              <a:avLst/>
              <a:gdLst>
                <a:gd name="connsiteX0" fmla="*/ 0 w 3157251"/>
                <a:gd name="connsiteY0" fmla="*/ 0 h 80962"/>
                <a:gd name="connsiteX1" fmla="*/ 3157251 w 3157251"/>
                <a:gd name="connsiteY1" fmla="*/ 0 h 80962"/>
                <a:gd name="connsiteX2" fmla="*/ 3157251 w 3157251"/>
                <a:gd name="connsiteY2" fmla="*/ 80962 h 80962"/>
                <a:gd name="connsiteX3" fmla="*/ 0 w 3157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7251" h="80962">
                  <a:moveTo>
                    <a:pt x="0" y="0"/>
                  </a:moveTo>
                  <a:lnTo>
                    <a:pt x="3157251" y="0"/>
                  </a:lnTo>
                  <a:lnTo>
                    <a:pt x="3157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5A6A8BF5-DC8E-43A8-9CBA-22EA40912916}"/>
                </a:ext>
              </a:extLst>
            </p:cNvPr>
            <p:cNvSpPr/>
            <p:nvPr/>
          </p:nvSpPr>
          <p:spPr>
            <a:xfrm>
              <a:off x="9129367" y="1650516"/>
              <a:ext cx="214061" cy="70224"/>
            </a:xfrm>
            <a:custGeom>
              <a:avLst/>
              <a:gdLst>
                <a:gd name="connsiteX0" fmla="*/ 0 w 246792"/>
                <a:gd name="connsiteY0" fmla="*/ 0 h 80962"/>
                <a:gd name="connsiteX1" fmla="*/ 246794 w 246792"/>
                <a:gd name="connsiteY1" fmla="*/ 0 h 80962"/>
                <a:gd name="connsiteX2" fmla="*/ 246794 w 246792"/>
                <a:gd name="connsiteY2" fmla="*/ 80963 h 80962"/>
                <a:gd name="connsiteX3" fmla="*/ 0 w 24679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792" h="80962">
                  <a:moveTo>
                    <a:pt x="0" y="0"/>
                  </a:moveTo>
                  <a:lnTo>
                    <a:pt x="246794" y="0"/>
                  </a:lnTo>
                  <a:lnTo>
                    <a:pt x="24679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9519C1C4-D08E-406E-A0F0-61795FA999C1}"/>
                </a:ext>
              </a:extLst>
            </p:cNvPr>
            <p:cNvSpPr/>
            <p:nvPr/>
          </p:nvSpPr>
          <p:spPr>
            <a:xfrm>
              <a:off x="9215124" y="1768989"/>
              <a:ext cx="128305" cy="70307"/>
            </a:xfrm>
            <a:custGeom>
              <a:avLst/>
              <a:gdLst>
                <a:gd name="connsiteX0" fmla="*/ 0 w 147923"/>
                <a:gd name="connsiteY0" fmla="*/ 0 h 81057"/>
                <a:gd name="connsiteX1" fmla="*/ 147924 w 147923"/>
                <a:gd name="connsiteY1" fmla="*/ 0 h 81057"/>
                <a:gd name="connsiteX2" fmla="*/ 147924 w 147923"/>
                <a:gd name="connsiteY2" fmla="*/ 81058 h 81057"/>
                <a:gd name="connsiteX3" fmla="*/ 0 w 147923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23" h="81057">
                  <a:moveTo>
                    <a:pt x="0" y="0"/>
                  </a:moveTo>
                  <a:lnTo>
                    <a:pt x="147924" y="0"/>
                  </a:lnTo>
                  <a:lnTo>
                    <a:pt x="147924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6B9A6246-DFE0-4581-997A-A7E95A4131FB}"/>
                </a:ext>
              </a:extLst>
            </p:cNvPr>
            <p:cNvSpPr/>
            <p:nvPr/>
          </p:nvSpPr>
          <p:spPr>
            <a:xfrm>
              <a:off x="9175715" y="1413404"/>
              <a:ext cx="78817" cy="70224"/>
            </a:xfrm>
            <a:custGeom>
              <a:avLst/>
              <a:gdLst>
                <a:gd name="connsiteX0" fmla="*/ 0 w 90868"/>
                <a:gd name="connsiteY0" fmla="*/ 0 h 80962"/>
                <a:gd name="connsiteX1" fmla="*/ 90869 w 90868"/>
                <a:gd name="connsiteY1" fmla="*/ 0 h 80962"/>
                <a:gd name="connsiteX2" fmla="*/ 90869 w 90868"/>
                <a:gd name="connsiteY2" fmla="*/ 80963 h 80962"/>
                <a:gd name="connsiteX3" fmla="*/ 0 w 9086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8" h="80962">
                  <a:moveTo>
                    <a:pt x="0" y="0"/>
                  </a:moveTo>
                  <a:lnTo>
                    <a:pt x="90869" y="0"/>
                  </a:lnTo>
                  <a:lnTo>
                    <a:pt x="9086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6B2C97D2-4A04-4D0B-823D-9E17E3713E80}"/>
                </a:ext>
              </a:extLst>
            </p:cNvPr>
            <p:cNvSpPr/>
            <p:nvPr/>
          </p:nvSpPr>
          <p:spPr>
            <a:xfrm>
              <a:off x="6153159" y="1413404"/>
              <a:ext cx="2854926" cy="70224"/>
            </a:xfrm>
            <a:custGeom>
              <a:avLst/>
              <a:gdLst>
                <a:gd name="connsiteX0" fmla="*/ 0 w 3291459"/>
                <a:gd name="connsiteY0" fmla="*/ 0 h 80962"/>
                <a:gd name="connsiteX1" fmla="*/ 3291459 w 3291459"/>
                <a:gd name="connsiteY1" fmla="*/ 0 h 80962"/>
                <a:gd name="connsiteX2" fmla="*/ 3291459 w 3291459"/>
                <a:gd name="connsiteY2" fmla="*/ 80963 h 80962"/>
                <a:gd name="connsiteX3" fmla="*/ 0 w 329145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459" h="80962">
                  <a:moveTo>
                    <a:pt x="0" y="0"/>
                  </a:moveTo>
                  <a:lnTo>
                    <a:pt x="3291459" y="0"/>
                  </a:lnTo>
                  <a:lnTo>
                    <a:pt x="329145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82D26C2C-0AF0-4500-AED4-472D9658FBC1}"/>
                </a:ext>
              </a:extLst>
            </p:cNvPr>
            <p:cNvSpPr/>
            <p:nvPr/>
          </p:nvSpPr>
          <p:spPr>
            <a:xfrm>
              <a:off x="6026589" y="1413404"/>
              <a:ext cx="64193" cy="70224"/>
            </a:xfrm>
            <a:custGeom>
              <a:avLst/>
              <a:gdLst>
                <a:gd name="connsiteX0" fmla="*/ 0 w 74009"/>
                <a:gd name="connsiteY0" fmla="*/ 0 h 80962"/>
                <a:gd name="connsiteX1" fmla="*/ 74009 w 74009"/>
                <a:gd name="connsiteY1" fmla="*/ 0 h 80962"/>
                <a:gd name="connsiteX2" fmla="*/ 74009 w 74009"/>
                <a:gd name="connsiteY2" fmla="*/ 80963 h 80962"/>
                <a:gd name="connsiteX3" fmla="*/ 0 w 7400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0962">
                  <a:moveTo>
                    <a:pt x="0" y="0"/>
                  </a:moveTo>
                  <a:lnTo>
                    <a:pt x="74009" y="0"/>
                  </a:lnTo>
                  <a:lnTo>
                    <a:pt x="7400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14EC3535-7F87-4553-8BEA-75313648F9A4}"/>
                </a:ext>
              </a:extLst>
            </p:cNvPr>
            <p:cNvSpPr/>
            <p:nvPr/>
          </p:nvSpPr>
          <p:spPr>
            <a:xfrm>
              <a:off x="5357388" y="1413404"/>
              <a:ext cx="618804" cy="70224"/>
            </a:xfrm>
            <a:custGeom>
              <a:avLst/>
              <a:gdLst>
                <a:gd name="connsiteX0" fmla="*/ 0 w 713422"/>
                <a:gd name="connsiteY0" fmla="*/ 0 h 80962"/>
                <a:gd name="connsiteX1" fmla="*/ 713423 w 713422"/>
                <a:gd name="connsiteY1" fmla="*/ 0 h 80962"/>
                <a:gd name="connsiteX2" fmla="*/ 713423 w 713422"/>
                <a:gd name="connsiteY2" fmla="*/ 80963 h 80962"/>
                <a:gd name="connsiteX3" fmla="*/ 0 w 713422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422" h="80962">
                  <a:moveTo>
                    <a:pt x="0" y="0"/>
                  </a:moveTo>
                  <a:lnTo>
                    <a:pt x="713423" y="0"/>
                  </a:lnTo>
                  <a:lnTo>
                    <a:pt x="71342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91480257-32E5-49E8-AFF8-10BEC02D4479}"/>
                </a:ext>
              </a:extLst>
            </p:cNvPr>
            <p:cNvSpPr/>
            <p:nvPr/>
          </p:nvSpPr>
          <p:spPr>
            <a:xfrm>
              <a:off x="5293113" y="1531960"/>
              <a:ext cx="225627" cy="70224"/>
            </a:xfrm>
            <a:custGeom>
              <a:avLst/>
              <a:gdLst>
                <a:gd name="connsiteX0" fmla="*/ 0 w 260127"/>
                <a:gd name="connsiteY0" fmla="*/ 0 h 80962"/>
                <a:gd name="connsiteX1" fmla="*/ 260128 w 260127"/>
                <a:gd name="connsiteY1" fmla="*/ 0 h 80962"/>
                <a:gd name="connsiteX2" fmla="*/ 260128 w 260127"/>
                <a:gd name="connsiteY2" fmla="*/ 80962 h 80962"/>
                <a:gd name="connsiteX3" fmla="*/ 0 w 26012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127" h="80962">
                  <a:moveTo>
                    <a:pt x="0" y="0"/>
                  </a:moveTo>
                  <a:lnTo>
                    <a:pt x="260128" y="0"/>
                  </a:lnTo>
                  <a:lnTo>
                    <a:pt x="260128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0CA7C651-7220-4900-8BE5-4B7A1321369B}"/>
                </a:ext>
              </a:extLst>
            </p:cNvPr>
            <p:cNvSpPr/>
            <p:nvPr/>
          </p:nvSpPr>
          <p:spPr>
            <a:xfrm>
              <a:off x="5217269" y="1650516"/>
              <a:ext cx="260079" cy="70224"/>
            </a:xfrm>
            <a:custGeom>
              <a:avLst/>
              <a:gdLst>
                <a:gd name="connsiteX0" fmla="*/ 0 w 299847"/>
                <a:gd name="connsiteY0" fmla="*/ 0 h 80962"/>
                <a:gd name="connsiteX1" fmla="*/ 299847 w 299847"/>
                <a:gd name="connsiteY1" fmla="*/ 0 h 80962"/>
                <a:gd name="connsiteX2" fmla="*/ 299847 w 299847"/>
                <a:gd name="connsiteY2" fmla="*/ 80963 h 80962"/>
                <a:gd name="connsiteX3" fmla="*/ 0 w 299847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9847" h="80962">
                  <a:moveTo>
                    <a:pt x="0" y="0"/>
                  </a:moveTo>
                  <a:lnTo>
                    <a:pt x="299847" y="0"/>
                  </a:lnTo>
                  <a:lnTo>
                    <a:pt x="29984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C1281E04-2C34-44E4-A507-B5094E9619E6}"/>
                </a:ext>
              </a:extLst>
            </p:cNvPr>
            <p:cNvSpPr/>
            <p:nvPr/>
          </p:nvSpPr>
          <p:spPr>
            <a:xfrm>
              <a:off x="5112593" y="1768989"/>
              <a:ext cx="329477" cy="70307"/>
            </a:xfrm>
            <a:custGeom>
              <a:avLst/>
              <a:gdLst>
                <a:gd name="connsiteX0" fmla="*/ 0 w 379856"/>
                <a:gd name="connsiteY0" fmla="*/ 0 h 81057"/>
                <a:gd name="connsiteX1" fmla="*/ 379857 w 379856"/>
                <a:gd name="connsiteY1" fmla="*/ 0 h 81057"/>
                <a:gd name="connsiteX2" fmla="*/ 379857 w 379856"/>
                <a:gd name="connsiteY2" fmla="*/ 81058 h 81057"/>
                <a:gd name="connsiteX3" fmla="*/ 0 w 37985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856" h="81057">
                  <a:moveTo>
                    <a:pt x="0" y="0"/>
                  </a:moveTo>
                  <a:lnTo>
                    <a:pt x="379857" y="0"/>
                  </a:lnTo>
                  <a:lnTo>
                    <a:pt x="37985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600B191B-20D2-45ED-8FC5-C3746D466AE3}"/>
                </a:ext>
              </a:extLst>
            </p:cNvPr>
            <p:cNvSpPr/>
            <p:nvPr/>
          </p:nvSpPr>
          <p:spPr>
            <a:xfrm>
              <a:off x="5112593" y="1887545"/>
              <a:ext cx="118968" cy="70307"/>
            </a:xfrm>
            <a:custGeom>
              <a:avLst/>
              <a:gdLst>
                <a:gd name="connsiteX0" fmla="*/ 0 w 137159"/>
                <a:gd name="connsiteY0" fmla="*/ 0 h 81057"/>
                <a:gd name="connsiteX1" fmla="*/ 137160 w 137159"/>
                <a:gd name="connsiteY1" fmla="*/ 0 h 81057"/>
                <a:gd name="connsiteX2" fmla="*/ 137160 w 137159"/>
                <a:gd name="connsiteY2" fmla="*/ 81058 h 81057"/>
                <a:gd name="connsiteX3" fmla="*/ 0 w 13715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59" h="81057">
                  <a:moveTo>
                    <a:pt x="0" y="0"/>
                  </a:moveTo>
                  <a:lnTo>
                    <a:pt x="137160" y="0"/>
                  </a:lnTo>
                  <a:lnTo>
                    <a:pt x="13716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ACAF3201-2F2E-44E7-ADC9-33070F0D5A6E}"/>
                </a:ext>
              </a:extLst>
            </p:cNvPr>
            <p:cNvSpPr/>
            <p:nvPr/>
          </p:nvSpPr>
          <p:spPr>
            <a:xfrm>
              <a:off x="4823432" y="1887545"/>
              <a:ext cx="119051" cy="70307"/>
            </a:xfrm>
            <a:custGeom>
              <a:avLst/>
              <a:gdLst>
                <a:gd name="connsiteX0" fmla="*/ 0 w 137255"/>
                <a:gd name="connsiteY0" fmla="*/ 0 h 81057"/>
                <a:gd name="connsiteX1" fmla="*/ 137255 w 137255"/>
                <a:gd name="connsiteY1" fmla="*/ 0 h 81057"/>
                <a:gd name="connsiteX2" fmla="*/ 137255 w 137255"/>
                <a:gd name="connsiteY2" fmla="*/ 81058 h 81057"/>
                <a:gd name="connsiteX3" fmla="*/ 0 w 13725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255" h="81057">
                  <a:moveTo>
                    <a:pt x="0" y="0"/>
                  </a:moveTo>
                  <a:lnTo>
                    <a:pt x="137255" y="0"/>
                  </a:lnTo>
                  <a:lnTo>
                    <a:pt x="13725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02A9EF73-6C89-4AED-85B2-C518F3108638}"/>
                </a:ext>
              </a:extLst>
            </p:cNvPr>
            <p:cNvSpPr/>
            <p:nvPr/>
          </p:nvSpPr>
          <p:spPr>
            <a:xfrm>
              <a:off x="4779893" y="2006101"/>
              <a:ext cx="162591" cy="70224"/>
            </a:xfrm>
            <a:custGeom>
              <a:avLst/>
              <a:gdLst>
                <a:gd name="connsiteX0" fmla="*/ 0 w 187452"/>
                <a:gd name="connsiteY0" fmla="*/ 0 h 80962"/>
                <a:gd name="connsiteX1" fmla="*/ 187452 w 187452"/>
                <a:gd name="connsiteY1" fmla="*/ 0 h 80962"/>
                <a:gd name="connsiteX2" fmla="*/ 187452 w 187452"/>
                <a:gd name="connsiteY2" fmla="*/ 80962 h 80962"/>
                <a:gd name="connsiteX3" fmla="*/ 0 w 18745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" h="80962">
                  <a:moveTo>
                    <a:pt x="0" y="0"/>
                  </a:moveTo>
                  <a:lnTo>
                    <a:pt x="187452" y="0"/>
                  </a:lnTo>
                  <a:lnTo>
                    <a:pt x="18745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4664E0D2-5373-45FA-A170-9DE551586960}"/>
                </a:ext>
              </a:extLst>
            </p:cNvPr>
            <p:cNvSpPr/>
            <p:nvPr/>
          </p:nvSpPr>
          <p:spPr>
            <a:xfrm>
              <a:off x="5207190" y="2006101"/>
              <a:ext cx="70142" cy="70224"/>
            </a:xfrm>
            <a:custGeom>
              <a:avLst/>
              <a:gdLst>
                <a:gd name="connsiteX0" fmla="*/ 0 w 80867"/>
                <a:gd name="connsiteY0" fmla="*/ 0 h 80962"/>
                <a:gd name="connsiteX1" fmla="*/ 80867 w 80867"/>
                <a:gd name="connsiteY1" fmla="*/ 0 h 80962"/>
                <a:gd name="connsiteX2" fmla="*/ 80867 w 80867"/>
                <a:gd name="connsiteY2" fmla="*/ 80962 h 80962"/>
                <a:gd name="connsiteX3" fmla="*/ 0 w 8086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867" h="80962">
                  <a:moveTo>
                    <a:pt x="0" y="0"/>
                  </a:moveTo>
                  <a:lnTo>
                    <a:pt x="80867" y="0"/>
                  </a:lnTo>
                  <a:lnTo>
                    <a:pt x="8086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B7DF67F5-2D1A-47A6-BAF2-4E1121EF3236}"/>
                </a:ext>
              </a:extLst>
            </p:cNvPr>
            <p:cNvSpPr/>
            <p:nvPr/>
          </p:nvSpPr>
          <p:spPr>
            <a:xfrm>
              <a:off x="5326820" y="2006101"/>
              <a:ext cx="115251" cy="70224"/>
            </a:xfrm>
            <a:custGeom>
              <a:avLst/>
              <a:gdLst>
                <a:gd name="connsiteX0" fmla="*/ 0 w 132873"/>
                <a:gd name="connsiteY0" fmla="*/ 0 h 80962"/>
                <a:gd name="connsiteX1" fmla="*/ 132874 w 132873"/>
                <a:gd name="connsiteY1" fmla="*/ 0 h 80962"/>
                <a:gd name="connsiteX2" fmla="*/ 132874 w 132873"/>
                <a:gd name="connsiteY2" fmla="*/ 80962 h 80962"/>
                <a:gd name="connsiteX3" fmla="*/ 0 w 13287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873" h="80962">
                  <a:moveTo>
                    <a:pt x="0" y="0"/>
                  </a:moveTo>
                  <a:lnTo>
                    <a:pt x="132874" y="0"/>
                  </a:lnTo>
                  <a:lnTo>
                    <a:pt x="13287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8B72A470-9C41-4434-B0CD-509F1C9BBE7A}"/>
                </a:ext>
              </a:extLst>
            </p:cNvPr>
            <p:cNvSpPr/>
            <p:nvPr/>
          </p:nvSpPr>
          <p:spPr>
            <a:xfrm>
              <a:off x="4874408" y="2124657"/>
              <a:ext cx="175562" cy="70224"/>
            </a:xfrm>
            <a:custGeom>
              <a:avLst/>
              <a:gdLst>
                <a:gd name="connsiteX0" fmla="*/ 0 w 202406"/>
                <a:gd name="connsiteY0" fmla="*/ 0 h 80962"/>
                <a:gd name="connsiteX1" fmla="*/ 202406 w 202406"/>
                <a:gd name="connsiteY1" fmla="*/ 0 h 80962"/>
                <a:gd name="connsiteX2" fmla="*/ 202406 w 202406"/>
                <a:gd name="connsiteY2" fmla="*/ 80963 h 80962"/>
                <a:gd name="connsiteX3" fmla="*/ 0 w 20240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406" h="80962">
                  <a:moveTo>
                    <a:pt x="0" y="0"/>
                  </a:moveTo>
                  <a:lnTo>
                    <a:pt x="202406" y="0"/>
                  </a:lnTo>
                  <a:lnTo>
                    <a:pt x="20240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8D91BE98-1D41-461A-B0CB-E7CAB566BFFF}"/>
                </a:ext>
              </a:extLst>
            </p:cNvPr>
            <p:cNvSpPr/>
            <p:nvPr/>
          </p:nvSpPr>
          <p:spPr>
            <a:xfrm>
              <a:off x="4724375" y="2124657"/>
              <a:ext cx="111038" cy="70224"/>
            </a:xfrm>
            <a:custGeom>
              <a:avLst/>
              <a:gdLst>
                <a:gd name="connsiteX0" fmla="*/ 0 w 128016"/>
                <a:gd name="connsiteY0" fmla="*/ 0 h 80962"/>
                <a:gd name="connsiteX1" fmla="*/ 128016 w 128016"/>
                <a:gd name="connsiteY1" fmla="*/ 0 h 80962"/>
                <a:gd name="connsiteX2" fmla="*/ 128016 w 128016"/>
                <a:gd name="connsiteY2" fmla="*/ 80963 h 80962"/>
                <a:gd name="connsiteX3" fmla="*/ 0 w 1280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016" h="80962">
                  <a:moveTo>
                    <a:pt x="0" y="0"/>
                  </a:moveTo>
                  <a:lnTo>
                    <a:pt x="128016" y="0"/>
                  </a:lnTo>
                  <a:lnTo>
                    <a:pt x="12801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9E4E0B8E-122A-4BF5-AF87-1FD4603E2E3D}"/>
                </a:ext>
              </a:extLst>
            </p:cNvPr>
            <p:cNvSpPr/>
            <p:nvPr/>
          </p:nvSpPr>
          <p:spPr>
            <a:xfrm>
              <a:off x="5276011" y="1887545"/>
              <a:ext cx="184732" cy="70307"/>
            </a:xfrm>
            <a:custGeom>
              <a:avLst/>
              <a:gdLst>
                <a:gd name="connsiteX0" fmla="*/ 0 w 212979"/>
                <a:gd name="connsiteY0" fmla="*/ 0 h 81057"/>
                <a:gd name="connsiteX1" fmla="*/ 212979 w 212979"/>
                <a:gd name="connsiteY1" fmla="*/ 0 h 81057"/>
                <a:gd name="connsiteX2" fmla="*/ 212979 w 212979"/>
                <a:gd name="connsiteY2" fmla="*/ 81058 h 81057"/>
                <a:gd name="connsiteX3" fmla="*/ 0 w 21297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79" h="81057">
                  <a:moveTo>
                    <a:pt x="0" y="0"/>
                  </a:moveTo>
                  <a:lnTo>
                    <a:pt x="212979" y="0"/>
                  </a:lnTo>
                  <a:lnTo>
                    <a:pt x="21297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5B11F67-E584-497C-AC7B-075C7CFC3567}"/>
                </a:ext>
              </a:extLst>
            </p:cNvPr>
            <p:cNvSpPr/>
            <p:nvPr/>
          </p:nvSpPr>
          <p:spPr>
            <a:xfrm>
              <a:off x="5526424" y="1650516"/>
              <a:ext cx="3153092" cy="70224"/>
            </a:xfrm>
            <a:custGeom>
              <a:avLst/>
              <a:gdLst>
                <a:gd name="connsiteX0" fmla="*/ 0 w 3635216"/>
                <a:gd name="connsiteY0" fmla="*/ 0 h 80962"/>
                <a:gd name="connsiteX1" fmla="*/ 3635217 w 3635216"/>
                <a:gd name="connsiteY1" fmla="*/ 0 h 80962"/>
                <a:gd name="connsiteX2" fmla="*/ 3635217 w 3635216"/>
                <a:gd name="connsiteY2" fmla="*/ 80963 h 80962"/>
                <a:gd name="connsiteX3" fmla="*/ 0 w 363521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0962">
                  <a:moveTo>
                    <a:pt x="0" y="0"/>
                  </a:moveTo>
                  <a:lnTo>
                    <a:pt x="3635217" y="0"/>
                  </a:lnTo>
                  <a:lnTo>
                    <a:pt x="363521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0E11699A-B4C1-430D-BB78-4B747E178EB6}"/>
                </a:ext>
              </a:extLst>
            </p:cNvPr>
            <p:cNvSpPr/>
            <p:nvPr/>
          </p:nvSpPr>
          <p:spPr>
            <a:xfrm>
              <a:off x="5526424" y="1768989"/>
              <a:ext cx="3153092" cy="70307"/>
            </a:xfrm>
            <a:custGeom>
              <a:avLst/>
              <a:gdLst>
                <a:gd name="connsiteX0" fmla="*/ 0 w 3635216"/>
                <a:gd name="connsiteY0" fmla="*/ 0 h 81057"/>
                <a:gd name="connsiteX1" fmla="*/ 3635217 w 3635216"/>
                <a:gd name="connsiteY1" fmla="*/ 0 h 81057"/>
                <a:gd name="connsiteX2" fmla="*/ 3635217 w 3635216"/>
                <a:gd name="connsiteY2" fmla="*/ 81058 h 81057"/>
                <a:gd name="connsiteX3" fmla="*/ 0 w 363521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5216" h="81057">
                  <a:moveTo>
                    <a:pt x="0" y="0"/>
                  </a:moveTo>
                  <a:lnTo>
                    <a:pt x="3635217" y="0"/>
                  </a:lnTo>
                  <a:lnTo>
                    <a:pt x="3635217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3202A7E3-9E52-473C-AD6A-B295CE9791CB}"/>
                </a:ext>
              </a:extLst>
            </p:cNvPr>
            <p:cNvSpPr/>
            <p:nvPr/>
          </p:nvSpPr>
          <p:spPr>
            <a:xfrm>
              <a:off x="5596566" y="1887545"/>
              <a:ext cx="3316096" cy="70307"/>
            </a:xfrm>
            <a:custGeom>
              <a:avLst/>
              <a:gdLst>
                <a:gd name="connsiteX0" fmla="*/ 0 w 3823144"/>
                <a:gd name="connsiteY0" fmla="*/ 0 h 81057"/>
                <a:gd name="connsiteX1" fmla="*/ 3823145 w 3823144"/>
                <a:gd name="connsiteY1" fmla="*/ 0 h 81057"/>
                <a:gd name="connsiteX2" fmla="*/ 3823145 w 3823144"/>
                <a:gd name="connsiteY2" fmla="*/ 81058 h 81057"/>
                <a:gd name="connsiteX3" fmla="*/ 0 w 3823144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144" h="81057">
                  <a:moveTo>
                    <a:pt x="0" y="0"/>
                  </a:moveTo>
                  <a:lnTo>
                    <a:pt x="3823145" y="0"/>
                  </a:lnTo>
                  <a:lnTo>
                    <a:pt x="3823145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A4ADA50F-F3D6-4694-95C5-DDD99ADE30E5}"/>
                </a:ext>
              </a:extLst>
            </p:cNvPr>
            <p:cNvSpPr/>
            <p:nvPr/>
          </p:nvSpPr>
          <p:spPr>
            <a:xfrm>
              <a:off x="5541873" y="2006101"/>
              <a:ext cx="3339394" cy="70224"/>
            </a:xfrm>
            <a:custGeom>
              <a:avLst/>
              <a:gdLst>
                <a:gd name="connsiteX0" fmla="*/ 3850005 w 3850005"/>
                <a:gd name="connsiteY0" fmla="*/ 80963 h 80962"/>
                <a:gd name="connsiteX1" fmla="*/ 0 w 3850005"/>
                <a:gd name="connsiteY1" fmla="*/ 80963 h 80962"/>
                <a:gd name="connsiteX2" fmla="*/ 0 w 3850005"/>
                <a:gd name="connsiteY2" fmla="*/ 0 h 80962"/>
                <a:gd name="connsiteX3" fmla="*/ 3850005 w 3850005"/>
                <a:gd name="connsiteY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0005" h="80962">
                  <a:moveTo>
                    <a:pt x="3850005" y="80963"/>
                  </a:moveTo>
                  <a:lnTo>
                    <a:pt x="0" y="80963"/>
                  </a:lnTo>
                  <a:lnTo>
                    <a:pt x="0" y="0"/>
                  </a:lnTo>
                  <a:lnTo>
                    <a:pt x="3850005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C71FA5C7-CBA2-43CA-8907-EBF6BD3BFEF1}"/>
                </a:ext>
              </a:extLst>
            </p:cNvPr>
            <p:cNvSpPr/>
            <p:nvPr/>
          </p:nvSpPr>
          <p:spPr>
            <a:xfrm>
              <a:off x="5117303" y="2124657"/>
              <a:ext cx="3763964" cy="70224"/>
            </a:xfrm>
            <a:custGeom>
              <a:avLst/>
              <a:gdLst>
                <a:gd name="connsiteX0" fmla="*/ 0 w 4339494"/>
                <a:gd name="connsiteY0" fmla="*/ 0 h 80962"/>
                <a:gd name="connsiteX1" fmla="*/ 4339495 w 4339494"/>
                <a:gd name="connsiteY1" fmla="*/ 0 h 80962"/>
                <a:gd name="connsiteX2" fmla="*/ 4339495 w 4339494"/>
                <a:gd name="connsiteY2" fmla="*/ 80963 h 80962"/>
                <a:gd name="connsiteX3" fmla="*/ 0 w 433949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9494" h="80962">
                  <a:moveTo>
                    <a:pt x="0" y="0"/>
                  </a:moveTo>
                  <a:lnTo>
                    <a:pt x="4339495" y="0"/>
                  </a:lnTo>
                  <a:lnTo>
                    <a:pt x="433949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305D9013-0CD3-4D83-B68E-D05B453D937C}"/>
                </a:ext>
              </a:extLst>
            </p:cNvPr>
            <p:cNvSpPr/>
            <p:nvPr/>
          </p:nvSpPr>
          <p:spPr>
            <a:xfrm>
              <a:off x="5024606" y="2243130"/>
              <a:ext cx="3832619" cy="70307"/>
            </a:xfrm>
            <a:custGeom>
              <a:avLst/>
              <a:gdLst>
                <a:gd name="connsiteX0" fmla="*/ 4418647 w 4418647"/>
                <a:gd name="connsiteY0" fmla="*/ 0 h 81057"/>
                <a:gd name="connsiteX1" fmla="*/ 4418647 w 4418647"/>
                <a:gd name="connsiteY1" fmla="*/ 81058 h 81057"/>
                <a:gd name="connsiteX2" fmla="*/ 0 w 4418647"/>
                <a:gd name="connsiteY2" fmla="*/ 81058 h 81057"/>
                <a:gd name="connsiteX3" fmla="*/ 0 w 4418647"/>
                <a:gd name="connsiteY3" fmla="*/ 0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8647" h="81057">
                  <a:moveTo>
                    <a:pt x="4418647" y="0"/>
                  </a:moveTo>
                  <a:lnTo>
                    <a:pt x="4418647" y="81058"/>
                  </a:lnTo>
                  <a:lnTo>
                    <a:pt x="0" y="81058"/>
                  </a:lnTo>
                  <a:lnTo>
                    <a:pt x="0" y="0"/>
                  </a:lnTo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B0F8EA82-C0E6-4DEB-93BC-AC32AAD7FD47}"/>
                </a:ext>
              </a:extLst>
            </p:cNvPr>
            <p:cNvSpPr/>
            <p:nvPr/>
          </p:nvSpPr>
          <p:spPr>
            <a:xfrm>
              <a:off x="6465040" y="2361687"/>
              <a:ext cx="2306016" cy="70307"/>
            </a:xfrm>
            <a:custGeom>
              <a:avLst/>
              <a:gdLst>
                <a:gd name="connsiteX0" fmla="*/ 0 w 2658618"/>
                <a:gd name="connsiteY0" fmla="*/ 0 h 81057"/>
                <a:gd name="connsiteX1" fmla="*/ 2658618 w 2658618"/>
                <a:gd name="connsiteY1" fmla="*/ 0 h 81057"/>
                <a:gd name="connsiteX2" fmla="*/ 2658618 w 2658618"/>
                <a:gd name="connsiteY2" fmla="*/ 81058 h 81057"/>
                <a:gd name="connsiteX3" fmla="*/ 0 w 265861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618" h="81057">
                  <a:moveTo>
                    <a:pt x="0" y="0"/>
                  </a:moveTo>
                  <a:lnTo>
                    <a:pt x="2658618" y="0"/>
                  </a:lnTo>
                  <a:lnTo>
                    <a:pt x="26586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DC0466DC-75DB-4A3D-8B88-1B621CEB92B1}"/>
                </a:ext>
              </a:extLst>
            </p:cNvPr>
            <p:cNvSpPr/>
            <p:nvPr/>
          </p:nvSpPr>
          <p:spPr>
            <a:xfrm>
              <a:off x="6048152" y="2361687"/>
              <a:ext cx="297587" cy="70307"/>
            </a:xfrm>
            <a:custGeom>
              <a:avLst/>
              <a:gdLst>
                <a:gd name="connsiteX0" fmla="*/ 0 w 343090"/>
                <a:gd name="connsiteY0" fmla="*/ 0 h 81057"/>
                <a:gd name="connsiteX1" fmla="*/ 343090 w 343090"/>
                <a:gd name="connsiteY1" fmla="*/ 0 h 81057"/>
                <a:gd name="connsiteX2" fmla="*/ 343090 w 343090"/>
                <a:gd name="connsiteY2" fmla="*/ 81058 h 81057"/>
                <a:gd name="connsiteX3" fmla="*/ 0 w 343090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090" h="81057">
                  <a:moveTo>
                    <a:pt x="0" y="0"/>
                  </a:moveTo>
                  <a:lnTo>
                    <a:pt x="343090" y="0"/>
                  </a:lnTo>
                  <a:lnTo>
                    <a:pt x="34309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A4E55A86-5D0D-498B-A9DC-26266BAAA561}"/>
                </a:ext>
              </a:extLst>
            </p:cNvPr>
            <p:cNvSpPr/>
            <p:nvPr/>
          </p:nvSpPr>
          <p:spPr>
            <a:xfrm>
              <a:off x="4937692" y="2361687"/>
              <a:ext cx="928618" cy="70307"/>
            </a:xfrm>
            <a:custGeom>
              <a:avLst/>
              <a:gdLst>
                <a:gd name="connsiteX0" fmla="*/ 0 w 1070609"/>
                <a:gd name="connsiteY0" fmla="*/ 0 h 81057"/>
                <a:gd name="connsiteX1" fmla="*/ 1070610 w 1070609"/>
                <a:gd name="connsiteY1" fmla="*/ 0 h 81057"/>
                <a:gd name="connsiteX2" fmla="*/ 1070610 w 1070609"/>
                <a:gd name="connsiteY2" fmla="*/ 81058 h 81057"/>
                <a:gd name="connsiteX3" fmla="*/ 0 w 107060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609" h="81057">
                  <a:moveTo>
                    <a:pt x="0" y="0"/>
                  </a:moveTo>
                  <a:lnTo>
                    <a:pt x="1070610" y="0"/>
                  </a:lnTo>
                  <a:lnTo>
                    <a:pt x="1070610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6A56D22A-E46D-4EF1-9300-3EB82C125B1A}"/>
                </a:ext>
              </a:extLst>
            </p:cNvPr>
            <p:cNvSpPr/>
            <p:nvPr/>
          </p:nvSpPr>
          <p:spPr>
            <a:xfrm>
              <a:off x="4750647" y="2480242"/>
              <a:ext cx="429775" cy="70224"/>
            </a:xfrm>
            <a:custGeom>
              <a:avLst/>
              <a:gdLst>
                <a:gd name="connsiteX0" fmla="*/ 0 w 495490"/>
                <a:gd name="connsiteY0" fmla="*/ 0 h 80962"/>
                <a:gd name="connsiteX1" fmla="*/ 495491 w 495490"/>
                <a:gd name="connsiteY1" fmla="*/ 0 h 80962"/>
                <a:gd name="connsiteX2" fmla="*/ 495491 w 495490"/>
                <a:gd name="connsiteY2" fmla="*/ 80963 h 80962"/>
                <a:gd name="connsiteX3" fmla="*/ 0 w 495490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490" h="80962">
                  <a:moveTo>
                    <a:pt x="0" y="0"/>
                  </a:moveTo>
                  <a:lnTo>
                    <a:pt x="495491" y="0"/>
                  </a:lnTo>
                  <a:lnTo>
                    <a:pt x="49549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D625E4E8-3977-44C5-8A08-383CDB3BB813}"/>
                </a:ext>
              </a:extLst>
            </p:cNvPr>
            <p:cNvSpPr/>
            <p:nvPr/>
          </p:nvSpPr>
          <p:spPr>
            <a:xfrm>
              <a:off x="5280554" y="2480242"/>
              <a:ext cx="88895" cy="70224"/>
            </a:xfrm>
            <a:custGeom>
              <a:avLst/>
              <a:gdLst>
                <a:gd name="connsiteX0" fmla="*/ 0 w 102488"/>
                <a:gd name="connsiteY0" fmla="*/ 0 h 80962"/>
                <a:gd name="connsiteX1" fmla="*/ 102489 w 102488"/>
                <a:gd name="connsiteY1" fmla="*/ 0 h 80962"/>
                <a:gd name="connsiteX2" fmla="*/ 102489 w 102488"/>
                <a:gd name="connsiteY2" fmla="*/ 80963 h 80962"/>
                <a:gd name="connsiteX3" fmla="*/ 0 w 102488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88" h="80962">
                  <a:moveTo>
                    <a:pt x="0" y="0"/>
                  </a:moveTo>
                  <a:lnTo>
                    <a:pt x="102489" y="0"/>
                  </a:lnTo>
                  <a:lnTo>
                    <a:pt x="102489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67F906DD-B484-4C45-925D-3472EAD478E0}"/>
                </a:ext>
              </a:extLst>
            </p:cNvPr>
            <p:cNvSpPr/>
            <p:nvPr/>
          </p:nvSpPr>
          <p:spPr>
            <a:xfrm>
              <a:off x="5444963" y="2480242"/>
              <a:ext cx="355832" cy="70224"/>
            </a:xfrm>
            <a:custGeom>
              <a:avLst/>
              <a:gdLst>
                <a:gd name="connsiteX0" fmla="*/ 0 w 410241"/>
                <a:gd name="connsiteY0" fmla="*/ 0 h 80962"/>
                <a:gd name="connsiteX1" fmla="*/ 410242 w 410241"/>
                <a:gd name="connsiteY1" fmla="*/ 0 h 80962"/>
                <a:gd name="connsiteX2" fmla="*/ 410242 w 410241"/>
                <a:gd name="connsiteY2" fmla="*/ 80963 h 80962"/>
                <a:gd name="connsiteX3" fmla="*/ 0 w 41024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241" h="80962">
                  <a:moveTo>
                    <a:pt x="0" y="0"/>
                  </a:moveTo>
                  <a:lnTo>
                    <a:pt x="410242" y="0"/>
                  </a:lnTo>
                  <a:lnTo>
                    <a:pt x="410242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49D3F346-F0FF-4AE0-B1D4-A3AED84D6343}"/>
                </a:ext>
              </a:extLst>
            </p:cNvPr>
            <p:cNvSpPr/>
            <p:nvPr/>
          </p:nvSpPr>
          <p:spPr>
            <a:xfrm>
              <a:off x="6125812" y="2480242"/>
              <a:ext cx="219927" cy="70224"/>
            </a:xfrm>
            <a:custGeom>
              <a:avLst/>
              <a:gdLst>
                <a:gd name="connsiteX0" fmla="*/ 0 w 253555"/>
                <a:gd name="connsiteY0" fmla="*/ 0 h 80962"/>
                <a:gd name="connsiteX1" fmla="*/ 253555 w 253555"/>
                <a:gd name="connsiteY1" fmla="*/ 0 h 80962"/>
                <a:gd name="connsiteX2" fmla="*/ 253555 w 253555"/>
                <a:gd name="connsiteY2" fmla="*/ 80963 h 80962"/>
                <a:gd name="connsiteX3" fmla="*/ 0 w 25355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555" h="80962">
                  <a:moveTo>
                    <a:pt x="0" y="0"/>
                  </a:moveTo>
                  <a:lnTo>
                    <a:pt x="253555" y="0"/>
                  </a:lnTo>
                  <a:lnTo>
                    <a:pt x="25355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962D04AE-EE19-4CC7-AD64-BE1BCFCFE87E}"/>
                </a:ext>
              </a:extLst>
            </p:cNvPr>
            <p:cNvSpPr/>
            <p:nvPr/>
          </p:nvSpPr>
          <p:spPr>
            <a:xfrm>
              <a:off x="6465040" y="2480242"/>
              <a:ext cx="1962741" cy="70224"/>
            </a:xfrm>
            <a:custGeom>
              <a:avLst/>
              <a:gdLst>
                <a:gd name="connsiteX0" fmla="*/ 0 w 2262854"/>
                <a:gd name="connsiteY0" fmla="*/ 0 h 80962"/>
                <a:gd name="connsiteX1" fmla="*/ 2262854 w 2262854"/>
                <a:gd name="connsiteY1" fmla="*/ 0 h 80962"/>
                <a:gd name="connsiteX2" fmla="*/ 2262854 w 2262854"/>
                <a:gd name="connsiteY2" fmla="*/ 80963 h 80962"/>
                <a:gd name="connsiteX3" fmla="*/ 0 w 226285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854" h="80962">
                  <a:moveTo>
                    <a:pt x="0" y="0"/>
                  </a:moveTo>
                  <a:lnTo>
                    <a:pt x="2262854" y="0"/>
                  </a:lnTo>
                  <a:lnTo>
                    <a:pt x="2262854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8A64025F-91E8-491F-80C9-F0714F947E34}"/>
                </a:ext>
              </a:extLst>
            </p:cNvPr>
            <p:cNvSpPr/>
            <p:nvPr/>
          </p:nvSpPr>
          <p:spPr>
            <a:xfrm>
              <a:off x="6492964" y="2598798"/>
              <a:ext cx="2002231" cy="70224"/>
            </a:xfrm>
            <a:custGeom>
              <a:avLst/>
              <a:gdLst>
                <a:gd name="connsiteX0" fmla="*/ 0 w 2308383"/>
                <a:gd name="connsiteY0" fmla="*/ 0 h 80962"/>
                <a:gd name="connsiteX1" fmla="*/ 2308384 w 2308383"/>
                <a:gd name="connsiteY1" fmla="*/ 0 h 80962"/>
                <a:gd name="connsiteX2" fmla="*/ 2308384 w 2308383"/>
                <a:gd name="connsiteY2" fmla="*/ 80962 h 80962"/>
                <a:gd name="connsiteX3" fmla="*/ 0 w 2308383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8383" h="80962">
                  <a:moveTo>
                    <a:pt x="0" y="0"/>
                  </a:moveTo>
                  <a:lnTo>
                    <a:pt x="2308384" y="0"/>
                  </a:lnTo>
                  <a:lnTo>
                    <a:pt x="2308384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7F48CF8B-01E4-436C-B608-5079969FAD35}"/>
                </a:ext>
              </a:extLst>
            </p:cNvPr>
            <p:cNvSpPr/>
            <p:nvPr/>
          </p:nvSpPr>
          <p:spPr>
            <a:xfrm>
              <a:off x="4750647" y="2598798"/>
              <a:ext cx="293126" cy="70224"/>
            </a:xfrm>
            <a:custGeom>
              <a:avLst/>
              <a:gdLst>
                <a:gd name="connsiteX0" fmla="*/ 0 w 337946"/>
                <a:gd name="connsiteY0" fmla="*/ 0 h 80962"/>
                <a:gd name="connsiteX1" fmla="*/ 337947 w 337946"/>
                <a:gd name="connsiteY1" fmla="*/ 0 h 80962"/>
                <a:gd name="connsiteX2" fmla="*/ 337947 w 337946"/>
                <a:gd name="connsiteY2" fmla="*/ 80962 h 80962"/>
                <a:gd name="connsiteX3" fmla="*/ 0 w 337946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946" h="80962">
                  <a:moveTo>
                    <a:pt x="0" y="0"/>
                  </a:moveTo>
                  <a:lnTo>
                    <a:pt x="337947" y="0"/>
                  </a:lnTo>
                  <a:lnTo>
                    <a:pt x="3379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1BC75094-3508-4918-8CE1-2EFA39EF4FBB}"/>
                </a:ext>
              </a:extLst>
            </p:cNvPr>
            <p:cNvSpPr/>
            <p:nvPr/>
          </p:nvSpPr>
          <p:spPr>
            <a:xfrm>
              <a:off x="5228588" y="2598798"/>
              <a:ext cx="46182" cy="70224"/>
            </a:xfrm>
            <a:custGeom>
              <a:avLst/>
              <a:gdLst>
                <a:gd name="connsiteX0" fmla="*/ 0 w 53244"/>
                <a:gd name="connsiteY0" fmla="*/ 0 h 80962"/>
                <a:gd name="connsiteX1" fmla="*/ 53245 w 53244"/>
                <a:gd name="connsiteY1" fmla="*/ 0 h 80962"/>
                <a:gd name="connsiteX2" fmla="*/ 53245 w 53244"/>
                <a:gd name="connsiteY2" fmla="*/ 80962 h 80962"/>
                <a:gd name="connsiteX3" fmla="*/ 0 w 5324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44" h="80962">
                  <a:moveTo>
                    <a:pt x="0" y="0"/>
                  </a:moveTo>
                  <a:lnTo>
                    <a:pt x="53245" y="0"/>
                  </a:lnTo>
                  <a:lnTo>
                    <a:pt x="5324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757D8C94-C717-4DF6-BE85-2A1E1AB517A1}"/>
                </a:ext>
              </a:extLst>
            </p:cNvPr>
            <p:cNvSpPr/>
            <p:nvPr/>
          </p:nvSpPr>
          <p:spPr>
            <a:xfrm>
              <a:off x="540629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3C12F623-80F7-41E5-B791-34CAB321F814}"/>
                </a:ext>
              </a:extLst>
            </p:cNvPr>
            <p:cNvSpPr/>
            <p:nvPr/>
          </p:nvSpPr>
          <p:spPr>
            <a:xfrm>
              <a:off x="5557488" y="2598798"/>
              <a:ext cx="106576" cy="70224"/>
            </a:xfrm>
            <a:custGeom>
              <a:avLst/>
              <a:gdLst>
                <a:gd name="connsiteX0" fmla="*/ 0 w 122872"/>
                <a:gd name="connsiteY0" fmla="*/ 0 h 80962"/>
                <a:gd name="connsiteX1" fmla="*/ 122873 w 122872"/>
                <a:gd name="connsiteY1" fmla="*/ 0 h 80962"/>
                <a:gd name="connsiteX2" fmla="*/ 122873 w 122872"/>
                <a:gd name="connsiteY2" fmla="*/ 80962 h 80962"/>
                <a:gd name="connsiteX3" fmla="*/ 0 w 12287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0962">
                  <a:moveTo>
                    <a:pt x="0" y="0"/>
                  </a:moveTo>
                  <a:lnTo>
                    <a:pt x="122873" y="0"/>
                  </a:lnTo>
                  <a:lnTo>
                    <a:pt x="122873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1CD150C6-F99F-4CBB-BA24-30C1C0626458}"/>
                </a:ext>
              </a:extLst>
            </p:cNvPr>
            <p:cNvSpPr/>
            <p:nvPr/>
          </p:nvSpPr>
          <p:spPr>
            <a:xfrm>
              <a:off x="5753126" y="2598798"/>
              <a:ext cx="650777" cy="70224"/>
            </a:xfrm>
            <a:custGeom>
              <a:avLst/>
              <a:gdLst>
                <a:gd name="connsiteX0" fmla="*/ 0 w 750284"/>
                <a:gd name="connsiteY0" fmla="*/ 0 h 80962"/>
                <a:gd name="connsiteX1" fmla="*/ 750285 w 750284"/>
                <a:gd name="connsiteY1" fmla="*/ 0 h 80962"/>
                <a:gd name="connsiteX2" fmla="*/ 750285 w 750284"/>
                <a:gd name="connsiteY2" fmla="*/ 80962 h 80962"/>
                <a:gd name="connsiteX3" fmla="*/ 0 w 750284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84" h="80962">
                  <a:moveTo>
                    <a:pt x="0" y="0"/>
                  </a:moveTo>
                  <a:lnTo>
                    <a:pt x="750285" y="0"/>
                  </a:lnTo>
                  <a:lnTo>
                    <a:pt x="750285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AC72ADC5-A988-4FC2-A666-CC019973A48F}"/>
                </a:ext>
              </a:extLst>
            </p:cNvPr>
            <p:cNvSpPr/>
            <p:nvPr/>
          </p:nvSpPr>
          <p:spPr>
            <a:xfrm>
              <a:off x="8931251" y="2006101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2 h 80962"/>
                <a:gd name="connsiteX3" fmla="*/ 0 w 988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DF609830-9B2E-4FAE-89D1-9E51E84A49A1}"/>
                </a:ext>
              </a:extLst>
            </p:cNvPr>
            <p:cNvSpPr/>
            <p:nvPr/>
          </p:nvSpPr>
          <p:spPr>
            <a:xfrm>
              <a:off x="8931251" y="1996187"/>
              <a:ext cx="85756" cy="9913"/>
            </a:xfrm>
            <a:custGeom>
              <a:avLst/>
              <a:gdLst>
                <a:gd name="connsiteX0" fmla="*/ 0 w 98869"/>
                <a:gd name="connsiteY0" fmla="*/ 0 h 11429"/>
                <a:gd name="connsiteX1" fmla="*/ 98870 w 98869"/>
                <a:gd name="connsiteY1" fmla="*/ 0 h 11429"/>
                <a:gd name="connsiteX2" fmla="*/ 98870 w 98869"/>
                <a:gd name="connsiteY2" fmla="*/ 11430 h 11429"/>
                <a:gd name="connsiteX3" fmla="*/ 0 w 98869"/>
                <a:gd name="connsiteY3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11429">
                  <a:moveTo>
                    <a:pt x="0" y="0"/>
                  </a:moveTo>
                  <a:lnTo>
                    <a:pt x="98870" y="0"/>
                  </a:lnTo>
                  <a:lnTo>
                    <a:pt x="98870" y="11430"/>
                  </a:lnTo>
                  <a:lnTo>
                    <a:pt x="0" y="11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7DEB8DEF-EF5B-40CE-A1EA-C4DCB96C3276}"/>
                </a:ext>
              </a:extLst>
            </p:cNvPr>
            <p:cNvSpPr/>
            <p:nvPr/>
          </p:nvSpPr>
          <p:spPr>
            <a:xfrm>
              <a:off x="8931251" y="2124657"/>
              <a:ext cx="85756" cy="70224"/>
            </a:xfrm>
            <a:custGeom>
              <a:avLst/>
              <a:gdLst>
                <a:gd name="connsiteX0" fmla="*/ 0 w 98869"/>
                <a:gd name="connsiteY0" fmla="*/ 0 h 80962"/>
                <a:gd name="connsiteX1" fmla="*/ 98870 w 98869"/>
                <a:gd name="connsiteY1" fmla="*/ 0 h 80962"/>
                <a:gd name="connsiteX2" fmla="*/ 98870 w 98869"/>
                <a:gd name="connsiteY2" fmla="*/ 80963 h 80962"/>
                <a:gd name="connsiteX3" fmla="*/ 0 w 98869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69" h="80962">
                  <a:moveTo>
                    <a:pt x="0" y="0"/>
                  </a:moveTo>
                  <a:lnTo>
                    <a:pt x="98870" y="0"/>
                  </a:lnTo>
                  <a:lnTo>
                    <a:pt x="98870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9F976CCE-130D-4240-A29C-C9C4D4F3643C}"/>
                </a:ext>
              </a:extLst>
            </p:cNvPr>
            <p:cNvSpPr/>
            <p:nvPr/>
          </p:nvSpPr>
          <p:spPr>
            <a:xfrm>
              <a:off x="8977599" y="2243130"/>
              <a:ext cx="157964" cy="70307"/>
            </a:xfrm>
            <a:custGeom>
              <a:avLst/>
              <a:gdLst>
                <a:gd name="connsiteX0" fmla="*/ 0 w 182117"/>
                <a:gd name="connsiteY0" fmla="*/ 0 h 81057"/>
                <a:gd name="connsiteX1" fmla="*/ 182118 w 182117"/>
                <a:gd name="connsiteY1" fmla="*/ 0 h 81057"/>
                <a:gd name="connsiteX2" fmla="*/ 182118 w 182117"/>
                <a:gd name="connsiteY2" fmla="*/ 81058 h 81057"/>
                <a:gd name="connsiteX3" fmla="*/ 0 w 18211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81057">
                  <a:moveTo>
                    <a:pt x="0" y="0"/>
                  </a:moveTo>
                  <a:lnTo>
                    <a:pt x="182118" y="0"/>
                  </a:lnTo>
                  <a:lnTo>
                    <a:pt x="18211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21155114-0E09-4F62-A6A7-FCF92F11335B}"/>
                </a:ext>
              </a:extLst>
            </p:cNvPr>
            <p:cNvSpPr/>
            <p:nvPr/>
          </p:nvSpPr>
          <p:spPr>
            <a:xfrm>
              <a:off x="8977599" y="2234951"/>
              <a:ext cx="157964" cy="8178"/>
            </a:xfrm>
            <a:custGeom>
              <a:avLst/>
              <a:gdLst>
                <a:gd name="connsiteX0" fmla="*/ 0 w 182117"/>
                <a:gd name="connsiteY0" fmla="*/ 0 h 9429"/>
                <a:gd name="connsiteX1" fmla="*/ 182118 w 182117"/>
                <a:gd name="connsiteY1" fmla="*/ 0 h 9429"/>
                <a:gd name="connsiteX2" fmla="*/ 182118 w 182117"/>
                <a:gd name="connsiteY2" fmla="*/ 9430 h 9429"/>
                <a:gd name="connsiteX3" fmla="*/ 0 w 182117"/>
                <a:gd name="connsiteY3" fmla="*/ 9430 h 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117" h="9429">
                  <a:moveTo>
                    <a:pt x="0" y="0"/>
                  </a:moveTo>
                  <a:lnTo>
                    <a:pt x="182118" y="0"/>
                  </a:lnTo>
                  <a:lnTo>
                    <a:pt x="182118" y="9430"/>
                  </a:lnTo>
                  <a:lnTo>
                    <a:pt x="0" y="9430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64B5B6AC-4D3B-48F5-9366-E79D77C9EDED}"/>
                </a:ext>
              </a:extLst>
            </p:cNvPr>
            <p:cNvSpPr/>
            <p:nvPr/>
          </p:nvSpPr>
          <p:spPr>
            <a:xfrm>
              <a:off x="8960415" y="2361687"/>
              <a:ext cx="96167" cy="70307"/>
            </a:xfrm>
            <a:custGeom>
              <a:avLst/>
              <a:gdLst>
                <a:gd name="connsiteX0" fmla="*/ 0 w 110871"/>
                <a:gd name="connsiteY0" fmla="*/ 0 h 81057"/>
                <a:gd name="connsiteX1" fmla="*/ 110871 w 110871"/>
                <a:gd name="connsiteY1" fmla="*/ 0 h 81057"/>
                <a:gd name="connsiteX2" fmla="*/ 110871 w 110871"/>
                <a:gd name="connsiteY2" fmla="*/ 81058 h 81057"/>
                <a:gd name="connsiteX3" fmla="*/ 0 w 110871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1057">
                  <a:moveTo>
                    <a:pt x="0" y="0"/>
                  </a:moveTo>
                  <a:lnTo>
                    <a:pt x="110871" y="0"/>
                  </a:lnTo>
                  <a:lnTo>
                    <a:pt x="110871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C7C23B05-AA16-4FD0-A18E-5AEBC73EB42D}"/>
                </a:ext>
              </a:extLst>
            </p:cNvPr>
            <p:cNvSpPr/>
            <p:nvPr/>
          </p:nvSpPr>
          <p:spPr>
            <a:xfrm>
              <a:off x="8985200" y="2480242"/>
              <a:ext cx="96167" cy="70224"/>
            </a:xfrm>
            <a:custGeom>
              <a:avLst/>
              <a:gdLst>
                <a:gd name="connsiteX0" fmla="*/ 0 w 110871"/>
                <a:gd name="connsiteY0" fmla="*/ 0 h 80962"/>
                <a:gd name="connsiteX1" fmla="*/ 110871 w 110871"/>
                <a:gd name="connsiteY1" fmla="*/ 0 h 80962"/>
                <a:gd name="connsiteX2" fmla="*/ 110871 w 110871"/>
                <a:gd name="connsiteY2" fmla="*/ 80963 h 80962"/>
                <a:gd name="connsiteX3" fmla="*/ 0 w 11087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71" h="80962">
                  <a:moveTo>
                    <a:pt x="0" y="0"/>
                  </a:moveTo>
                  <a:lnTo>
                    <a:pt x="110871" y="0"/>
                  </a:lnTo>
                  <a:lnTo>
                    <a:pt x="11087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40A62C20-AF67-4184-806A-8BAA61327824}"/>
                </a:ext>
              </a:extLst>
            </p:cNvPr>
            <p:cNvSpPr/>
            <p:nvPr/>
          </p:nvSpPr>
          <p:spPr>
            <a:xfrm>
              <a:off x="8931251" y="2598798"/>
              <a:ext cx="150116" cy="70224"/>
            </a:xfrm>
            <a:custGeom>
              <a:avLst/>
              <a:gdLst>
                <a:gd name="connsiteX0" fmla="*/ 0 w 173069"/>
                <a:gd name="connsiteY0" fmla="*/ 0 h 80962"/>
                <a:gd name="connsiteX1" fmla="*/ 173069 w 173069"/>
                <a:gd name="connsiteY1" fmla="*/ 0 h 80962"/>
                <a:gd name="connsiteX2" fmla="*/ 173069 w 173069"/>
                <a:gd name="connsiteY2" fmla="*/ 80962 h 80962"/>
                <a:gd name="connsiteX3" fmla="*/ 0 w 17306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069" h="80962">
                  <a:moveTo>
                    <a:pt x="0" y="0"/>
                  </a:moveTo>
                  <a:lnTo>
                    <a:pt x="173069" y="0"/>
                  </a:lnTo>
                  <a:lnTo>
                    <a:pt x="173069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2FE9FA9B-BD05-4690-9D4C-1F2EA12AAE30}"/>
                </a:ext>
              </a:extLst>
            </p:cNvPr>
            <p:cNvSpPr/>
            <p:nvPr/>
          </p:nvSpPr>
          <p:spPr>
            <a:xfrm>
              <a:off x="8643495" y="2598798"/>
              <a:ext cx="89557" cy="70224"/>
            </a:xfrm>
            <a:custGeom>
              <a:avLst/>
              <a:gdLst>
                <a:gd name="connsiteX0" fmla="*/ 0 w 103251"/>
                <a:gd name="connsiteY0" fmla="*/ 0 h 80962"/>
                <a:gd name="connsiteX1" fmla="*/ 103251 w 103251"/>
                <a:gd name="connsiteY1" fmla="*/ 0 h 80962"/>
                <a:gd name="connsiteX2" fmla="*/ 103251 w 103251"/>
                <a:gd name="connsiteY2" fmla="*/ 80962 h 80962"/>
                <a:gd name="connsiteX3" fmla="*/ 0 w 10325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51" h="80962">
                  <a:moveTo>
                    <a:pt x="0" y="0"/>
                  </a:moveTo>
                  <a:lnTo>
                    <a:pt x="103251" y="0"/>
                  </a:lnTo>
                  <a:lnTo>
                    <a:pt x="10325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BFB3421F-F967-4C7B-A1C2-B90E5579124D}"/>
                </a:ext>
              </a:extLst>
            </p:cNvPr>
            <p:cNvSpPr/>
            <p:nvPr/>
          </p:nvSpPr>
          <p:spPr>
            <a:xfrm>
              <a:off x="8495196" y="2480242"/>
              <a:ext cx="195472" cy="70224"/>
            </a:xfrm>
            <a:custGeom>
              <a:avLst/>
              <a:gdLst>
                <a:gd name="connsiteX0" fmla="*/ 0 w 225361"/>
                <a:gd name="connsiteY0" fmla="*/ 0 h 80962"/>
                <a:gd name="connsiteX1" fmla="*/ 225361 w 225361"/>
                <a:gd name="connsiteY1" fmla="*/ 0 h 80962"/>
                <a:gd name="connsiteX2" fmla="*/ 225361 w 225361"/>
                <a:gd name="connsiteY2" fmla="*/ 80963 h 80962"/>
                <a:gd name="connsiteX3" fmla="*/ 0 w 225361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361" h="80962">
                  <a:moveTo>
                    <a:pt x="0" y="0"/>
                  </a:moveTo>
                  <a:lnTo>
                    <a:pt x="225361" y="0"/>
                  </a:lnTo>
                  <a:lnTo>
                    <a:pt x="225361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013B09A1-FBD6-442A-A96D-2E598BC6ED77}"/>
                </a:ext>
              </a:extLst>
            </p:cNvPr>
            <p:cNvSpPr/>
            <p:nvPr/>
          </p:nvSpPr>
          <p:spPr>
            <a:xfrm>
              <a:off x="5604993" y="1531960"/>
              <a:ext cx="241903" cy="70224"/>
            </a:xfrm>
            <a:custGeom>
              <a:avLst/>
              <a:gdLst>
                <a:gd name="connsiteX0" fmla="*/ 0 w 278891"/>
                <a:gd name="connsiteY0" fmla="*/ 0 h 80962"/>
                <a:gd name="connsiteX1" fmla="*/ 278892 w 278891"/>
                <a:gd name="connsiteY1" fmla="*/ 0 h 80962"/>
                <a:gd name="connsiteX2" fmla="*/ 278892 w 278891"/>
                <a:gd name="connsiteY2" fmla="*/ 80962 h 80962"/>
                <a:gd name="connsiteX3" fmla="*/ 0 w 278891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891" h="80962">
                  <a:moveTo>
                    <a:pt x="0" y="0"/>
                  </a:moveTo>
                  <a:lnTo>
                    <a:pt x="278892" y="0"/>
                  </a:lnTo>
                  <a:lnTo>
                    <a:pt x="27889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01194447-56D4-4428-8893-7D96B392540D}"/>
                </a:ext>
              </a:extLst>
            </p:cNvPr>
            <p:cNvSpPr/>
            <p:nvPr/>
          </p:nvSpPr>
          <p:spPr>
            <a:xfrm>
              <a:off x="6406712" y="1294848"/>
              <a:ext cx="323529" cy="70307"/>
            </a:xfrm>
            <a:custGeom>
              <a:avLst/>
              <a:gdLst>
                <a:gd name="connsiteX0" fmla="*/ 0 w 372998"/>
                <a:gd name="connsiteY0" fmla="*/ 0 h 81057"/>
                <a:gd name="connsiteX1" fmla="*/ 372999 w 372998"/>
                <a:gd name="connsiteY1" fmla="*/ 0 h 81057"/>
                <a:gd name="connsiteX2" fmla="*/ 372999 w 372998"/>
                <a:gd name="connsiteY2" fmla="*/ 81058 h 81057"/>
                <a:gd name="connsiteX3" fmla="*/ 0 w 372998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998" h="81057">
                  <a:moveTo>
                    <a:pt x="0" y="0"/>
                  </a:moveTo>
                  <a:lnTo>
                    <a:pt x="372999" y="0"/>
                  </a:lnTo>
                  <a:lnTo>
                    <a:pt x="37299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CCE50C04-0843-48DF-9DC1-2B680AFC5406}"/>
                </a:ext>
              </a:extLst>
            </p:cNvPr>
            <p:cNvSpPr/>
            <p:nvPr/>
          </p:nvSpPr>
          <p:spPr>
            <a:xfrm>
              <a:off x="5425961" y="1294848"/>
              <a:ext cx="276272" cy="70307"/>
            </a:xfrm>
            <a:custGeom>
              <a:avLst/>
              <a:gdLst>
                <a:gd name="connsiteX0" fmla="*/ 0 w 318515"/>
                <a:gd name="connsiteY0" fmla="*/ 0 h 81057"/>
                <a:gd name="connsiteX1" fmla="*/ 318516 w 318515"/>
                <a:gd name="connsiteY1" fmla="*/ 0 h 81057"/>
                <a:gd name="connsiteX2" fmla="*/ 318516 w 318515"/>
                <a:gd name="connsiteY2" fmla="*/ 81058 h 81057"/>
                <a:gd name="connsiteX3" fmla="*/ 0 w 318515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515" h="81057">
                  <a:moveTo>
                    <a:pt x="0" y="0"/>
                  </a:moveTo>
                  <a:lnTo>
                    <a:pt x="318516" y="0"/>
                  </a:lnTo>
                  <a:lnTo>
                    <a:pt x="31851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D5001F7C-3E71-4F26-9AF0-FFF19BF7853E}"/>
                </a:ext>
              </a:extLst>
            </p:cNvPr>
            <p:cNvSpPr/>
            <p:nvPr/>
          </p:nvSpPr>
          <p:spPr>
            <a:xfrm>
              <a:off x="6530721" y="1176293"/>
              <a:ext cx="139210" cy="70307"/>
            </a:xfrm>
            <a:custGeom>
              <a:avLst/>
              <a:gdLst>
                <a:gd name="connsiteX0" fmla="*/ 0 w 160496"/>
                <a:gd name="connsiteY0" fmla="*/ 0 h 81057"/>
                <a:gd name="connsiteX1" fmla="*/ 160496 w 160496"/>
                <a:gd name="connsiteY1" fmla="*/ 0 h 81057"/>
                <a:gd name="connsiteX2" fmla="*/ 160496 w 160496"/>
                <a:gd name="connsiteY2" fmla="*/ 81058 h 81057"/>
                <a:gd name="connsiteX3" fmla="*/ 0 w 160496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96" h="81057">
                  <a:moveTo>
                    <a:pt x="0" y="0"/>
                  </a:moveTo>
                  <a:lnTo>
                    <a:pt x="160496" y="0"/>
                  </a:lnTo>
                  <a:lnTo>
                    <a:pt x="160496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1CD20490-9DD8-4888-AA86-D79948F4665E}"/>
                </a:ext>
              </a:extLst>
            </p:cNvPr>
            <p:cNvSpPr/>
            <p:nvPr/>
          </p:nvSpPr>
          <p:spPr>
            <a:xfrm>
              <a:off x="8103508" y="583677"/>
              <a:ext cx="276189" cy="70224"/>
            </a:xfrm>
            <a:custGeom>
              <a:avLst/>
              <a:gdLst>
                <a:gd name="connsiteX0" fmla="*/ 0 w 318420"/>
                <a:gd name="connsiteY0" fmla="*/ 0 h 80962"/>
                <a:gd name="connsiteX1" fmla="*/ 318421 w 318420"/>
                <a:gd name="connsiteY1" fmla="*/ 0 h 80962"/>
                <a:gd name="connsiteX2" fmla="*/ 318421 w 318420"/>
                <a:gd name="connsiteY2" fmla="*/ 80962 h 80962"/>
                <a:gd name="connsiteX3" fmla="*/ 0 w 318420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420" h="80962">
                  <a:moveTo>
                    <a:pt x="0" y="0"/>
                  </a:moveTo>
                  <a:lnTo>
                    <a:pt x="318421" y="0"/>
                  </a:lnTo>
                  <a:lnTo>
                    <a:pt x="318421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BB4EBD14-444E-487F-B658-FC5A8831B7E9}"/>
                </a:ext>
              </a:extLst>
            </p:cNvPr>
            <p:cNvSpPr/>
            <p:nvPr/>
          </p:nvSpPr>
          <p:spPr>
            <a:xfrm>
              <a:off x="7699508" y="702151"/>
              <a:ext cx="197951" cy="70307"/>
            </a:xfrm>
            <a:custGeom>
              <a:avLst/>
              <a:gdLst>
                <a:gd name="connsiteX0" fmla="*/ 0 w 228219"/>
                <a:gd name="connsiteY0" fmla="*/ 0 h 81057"/>
                <a:gd name="connsiteX1" fmla="*/ 228219 w 228219"/>
                <a:gd name="connsiteY1" fmla="*/ 0 h 81057"/>
                <a:gd name="connsiteX2" fmla="*/ 228219 w 228219"/>
                <a:gd name="connsiteY2" fmla="*/ 81058 h 81057"/>
                <a:gd name="connsiteX3" fmla="*/ 0 w 228219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19" h="81057">
                  <a:moveTo>
                    <a:pt x="0" y="0"/>
                  </a:moveTo>
                  <a:lnTo>
                    <a:pt x="228219" y="0"/>
                  </a:lnTo>
                  <a:lnTo>
                    <a:pt x="228219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A9097008-DD6C-4518-B3EC-163C2A770BFD}"/>
                </a:ext>
              </a:extLst>
            </p:cNvPr>
            <p:cNvSpPr/>
            <p:nvPr/>
          </p:nvSpPr>
          <p:spPr>
            <a:xfrm>
              <a:off x="7491148" y="702151"/>
              <a:ext cx="106576" cy="70307"/>
            </a:xfrm>
            <a:custGeom>
              <a:avLst/>
              <a:gdLst>
                <a:gd name="connsiteX0" fmla="*/ 0 w 122872"/>
                <a:gd name="connsiteY0" fmla="*/ 0 h 81057"/>
                <a:gd name="connsiteX1" fmla="*/ 122873 w 122872"/>
                <a:gd name="connsiteY1" fmla="*/ 0 h 81057"/>
                <a:gd name="connsiteX2" fmla="*/ 122873 w 122872"/>
                <a:gd name="connsiteY2" fmla="*/ 81058 h 81057"/>
                <a:gd name="connsiteX3" fmla="*/ 0 w 12287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72" h="81057">
                  <a:moveTo>
                    <a:pt x="0" y="0"/>
                  </a:moveTo>
                  <a:lnTo>
                    <a:pt x="122873" y="0"/>
                  </a:lnTo>
                  <a:lnTo>
                    <a:pt x="122873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F5543249-F8D0-4216-BE85-E4935FC7E575}"/>
                </a:ext>
              </a:extLst>
            </p:cNvPr>
            <p:cNvSpPr/>
            <p:nvPr/>
          </p:nvSpPr>
          <p:spPr>
            <a:xfrm>
              <a:off x="8549228" y="583677"/>
              <a:ext cx="116490" cy="70224"/>
            </a:xfrm>
            <a:custGeom>
              <a:avLst/>
              <a:gdLst>
                <a:gd name="connsiteX0" fmla="*/ 0 w 134302"/>
                <a:gd name="connsiteY0" fmla="*/ 0 h 80962"/>
                <a:gd name="connsiteX1" fmla="*/ 134302 w 134302"/>
                <a:gd name="connsiteY1" fmla="*/ 0 h 80962"/>
                <a:gd name="connsiteX2" fmla="*/ 134302 w 134302"/>
                <a:gd name="connsiteY2" fmla="*/ 80962 h 80962"/>
                <a:gd name="connsiteX3" fmla="*/ 0 w 134302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80962">
                  <a:moveTo>
                    <a:pt x="0" y="0"/>
                  </a:moveTo>
                  <a:lnTo>
                    <a:pt x="134302" y="0"/>
                  </a:lnTo>
                  <a:lnTo>
                    <a:pt x="134302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55699FA0-D3EA-451F-AA64-D6627ED7A37D}"/>
                </a:ext>
              </a:extLst>
            </p:cNvPr>
            <p:cNvSpPr/>
            <p:nvPr/>
          </p:nvSpPr>
          <p:spPr>
            <a:xfrm>
              <a:off x="8885729" y="583677"/>
              <a:ext cx="658378" cy="70224"/>
            </a:xfrm>
            <a:custGeom>
              <a:avLst/>
              <a:gdLst>
                <a:gd name="connsiteX0" fmla="*/ 0 w 759047"/>
                <a:gd name="connsiteY0" fmla="*/ 0 h 80962"/>
                <a:gd name="connsiteX1" fmla="*/ 759047 w 759047"/>
                <a:gd name="connsiteY1" fmla="*/ 0 h 80962"/>
                <a:gd name="connsiteX2" fmla="*/ 759047 w 759047"/>
                <a:gd name="connsiteY2" fmla="*/ 80962 h 80962"/>
                <a:gd name="connsiteX3" fmla="*/ 0 w 759047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47" h="80962">
                  <a:moveTo>
                    <a:pt x="0" y="0"/>
                  </a:moveTo>
                  <a:lnTo>
                    <a:pt x="759047" y="0"/>
                  </a:lnTo>
                  <a:lnTo>
                    <a:pt x="759047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B0BCE198-3C72-4BA1-AA1D-D1E83A9E4E42}"/>
                </a:ext>
              </a:extLst>
            </p:cNvPr>
            <p:cNvSpPr/>
            <p:nvPr/>
          </p:nvSpPr>
          <p:spPr>
            <a:xfrm>
              <a:off x="8103508" y="702151"/>
              <a:ext cx="1477860" cy="70307"/>
            </a:xfrm>
            <a:custGeom>
              <a:avLst/>
              <a:gdLst>
                <a:gd name="connsiteX0" fmla="*/ 0 w 1703832"/>
                <a:gd name="connsiteY0" fmla="*/ 0 h 81057"/>
                <a:gd name="connsiteX1" fmla="*/ 1703832 w 1703832"/>
                <a:gd name="connsiteY1" fmla="*/ 0 h 81057"/>
                <a:gd name="connsiteX2" fmla="*/ 1703832 w 1703832"/>
                <a:gd name="connsiteY2" fmla="*/ 81058 h 81057"/>
                <a:gd name="connsiteX3" fmla="*/ 0 w 1703832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832" h="81057">
                  <a:moveTo>
                    <a:pt x="0" y="0"/>
                  </a:moveTo>
                  <a:lnTo>
                    <a:pt x="1703832" y="0"/>
                  </a:lnTo>
                  <a:lnTo>
                    <a:pt x="1703832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9A8FB02B-4095-4A38-ADDC-22519DFBAE70}"/>
                </a:ext>
              </a:extLst>
            </p:cNvPr>
            <p:cNvSpPr/>
            <p:nvPr/>
          </p:nvSpPr>
          <p:spPr>
            <a:xfrm>
              <a:off x="7050549" y="465122"/>
              <a:ext cx="138219" cy="70224"/>
            </a:xfrm>
            <a:custGeom>
              <a:avLst/>
              <a:gdLst>
                <a:gd name="connsiteX0" fmla="*/ 0 w 159353"/>
                <a:gd name="connsiteY0" fmla="*/ 0 h 80962"/>
                <a:gd name="connsiteX1" fmla="*/ 159353 w 159353"/>
                <a:gd name="connsiteY1" fmla="*/ 0 h 80962"/>
                <a:gd name="connsiteX2" fmla="*/ 159353 w 159353"/>
                <a:gd name="connsiteY2" fmla="*/ 80963 h 80962"/>
                <a:gd name="connsiteX3" fmla="*/ 0 w 159353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353" h="80962">
                  <a:moveTo>
                    <a:pt x="0" y="0"/>
                  </a:moveTo>
                  <a:lnTo>
                    <a:pt x="159353" y="0"/>
                  </a:lnTo>
                  <a:lnTo>
                    <a:pt x="159353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A8C6D785-3C58-4C3B-80AC-B4F4730EAD09}"/>
                </a:ext>
              </a:extLst>
            </p:cNvPr>
            <p:cNvSpPr/>
            <p:nvPr/>
          </p:nvSpPr>
          <p:spPr>
            <a:xfrm>
              <a:off x="7842106" y="346566"/>
              <a:ext cx="200594" cy="70224"/>
            </a:xfrm>
            <a:custGeom>
              <a:avLst/>
              <a:gdLst>
                <a:gd name="connsiteX0" fmla="*/ 0 w 231266"/>
                <a:gd name="connsiteY0" fmla="*/ 0 h 80962"/>
                <a:gd name="connsiteX1" fmla="*/ 231267 w 231266"/>
                <a:gd name="connsiteY1" fmla="*/ 0 h 80962"/>
                <a:gd name="connsiteX2" fmla="*/ 231267 w 231266"/>
                <a:gd name="connsiteY2" fmla="*/ 80963 h 80962"/>
                <a:gd name="connsiteX3" fmla="*/ 0 w 231266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266" h="80962">
                  <a:moveTo>
                    <a:pt x="0" y="0"/>
                  </a:moveTo>
                  <a:lnTo>
                    <a:pt x="231267" y="0"/>
                  </a:lnTo>
                  <a:lnTo>
                    <a:pt x="231267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88E70608-38A4-4B7B-8757-591678EA8E70}"/>
                </a:ext>
              </a:extLst>
            </p:cNvPr>
            <p:cNvSpPr/>
            <p:nvPr/>
          </p:nvSpPr>
          <p:spPr>
            <a:xfrm>
              <a:off x="8091114" y="346566"/>
              <a:ext cx="87904" cy="70224"/>
            </a:xfrm>
            <a:custGeom>
              <a:avLst/>
              <a:gdLst>
                <a:gd name="connsiteX0" fmla="*/ 0 w 101345"/>
                <a:gd name="connsiteY0" fmla="*/ 0 h 80962"/>
                <a:gd name="connsiteX1" fmla="*/ 101346 w 101345"/>
                <a:gd name="connsiteY1" fmla="*/ 0 h 80962"/>
                <a:gd name="connsiteX2" fmla="*/ 101346 w 101345"/>
                <a:gd name="connsiteY2" fmla="*/ 80963 h 80962"/>
                <a:gd name="connsiteX3" fmla="*/ 0 w 101345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345" h="80962">
                  <a:moveTo>
                    <a:pt x="0" y="0"/>
                  </a:moveTo>
                  <a:lnTo>
                    <a:pt x="101346" y="0"/>
                  </a:lnTo>
                  <a:lnTo>
                    <a:pt x="101346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AAAE579D-D523-49F6-A5B3-3480EE4BC6D9}"/>
                </a:ext>
              </a:extLst>
            </p:cNvPr>
            <p:cNvSpPr/>
            <p:nvPr/>
          </p:nvSpPr>
          <p:spPr>
            <a:xfrm>
              <a:off x="6665635" y="228010"/>
              <a:ext cx="106494" cy="70307"/>
            </a:xfrm>
            <a:custGeom>
              <a:avLst/>
              <a:gdLst>
                <a:gd name="connsiteX0" fmla="*/ 0 w 122777"/>
                <a:gd name="connsiteY0" fmla="*/ 0 h 81057"/>
                <a:gd name="connsiteX1" fmla="*/ 122778 w 122777"/>
                <a:gd name="connsiteY1" fmla="*/ 0 h 81057"/>
                <a:gd name="connsiteX2" fmla="*/ 122778 w 122777"/>
                <a:gd name="connsiteY2" fmla="*/ 81058 h 81057"/>
                <a:gd name="connsiteX3" fmla="*/ 0 w 122777"/>
                <a:gd name="connsiteY3" fmla="*/ 81058 h 8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777" h="81057">
                  <a:moveTo>
                    <a:pt x="0" y="0"/>
                  </a:moveTo>
                  <a:lnTo>
                    <a:pt x="122778" y="0"/>
                  </a:lnTo>
                  <a:lnTo>
                    <a:pt x="122778" y="81058"/>
                  </a:lnTo>
                  <a:lnTo>
                    <a:pt x="0" y="81058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F108D7A2-BE20-4086-A2E4-A1A480D41251}"/>
                </a:ext>
              </a:extLst>
            </p:cNvPr>
            <p:cNvSpPr/>
            <p:nvPr/>
          </p:nvSpPr>
          <p:spPr>
            <a:xfrm>
              <a:off x="5989577" y="346566"/>
              <a:ext cx="72620" cy="70224"/>
            </a:xfrm>
            <a:custGeom>
              <a:avLst/>
              <a:gdLst>
                <a:gd name="connsiteX0" fmla="*/ 0 w 83724"/>
                <a:gd name="connsiteY0" fmla="*/ 0 h 80962"/>
                <a:gd name="connsiteX1" fmla="*/ 83725 w 83724"/>
                <a:gd name="connsiteY1" fmla="*/ 0 h 80962"/>
                <a:gd name="connsiteX2" fmla="*/ 83725 w 83724"/>
                <a:gd name="connsiteY2" fmla="*/ 80963 h 80962"/>
                <a:gd name="connsiteX3" fmla="*/ 0 w 83724"/>
                <a:gd name="connsiteY3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24" h="80962">
                  <a:moveTo>
                    <a:pt x="0" y="0"/>
                  </a:moveTo>
                  <a:lnTo>
                    <a:pt x="83725" y="0"/>
                  </a:lnTo>
                  <a:lnTo>
                    <a:pt x="83725" y="80963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D3D8D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ihandform: Form 131">
              <a:extLst>
                <a:ext uri="{FF2B5EF4-FFF2-40B4-BE49-F238E27FC236}">
                  <a16:creationId xmlns:a16="http://schemas.microsoft.com/office/drawing/2014/main" id="{7AE3BAA6-79F1-473E-B5FB-602192F388CF}"/>
                </a:ext>
              </a:extLst>
            </p:cNvPr>
            <p:cNvSpPr/>
            <p:nvPr/>
          </p:nvSpPr>
          <p:spPr>
            <a:xfrm>
              <a:off x="4709048" y="2954300"/>
              <a:ext cx="1306800" cy="70224"/>
            </a:xfrm>
            <a:custGeom>
              <a:avLst/>
              <a:gdLst>
                <a:gd name="connsiteX0" fmla="*/ 0 w 1971579"/>
                <a:gd name="connsiteY0" fmla="*/ 0 h 80962"/>
                <a:gd name="connsiteX1" fmla="*/ 1971580 w 1971579"/>
                <a:gd name="connsiteY1" fmla="*/ 0 h 80962"/>
                <a:gd name="connsiteX2" fmla="*/ 1971580 w 1971579"/>
                <a:gd name="connsiteY2" fmla="*/ 80962 h 80962"/>
                <a:gd name="connsiteX3" fmla="*/ 0 w 1971579"/>
                <a:gd name="connsiteY3" fmla="*/ 80962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579" h="80962">
                  <a:moveTo>
                    <a:pt x="0" y="0"/>
                  </a:moveTo>
                  <a:lnTo>
                    <a:pt x="1971580" y="0"/>
                  </a:lnTo>
                  <a:lnTo>
                    <a:pt x="1971580" y="80962"/>
                  </a:lnTo>
                  <a:lnTo>
                    <a:pt x="0" y="80962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-250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11559189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VCT_SHOW_CA" val="False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53d5a9-dee8-408b-bc46-3d9b0eca0be3"/>
  <p:tag name="MIO_EKGUID" val="f2eaa13e-75ab-4240-9e70-c03d57bc8e05"/>
  <p:tag name="MIO_UPDATE" val="True"/>
  <p:tag name="MIO_VERSION" val="18.08.2021 14:35:14"/>
  <p:tag name="MIO_DBID" val="D2ADB5CE-4791-4BD6-A5B0-2150AF1FFAC7"/>
  <p:tag name="MIO_LASTDOWNLOADED" val="14.01.2022 15:04:02"/>
  <p:tag name="MIO_OBJECTNAME" val="Title Slide Left | Picture | 3 Lines"/>
  <p:tag name="MIO_LASTEDITORNAME" val="Vera Pappelau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4:04"/>
  <p:tag name="MIO_OBJECTNAME" val="Title Slide Image (2)"/>
  <p:tag name="MIO_LASTEDITORNAME" val="Vera Pappelau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228f912-f9e4-42d1-ae12-106b995d42be"/>
  <p:tag name="MIO_EKGUID" val="02a2e44b-3cb4-43e4-bc89-b089337b1a6b"/>
  <p:tag name="MIO_UPDATE" val="True"/>
  <p:tag name="MIO_VERSION" val="18.08.2021 11:31:44"/>
  <p:tag name="MIO_DBID" val="D2ADB5CE-4791-4BD6-A5B0-2150AF1FFAC7"/>
  <p:tag name="MIO_LASTDOWNLOADED" val="14.01.2022 15:04:29"/>
  <p:tag name="MIO_OBJECTNAME" val="Agenda Slide | Short &amp; Graphic"/>
  <p:tag name="MIO_LASTEDITORNAME" val="Vera Pappelau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e8b76ce-bd12-4026-9815-5ffad5e85b2b"/>
  <p:tag name="MIO_EKGUID" val="a533c354-dc46-4aba-848d-1ae22b613660"/>
  <p:tag name="MIO_UPDATE" val="True"/>
  <p:tag name="MIO_VERSION" val="18.08.2021 11:31:50"/>
  <p:tag name="MIO_DBID" val="D2ADB5CE-4791-4BD6-A5B0-2150AF1FFAC7"/>
  <p:tag name="MIO_LASTDOWNLOADED" val="14.01.2022 15:04:30"/>
  <p:tag name="MIO_OBJECTNAME" val="Chapter Divider | Grey | 2 Lines"/>
  <p:tag name="MIO_LASTEDITORNAME" val="Vera Pappelau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09e1d45-7bd9-4891-bcf2-333929322588"/>
  <p:tag name="MIO_EKGUID" val="5620124c-bf18-4f25-9954-d101d354cb21"/>
  <p:tag name="MIO_UPDATE" val="True"/>
  <p:tag name="MIO_VERSION" val="18.08.2021 11:31:52"/>
  <p:tag name="MIO_DBID" val="D2ADB5CE-4791-4BD6-A5B0-2150AF1FFAC7"/>
  <p:tag name="MIO_LASTDOWNLOADED" val="14.01.2022 15:04:31"/>
  <p:tag name="MIO_OBJECTNAME" val="Chapter Divider | Grey | 1 Line"/>
  <p:tag name="MIO_LASTEDITORNAME" val="Vera Pappelau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bee131c-f942-4042-81a1-0258485ca401"/>
  <p:tag name="MIO_EKGUID" val="0a2f8a47-d752-45ea-b0cc-f74783697c41"/>
  <p:tag name="MIO_UPDATE" val="True"/>
  <p:tag name="MIO_VERSION" val="18.08.2021 14:35:18"/>
  <p:tag name="MIO_DBID" val="D2ADB5CE-4791-4BD6-A5B0-2150AF1FFAC7"/>
  <p:tag name="MIO_LASTDOWNLOADED" val="14.01.2022 15:04:03"/>
  <p:tag name="MIO_OBJECTNAME" val="Title Slide Left | Picture | 2 Lines"/>
  <p:tag name="MIO_LASTEDITORNAME" val="Vera Pappelau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050fc7-8617-48e0-935c-5c524b246256"/>
  <p:tag name="MIO_EKGUID" val="b04ccf2e-e973-417b-b447-191a8511a414"/>
  <p:tag name="MIO_UPDATE" val="True"/>
  <p:tag name="MIO_VERSION" val="18.08.2021 11:31:55"/>
  <p:tag name="MIO_DBID" val="D2ADB5CE-4791-4BD6-A5B0-2150AF1FFAC7"/>
  <p:tag name="MIO_LASTDOWNLOADED" val="14.01.2022 15:04:33"/>
  <p:tag name="MIO_OBJECTNAME" val="Chapter Divider | Picture | Positive | 2 Lines"/>
  <p:tag name="MIO_LASTEDITORNAME" val="Vera Pappelau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32eb70-9827-40e0-b82d-2252412db57b"/>
  <p:tag name="MIO_EKGUID" val="a3bfa93f-5ba8-460b-adb0-33065ff90d54"/>
  <p:tag name="MIO_UPDATE" val="True"/>
  <p:tag name="MIO_VERSION" val="18.08.2021 11:31:58"/>
  <p:tag name="MIO_DBID" val="D2ADB5CE-4791-4BD6-A5B0-2150AF1FFAC7"/>
  <p:tag name="MIO_LASTDOWNLOADED" val="14.01.2022 15:04:34"/>
  <p:tag name="MIO_OBJECTNAME" val="Chapter Divider | Picture | Negative | 2 Lines"/>
  <p:tag name="MIO_LASTEDITORNAME" val="Vera Pappelau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c9e4892-d225-4f09-8962-d05aab0e3938"/>
  <p:tag name="MIO_EKGUID" val="3bd936c6-87aa-4d34-97fd-1ff89cb3d058"/>
  <p:tag name="MIO_UPDATE" val="True"/>
  <p:tag name="MIO_VERSION" val="18.08.2021 11:32:01"/>
  <p:tag name="MIO_DBID" val="D2ADB5CE-4791-4BD6-A5B0-2150AF1FFAC7"/>
  <p:tag name="MIO_LASTDOWNLOADED" val="14.01.2022 15:04:35"/>
  <p:tag name="MIO_OBJECTNAME" val="One Content"/>
  <p:tag name="MIO_LASTEDITORNAME" val="Vera Pappelau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697b44d-7498-422d-893f-9bf969ad70d4"/>
  <p:tag name="MIO_EKGUID" val="dd0e6013-99ab-429a-a6c9-f774899da194"/>
  <p:tag name="MIO_UPDATE" val="True"/>
  <p:tag name="MIO_VERSION" val="18.08.2021 11:32:04"/>
  <p:tag name="MIO_DBID" val="D2ADB5CE-4791-4BD6-A5B0-2150AF1FFAC7"/>
  <p:tag name="MIO_LASTDOWNLOADED" val="14.01.2022 15:04:36"/>
  <p:tag name="MIO_OBJECTNAME" val="Two Contents"/>
  <p:tag name="MIO_LASTEDITORNAME" val="Vera Pappelau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e20a3af-8ffc-4d1e-bd8d-4573e2e31736"/>
  <p:tag name="MIO_EKGUID" val="0c21112e-a38f-47de-9e28-e7d14f7d09f4"/>
  <p:tag name="MIO_UPDATE" val="True"/>
  <p:tag name="MIO_VERSION" val="18.08.2021 11:32:06"/>
  <p:tag name="MIO_DBID" val="D2ADB5CE-4791-4BD6-A5B0-2150AF1FFAC7"/>
  <p:tag name="MIO_LASTDOWNLOADED" val="14.01.2022 15:04:37"/>
  <p:tag name="MIO_OBJECTNAME" val="Three Contents"/>
  <p:tag name="MIO_LASTEDITORNAME" val="Vera Pappelau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3:52"/>
  <p:tag name="MIO_OBJECTNAME" val="Title Slide Image (2)"/>
  <p:tag name="MIO_LASTEDITORNAME" val="Vera Pappelau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ee63d6-763d-4c77-9949-6968cdc72421"/>
  <p:tag name="MIO_EKGUID" val="b93604a6-b2fa-4fff-9346-24082feb0fe3"/>
  <p:tag name="MIO_UPDATE" val="True"/>
  <p:tag name="MIO_VERSION" val="18.08.2021 11:32:12"/>
  <p:tag name="MIO_DBID" val="D2ADB5CE-4791-4BD6-A5B0-2150AF1FFAC7"/>
  <p:tag name="MIO_LASTDOWNLOADED" val="14.01.2022 15:04:38"/>
  <p:tag name="MIO_OBJECTNAME" val="1/3 Picture Left | Content"/>
  <p:tag name="MIO_LASTEDITORNAME" val="Vera Pappelau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2bb48f-2aa3-415f-8c10-6cada31c22dc"/>
  <p:tag name="MIO_EKGUID" val="59f4e7ba-bcbe-430b-93e4-495c5b5e51f6"/>
  <p:tag name="MIO_UPDATE" val="True"/>
  <p:tag name="MIO_VERSION" val="18.08.2021 11:32:16"/>
  <p:tag name="MIO_DBID" val="D2ADB5CE-4791-4BD6-A5B0-2150AF1FFAC7"/>
  <p:tag name="MIO_LASTDOWNLOADED" val="14.01.2022 15:04:40"/>
  <p:tag name="MIO_OBJECTNAME" val="1/3 Two Pictures Left | Content"/>
  <p:tag name="MIO_LASTEDITORNAME" val="Vera Pappelau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071be9-08ec-4a96-8fdb-2055470a9fa8"/>
  <p:tag name="MIO_EKGUID" val="73158685-10a6-4eb8-bd14-1eec853ed359"/>
  <p:tag name="MIO_UPDATE" val="True"/>
  <p:tag name="MIO_VERSION" val="18.08.2021 11:32:19"/>
  <p:tag name="MIO_DBID" val="D2ADB5CE-4791-4BD6-A5B0-2150AF1FFAC7"/>
  <p:tag name="MIO_LASTDOWNLOADED" val="14.01.2022 15:04:41"/>
  <p:tag name="MIO_OBJECTNAME" val="1/2 Picture Left | Content"/>
  <p:tag name="MIO_LASTEDITORNAME" val="Vera Pappelau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2a52587-4016-4e41-905a-30f67f173f02"/>
  <p:tag name="MIO_EKGUID" val="0665e70d-0046-4ddc-a9e8-20d4fdc8b3ed"/>
  <p:tag name="MIO_UPDATE" val="True"/>
  <p:tag name="MIO_VERSION" val="18.08.2021 11:32:22"/>
  <p:tag name="MIO_DBID" val="D2ADB5CE-4791-4BD6-A5B0-2150AF1FFAC7"/>
  <p:tag name="MIO_LASTDOWNLOADED" val="14.01.2022 15:04:42"/>
  <p:tag name="MIO_OBJECTNAME" val="2/3 Picture Left | Content"/>
  <p:tag name="MIO_LASTEDITORNAME" val="Vera Pappelau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0732f5-80b1-4398-8d73-2fe0a4c76592"/>
  <p:tag name="MIO_EKGUID" val="16e00c36-243d-41c7-be65-412ac2e22dfd"/>
  <p:tag name="MIO_UPDATE" val="True"/>
  <p:tag name="MIO_VERSION" val="18.08.2021 11:32:26"/>
  <p:tag name="MIO_DBID" val="D2ADB5CE-4791-4BD6-A5B0-2150AF1FFAC7"/>
  <p:tag name="MIO_LASTDOWNLOADED" val="14.01.2022 15:04:43"/>
  <p:tag name="MIO_OBJECTNAME" val="1/3 Picture Right | Content"/>
  <p:tag name="MIO_LASTEDITORNAME" val="Vera Pappelau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5f84ab-88f2-4249-ab2a-503fb898254c"/>
  <p:tag name="MIO_EKGUID" val="6e4e11d4-9533-4fe7-a724-439b3731e325"/>
  <p:tag name="MIO_UPDATE" val="True"/>
  <p:tag name="MIO_VERSION" val="18.08.2021 11:32:29"/>
  <p:tag name="MIO_DBID" val="D2ADB5CE-4791-4BD6-A5B0-2150AF1FFAC7"/>
  <p:tag name="MIO_LASTDOWNLOADED" val="14.01.2022 15:04:45"/>
  <p:tag name="MIO_OBJECTNAME" val="1/3 Two Pictures Right | Content"/>
  <p:tag name="MIO_LASTEDITORNAME" val="Vera Pappelau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8f4a58f-b7e7-4044-996c-850cedd4a332"/>
  <p:tag name="MIO_EKGUID" val="78e5fe88-b645-4e74-9cba-9884ac70a75c"/>
  <p:tag name="MIO_UPDATE" val="True"/>
  <p:tag name="MIO_VERSION" val="18.08.2021 11:32:33"/>
  <p:tag name="MIO_DBID" val="D2ADB5CE-4791-4BD6-A5B0-2150AF1FFAC7"/>
  <p:tag name="MIO_LASTDOWNLOADED" val="14.01.2022 15:04:46"/>
  <p:tag name="MIO_OBJECTNAME" val="1/2 Picture Right | Content"/>
  <p:tag name="MIO_LASTEDITORNAME" val="Vera Pappelau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396901-0db1-4c72-a3ed-3e3cdffe0809"/>
  <p:tag name="MIO_EKGUID" val="ded3292e-800b-4d60-bce7-b6657c6ce952"/>
  <p:tag name="MIO_UPDATE" val="True"/>
  <p:tag name="MIO_VERSION" val="18.08.2021 11:32:36"/>
  <p:tag name="MIO_DBID" val="D2ADB5CE-4791-4BD6-A5B0-2150AF1FFAC7"/>
  <p:tag name="MIO_LASTDOWNLOADED" val="14.01.2022 15:04:47"/>
  <p:tag name="MIO_OBJECTNAME" val="2/3 Picture Right | Content"/>
  <p:tag name="MIO_LASTEDITORNAME" val="Vera Pappelau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958ee73-8184-4ddb-a198-462cd46d1f56"/>
  <p:tag name="MIO_EKGUID" val="5ba0641d-c582-4c53-9677-4b3ef4210b0c"/>
  <p:tag name="MIO_UPDATE" val="True"/>
  <p:tag name="MIO_VERSION" val="18.08.2021 11:40:17"/>
  <p:tag name="MIO_DBID" val="D2ADB5CE-4791-4BD6-A5B0-2150AF1FFAC7"/>
  <p:tag name="MIO_LASTDOWNLOADED" val="14.01.2022 15:04:48"/>
  <p:tag name="MIO_OBJECTNAME" val="Full Picture | Short Text | Positive"/>
  <p:tag name="MIO_LASTEDITORNAME" val="Vera Pappelau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94efff-d096-4e2b-a1f6-6c4020016ae1"/>
  <p:tag name="MIO_EKGUID" val="3831b820-25d2-4c2c-b7c7-1cc21e32b64e"/>
  <p:tag name="MIO_UPDATE" val="True"/>
  <p:tag name="MIO_VERSION" val="18.08.2021 11:40:20"/>
  <p:tag name="MIO_DBID" val="D2ADB5CE-4791-4BD6-A5B0-2150AF1FFAC7"/>
  <p:tag name="MIO_LASTDOWNLOADED" val="14.01.2022 15:04:48"/>
  <p:tag name="MIO_OBJECTNAME" val="Full Picture | Short Text | Negative"/>
  <p:tag name="MIO_LASTEDITORNAME" val="Vera Pappelau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b05f03a-e4e5-4402-a6d6-ce75622a57f8"/>
  <p:tag name="MIO_EKGUID" val="64ee56f7-1d87-4e6b-96e0-cddeea6bf9bb"/>
  <p:tag name="MIO_UPDATE" val="True"/>
  <p:tag name="MIO_VERSION" val="18.08.2021 11:32:46"/>
  <p:tag name="MIO_DBID" val="D2ADB5CE-4791-4BD6-A5B0-2150AF1FFAC7"/>
  <p:tag name="MIO_LASTDOWNLOADED" val="14.01.2022 15:04:49"/>
  <p:tag name="MIO_OBJECTNAME" val="Media Placeholder | Positive"/>
  <p:tag name="MIO_LASTEDITORNAME" val="Vera Pappelau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b6f40bc-43ae-4e7c-ab2e-418072782018"/>
  <p:tag name="MIO_EKGUID" val="74cfa8c6-d535-4ae3-b96c-be2f1a661143"/>
  <p:tag name="MIO_UPDATE" val="True"/>
  <p:tag name="MIO_VERSION" val="18.08.2021 14:35:23"/>
  <p:tag name="MIO_DBID" val="D2ADB5CE-4791-4BD6-A5B0-2150AF1FFAC7"/>
  <p:tag name="MIO_LASTDOWNLOADED" val="14.01.2022 15:04:04"/>
  <p:tag name="MIO_OBJECTNAME" val="Title Slide Left | Picture | 1 Line"/>
  <p:tag name="MIO_LASTEDITORNAME" val="Vera Pappelau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bdb4c95-fb6a-4176-be4a-43ffe01ceb6b"/>
  <p:tag name="MIO_EKGUID" val="bc9ea838-a262-4468-ab4d-b0c706b34d17"/>
  <p:tag name="MIO_UPDATE" val="True"/>
  <p:tag name="MIO_VERSION" val="18.08.2021 11:32:48"/>
  <p:tag name="MIO_DBID" val="D2ADB5CE-4791-4BD6-A5B0-2150AF1FFAC7"/>
  <p:tag name="MIO_LASTDOWNLOADED" val="14.01.2022 15:04:50"/>
  <p:tag name="MIO_OBJECTNAME" val="Media Placeholder | Negative"/>
  <p:tag name="MIO_LASTEDITORNAME" val="Vera Pappelau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f4b66e-e37d-4109-ae22-274f5c9430e1"/>
  <p:tag name="MIO_EKGUID" val="272ab800-08d4-4f1c-acc5-d44b541172af"/>
  <p:tag name="MIO_UPDATE" val="True"/>
  <p:tag name="MIO_VERSION" val="18.08.2021 11:32:53"/>
  <p:tag name="MIO_DBID" val="D2ADB5CE-4791-4BD6-A5B0-2150AF1FFAC7"/>
  <p:tag name="MIO_LASTDOWNLOADED" val="14.01.2022 15:04:51"/>
  <p:tag name="MIO_OBJECTNAME" val="Chapter Divider | Colour | 2 Lines"/>
  <p:tag name="MIO_LASTEDITORNAME" val="Vera Pappelau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431355f-825e-4ccc-ab93-aa81a29e7be3"/>
  <p:tag name="MIO_EKGUID" val="6d3e5fe2-6fed-4746-b664-6106969cf3fb"/>
  <p:tag name="MIO_UPDATE" val="True"/>
  <p:tag name="MIO_VERSION" val="18.08.2021 11:32:58"/>
  <p:tag name="MIO_DBID" val="D2ADB5CE-4791-4BD6-A5B0-2150AF1FFAC7"/>
  <p:tag name="MIO_LASTDOWNLOADED" val="14.01.2022 15:04:52"/>
  <p:tag name="MIO_OBJECTNAME" val="Chapter Divider | Colour | 1 Line"/>
  <p:tag name="MIO_LASTEDITORNAME" val="Vera Pappelau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2f5e016-eb2d-449c-8f47-9e74817bae54"/>
  <p:tag name="MIO_EKGUID" val="7dd90c2f-deb7-496a-a9c4-7411ddaec701"/>
  <p:tag name="MIO_UPDATE" val="True"/>
  <p:tag name="MIO_VERSION" val="18.08.2021 11:33:00"/>
  <p:tag name="MIO_DBID" val="D2ADB5CE-4791-4BD6-A5B0-2150AF1FFAC7"/>
  <p:tag name="MIO_LASTDOWNLOADED" val="14.01.2022 15:04:53"/>
  <p:tag name="MIO_OBJECTNAME" val="Title only | Bar | Colour"/>
  <p:tag name="MIO_LASTEDITORNAME" val="Vera Pappelau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7a1c02c-6f2c-46d4-897a-e07a9d61e65d"/>
  <p:tag name="MIO_EKGUID" val="779acd76-988c-47f1-bc2b-6937030268cb"/>
  <p:tag name="MIO_UPDATE" val="True"/>
  <p:tag name="MIO_VERSION" val="18.08.2021 11:33:03"/>
  <p:tag name="MIO_DBID" val="D2ADB5CE-4791-4BD6-A5B0-2150AF1FFAC7"/>
  <p:tag name="MIO_LASTDOWNLOADED" val="14.01.2022 15:04:55"/>
  <p:tag name="MIO_OBJECTNAME" val="Title only | Colour"/>
  <p:tag name="MIO_LASTEDITORNAME" val="Vera Pappelau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a7d9043-f21b-4d4e-baae-59a1a810be04"/>
  <p:tag name="MIO_EKGUID" val="13849b6d-ea4c-48b7-ba09-e8409240ee26"/>
  <p:tag name="MIO_UPDATE" val="True"/>
  <p:tag name="MIO_VERSION" val="18.08.2021 11:33:06"/>
  <p:tag name="MIO_DBID" val="D2ADB5CE-4791-4BD6-A5B0-2150AF1FFAC7"/>
  <p:tag name="MIO_LASTDOWNLOADED" val="14.01.2022 15:04:55"/>
  <p:tag name="MIO_OBJECTNAME" val="Empty | Colour"/>
  <p:tag name="MIO_LASTEDITORNAME" val="Vera Pappelau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3:41"/>
  <p:tag name="MIO_OBJECTNAME" val="Title Slide Image (2)"/>
  <p:tag name="MIO_LASTEDITORNAME" val="Vera Pappelau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fdda3e-291c-486b-864d-9b4c6019f910"/>
  <p:tag name="MIO_EKGUID" val="431797e6-522b-4e18-be21-046947fe7c41"/>
  <p:tag name="MIO_UPDATE" val="True"/>
  <p:tag name="MIO_VERSION" val="18.08.2021 11:33:08"/>
  <p:tag name="MIO_DBID" val="D2ADB5CE-4791-4BD6-A5B0-2150AF1FFAC7"/>
  <p:tag name="MIO_LASTDOWNLOADED" val="14.01.2022 15:04:57"/>
  <p:tag name="MIO_OBJECTNAME" val="Thank You | Grey | 2 Lines"/>
  <p:tag name="MIO_LASTEDITORNAME" val="Vera Pappelau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9dbc81-7bb1-4b79-bd46-2ba7d17dc420"/>
  <p:tag name="MIO_EKGUID" val="a44b06cc-69a2-4545-9bf8-b150cd576965"/>
  <p:tag name="MIO_UPDATE" val="True"/>
  <p:tag name="MIO_VERSION" val="18.08.2021 11:33:11"/>
  <p:tag name="MIO_DBID" val="D2ADB5CE-4791-4BD6-A5B0-2150AF1FFAC7"/>
  <p:tag name="MIO_LASTDOWNLOADED" val="14.01.2022 15:04:58"/>
  <p:tag name="MIO_OBJECTNAME" val="Thank You | Grey | 3 Lines"/>
  <p:tag name="MIO_LASTEDITORNAME" val="Vera Pappelau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2a56bf-516d-4594-af4e-2d39c434fd0f"/>
  <p:tag name="MIO_EKGUID" val="ec9688d8-818d-42cd-9dbd-75cba5d10d60"/>
  <p:tag name="MIO_UPDATE" val="True"/>
  <p:tag name="MIO_VERSION" val="18.08.2021 11:33:13"/>
  <p:tag name="MIO_DBID" val="D2ADB5CE-4791-4BD6-A5B0-2150AF1FFAC7"/>
  <p:tag name="MIO_LASTDOWNLOADED" val="14.01.2022 15:04:59"/>
  <p:tag name="MIO_OBJECTNAME" val="Thank You | Grey | 4 Lines"/>
  <p:tag name="MIO_LASTEDITORNAME" val="Vera Pappelau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7a995e-fbc1-4dd1-870b-0057716a9e9b"/>
  <p:tag name="MIO_EKGUID" val="74e5a0d5-ed9f-4cee-9ae0-acc64a5fd5d6"/>
  <p:tag name="MIO_UPDATE" val="True"/>
  <p:tag name="MIO_VERSION" val="18.08.2021 11:33:16"/>
  <p:tag name="MIO_DBID" val="D2ADB5CE-4791-4BD6-A5B0-2150AF1FFAC7"/>
  <p:tag name="MIO_LASTDOWNLOADED" val="14.01.2022 15:05:00"/>
  <p:tag name="MIO_OBJECTNAME" val="Thank You | Picture | Negative | 2 Lines"/>
  <p:tag name="MIO_LASTEDITORNAME" val="Vera Pappelau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99318d-1bba-40d7-a779-34dcfd59370d"/>
  <p:tag name="MIO_EKGUID" val="6b5d823a-bf8c-4d50-bb3c-799a795e6171"/>
  <p:tag name="MIO_UPDATE" val="True"/>
  <p:tag name="MIO_VERSION" val="18.08.2021 11:33:19"/>
  <p:tag name="MIO_DBID" val="D2ADB5CE-4791-4BD6-A5B0-2150AF1FFAC7"/>
  <p:tag name="MIO_LASTDOWNLOADED" val="14.01.2022 15:05:01"/>
  <p:tag name="MIO_OBJECTNAME" val="Thank You | Picture | Negative | 3 Lines"/>
  <p:tag name="MIO_LASTEDITORNAME" val="Vera Pappelau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6032e61-56e7-4cdb-83f7-c9ae84ea44cd"/>
  <p:tag name="MIO_EKGUID" val="3d6b22cc-fd8c-4979-b103-075eb26bad62"/>
  <p:tag name="MIO_UPDATE" val="True"/>
  <p:tag name="MIO_VERSION" val="18.08.2021 11:33:22"/>
  <p:tag name="MIO_DBID" val="D2ADB5CE-4791-4BD6-A5B0-2150AF1FFAC7"/>
  <p:tag name="MIO_LASTDOWNLOADED" val="14.01.2022 15:05:03"/>
  <p:tag name="MIO_OBJECTNAME" val="Thank You | Picture | Negative | 4 Lines"/>
  <p:tag name="MIO_LASTEDITORNAME" val="Vera Pappelau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5df4feb-b639-44ea-b30b-46d293c82695"/>
  <p:tag name="MIO_EKGUID" val="8a6c2738-d7a5-4211-b392-8e25a4d0d794"/>
  <p:tag name="MIO_UPDATE" val="True"/>
  <p:tag name="MIO_VERSION" val="18.08.2021 11:33:25"/>
  <p:tag name="MIO_DBID" val="D2ADB5CE-4791-4BD6-A5B0-2150AF1FFAC7"/>
  <p:tag name="MIO_LASTDOWNLOADED" val="14.01.2022 15:05:04"/>
  <p:tag name="MIO_OBJECTNAME" val="Thank You | Picture | Positve | 2 Lines"/>
  <p:tag name="MIO_LASTEDITORNAME" val="Vera Pappelau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d7f841b-cd99-4fd8-8a8d-034570cccb98"/>
  <p:tag name="MIO_EKGUID" val="4f371057-b67e-4b00-8147-d0a3e5f32738"/>
  <p:tag name="MIO_UPDATE" val="True"/>
  <p:tag name="MIO_VERSION" val="18.08.2021 11:33:28"/>
  <p:tag name="MIO_DBID" val="D2ADB5CE-4791-4BD6-A5B0-2150AF1FFAC7"/>
  <p:tag name="MIO_LASTDOWNLOADED" val="14.01.2022 15:05:05"/>
  <p:tag name="MIO_OBJECTNAME" val="Thank You | Picture | Positve | 3 Lines"/>
  <p:tag name="MIO_LASTEDITORNAME" val="Vera Pappelau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1e1787-9edd-4425-8a7b-3e76656399f9"/>
  <p:tag name="MIO_EKGUID" val="13c0044c-6c36-4b09-8d5f-745b8544049c"/>
  <p:tag name="MIO_UPDATE" val="True"/>
  <p:tag name="MIO_VERSION" val="18.08.2021 11:33:31"/>
  <p:tag name="MIO_DBID" val="D2ADB5CE-4791-4BD6-A5B0-2150AF1FFAC7"/>
  <p:tag name="MIO_LASTDOWNLOADED" val="14.01.2022 15:05:06"/>
  <p:tag name="MIO_OBJECTNAME" val="Thank You | Picture | Positve | 4 Lines"/>
  <p:tag name="MIO_LASTEDITORNAME" val="Vera Pappelau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45def25-1ec0-48c7-984c-4de70f8f690e"/>
  <p:tag name="MIO_EKGUID" val="3ce2eb3a-3dc5-4320-b22f-30d8337e7249"/>
  <p:tag name="MIO_UPDATE" val="True"/>
  <p:tag name="MIO_VERSION" val="18.08.2021 11:33:34"/>
  <p:tag name="MIO_DBID" val="D2ADB5CE-4791-4BD6-A5B0-2150AF1FFAC7"/>
  <p:tag name="MIO_LASTDOWNLOADED" val="14.01.2022 15:05:08"/>
  <p:tag name="MIO_OBJECTNAME" val="Contact Slide"/>
  <p:tag name="MIO_LASTEDITORNAME" val="Vera Pappelau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True"/>
  <p:tag name="MIO_MATCH_COLOR_SCHEME" val="False"/>
  <p:tag name="MIO_NUMBER_OF_VALID_LAYOUTS" val="51"/>
  <p:tag name="MIO_HDS" val="True"/>
  <p:tag name="MIO_SKIPVERSION" val="01.01.0001 00:00:00"/>
  <p:tag name="MIO_EKGUID" val="05ec8568-c555-484d-a81c-be1f256855aa"/>
  <p:tag name="MIO_UPDATE" val="True"/>
  <p:tag name="MIO_VERSION" val="12.10.2021 16:04:25"/>
  <p:tag name="MIO_DBID" val="D2ADB5CE-4791-4BD6-A5B0-2150AF1FFAC7"/>
  <p:tag name="MIO_LASTDOWNLOADED" val="13.10.2021 15:51:04.744"/>
  <p:tag name="MIO_OBJECTNAME" val="New Master Corporate"/>
  <p:tag name="MIO_CDID" val="6bcddaaa-6f17-44f5-a88a-5e31afd6f17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432b370-66e1-44cb-8b07-14273cc62363"/>
  <p:tag name="MIO_EKGUID" val="529b126c-acf0-4fe4-88f5-3772c8591673"/>
  <p:tag name="MIO_UPDATE" val="True"/>
  <p:tag name="MIO_VERSION" val="18.08.2021 14:35:28"/>
  <p:tag name="MIO_DBID" val="D2ADB5CE-4791-4BD6-A5B0-2150AF1FFAC7"/>
  <p:tag name="MIO_LASTDOWNLOADED" val="14.01.2022 15:04:06"/>
  <p:tag name="MIO_OBJECTNAME" val="Title Slide Right | Picture | 4 Lines"/>
  <p:tag name="MIO_LASTEDITORNAME" val="Vera Pappelau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e7aa485-7ee6-410a-90bd-67b4925893d7"/>
  <p:tag name="MIO_EKGUID" val="aadbc5b6-47b6-4a41-a134-d1b032294754"/>
  <p:tag name="MIO_UPDATE" val="True"/>
  <p:tag name="MIO_VERSION" val="18.08.2021 11:51:10"/>
  <p:tag name="MIO_DBID" val="D2ADB5CE-4791-4BD6-A5B0-2150AF1FFAC7"/>
  <p:tag name="MIO_LASTDOWNLOADED" val="14.01.2022 15:08:19"/>
  <p:tag name="MIO_OBJECTNAME" val="Bar Chart | 6 Columns (1)"/>
  <p:tag name="MIO_LASTEDITORNAME" val="Vera Pappelau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ofzuVXY6qD2YYai7lx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785aaa7-561b-4e2c-ba42-38dedfcdbe26"/>
  <p:tag name="MIO_EKGUID" val="b0cfe646-6ecd-4caf-84b3-ef4f1ea8e9ce"/>
  <p:tag name="MIO_UPDATE" val="True"/>
  <p:tag name="MIO_VERSION" val="18.08.2021 11:51:13"/>
  <p:tag name="MIO_DBID" val="D2ADB5CE-4791-4BD6-A5B0-2150AF1FFAC7"/>
  <p:tag name="MIO_LASTDOWNLOADED" val="14.01.2022 15:08:20"/>
  <p:tag name="MIO_OBJECTNAME" val="Bar Chart | 6 Columns (2)"/>
  <p:tag name="MIO_LASTEDITORNAME" val="Vera Pappelau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ofzuVXY6qD2YYai7lx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3:29"/>
  <p:tag name="MIO_OBJECTNAME" val="Title Slide Image (2)"/>
  <p:tag name="MIO_LASTEDITORNAME" val="Vera Pappelau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e0bb167-76b9-4ad3-8e63-9f4a1da3a494"/>
  <p:tag name="MIO_EKGUID" val="8d781d3f-6ba1-4a2f-97fd-0fbf8d110f23"/>
  <p:tag name="MIO_UPDATE" val="True"/>
  <p:tag name="MIO_VERSION" val="18.08.2021 11:51:16"/>
  <p:tag name="MIO_DBID" val="D2ADB5CE-4791-4BD6-A5B0-2150AF1FFAC7"/>
  <p:tag name="MIO_LASTDOWNLOADED" val="14.01.2022 15:08:22"/>
  <p:tag name="MIO_OBJECTNAME" val="Bar Chart | 4 Columns (3)"/>
  <p:tag name="MIO_LASTEDITORNAME" val="Vera Pappelau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ofzuVXY6qD2YYai7lx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7ab063-bed4-44eb-b1a4-12c11c504e74"/>
  <p:tag name="MIO_EKGUID" val="54e47464-bb71-4098-9e21-e29637ee24a4"/>
  <p:tag name="MIO_UPDATE" val="True"/>
  <p:tag name="MIO_VERSION" val="18.08.2021 11:51:19"/>
  <p:tag name="MIO_DBID" val="D2ADB5CE-4791-4BD6-A5B0-2150AF1FFAC7"/>
  <p:tag name="MIO_LASTDOWNLOADED" val="14.01.2022 15:08:23"/>
  <p:tag name="MIO_OBJECTNAME" val="Column-line Chart | 5 Columns (1)"/>
  <p:tag name="MIO_LASTEDITORNAME" val="Vera Pappelau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hHK3ey0u6RiaqScscM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c8de46a-c0a0-403c-b9f9-76b9df410ba5"/>
  <p:tag name="MIO_EKGUID" val="c54802f7-7b60-47ea-aec5-cc1fac47fd00"/>
  <p:tag name="MIO_UPDATE" val="True"/>
  <p:tag name="MIO_VERSION" val="18.08.2021 11:51:22"/>
  <p:tag name="MIO_DBID" val="D2ADB5CE-4791-4BD6-A5B0-2150AF1FFAC7"/>
  <p:tag name="MIO_LASTDOWNLOADED" val="14.01.2022 15:08:24"/>
  <p:tag name="MIO_OBJECTNAME" val="Column-line Chart | 5 Columns (2)"/>
  <p:tag name="MIO_LASTEDITORNAME" val="Vera Pappelau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hHK3ey0u6RiaqScscMk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8fce06b-daad-428a-976e-97b26c8f8f63"/>
  <p:tag name="MIO_EKGUID" val="a027ecc6-42c3-4062-821b-00036d43e68b"/>
  <p:tag name="MIO_UPDATE" val="True"/>
  <p:tag name="MIO_VERSION" val="18.08.2021 11:51:25"/>
  <p:tag name="MIO_DBID" val="D2ADB5CE-4791-4BD6-A5B0-2150AF1FFAC7"/>
  <p:tag name="MIO_LASTDOWNLOADED" val="14.01.2022 15:08:25"/>
  <p:tag name="MIO_OBJECTNAME" val="Bar Chart | Vertical | 4 Bars (4)"/>
  <p:tag name="MIO_LASTEDITORNAME" val="Vera Pappelau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cwe8Rm.2m0fggq97dWj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297c4d-3c19-43cc-8f02-09dfafd50fed"/>
  <p:tag name="MIO_EKGUID" val="fc5f18b4-c630-4f73-882c-00bcdfd799ff"/>
  <p:tag name="MIO_UPDATE" val="True"/>
  <p:tag name="MIO_VERSION" val="18.08.2021 11:51:28"/>
  <p:tag name="MIO_DBID" val="D2ADB5CE-4791-4BD6-A5B0-2150AF1FFAC7"/>
  <p:tag name="MIO_LASTDOWNLOADED" val="14.01.2022 15:08:26"/>
  <p:tag name="MIO_OBJECTNAME" val="Line Chart (1)"/>
  <p:tag name="MIO_LASTEDITORNAME" val="Vera Pappelau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8de48d8-0ed8-415b-83c0-35a0ae7588e6"/>
  <p:tag name="MIO_EKGUID" val="5ea1261a-580f-4d34-b658-2447d8e9e5d3"/>
  <p:tag name="MIO_UPDATE" val="True"/>
  <p:tag name="MIO_VERSION" val="18.08.2021 14:35:33"/>
  <p:tag name="MIO_DBID" val="D2ADB5CE-4791-4BD6-A5B0-2150AF1FFAC7"/>
  <p:tag name="MIO_LASTDOWNLOADED" val="14.01.2022 15:04:07"/>
  <p:tag name="MIO_OBJECTNAME" val="Title Slide Right | Picture | 3 Lines"/>
  <p:tag name="MIO_LASTEDITORNAME" val="Vera Pappelau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EiYZ..X1rG777xv3LG_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35d803-410e-4de5-b295-35a8d8d1d8a3"/>
  <p:tag name="MIO_EKGUID" val="a9ea19a2-451c-40e1-a2b5-c5159fcddc3e"/>
  <p:tag name="MIO_UPDATE" val="True"/>
  <p:tag name="MIO_VERSION" val="18.08.2021 11:51:31"/>
  <p:tag name="MIO_DBID" val="D2ADB5CE-4791-4BD6-A5B0-2150AF1FFAC7"/>
  <p:tag name="MIO_LASTDOWNLOADED" val="14.01.2022 15:08:27"/>
  <p:tag name="MIO_OBJECTNAME" val="Line Chart (2)"/>
  <p:tag name="MIO_LASTEDITORNAME" val="Vera Pappelau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EiYZ..X1rG777xv3LG_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4c7cac-80fd-4648-8569-b3de499017b3"/>
  <p:tag name="MIO_EKGUID" val="1b89cb8f-8ee0-4d45-b03e-be8c198e65d8"/>
  <p:tag name="MIO_UPDATE" val="True"/>
  <p:tag name="MIO_VERSION" val="18.08.2021 11:51:36"/>
  <p:tag name="MIO_DBID" val="D2ADB5CE-4791-4BD6-A5B0-2150AF1FFAC7"/>
  <p:tag name="MIO_LASTDOWNLOADED" val="14.01.2022 15:08:29"/>
  <p:tag name="MIO_OBJECTNAME" val="Pie Chart (1)"/>
  <p:tag name="MIO_LASTEDITORNAME" val="Vera Pappelau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2:58"/>
  <p:tag name="MIO_OBJECTNAME" val="Title Slide Image (2)"/>
  <p:tag name="MIO_LASTEDITORNAME" val="Vera Pappelau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CeAURbAU9lNL3b1snc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ea77b37-609c-4015-bc6f-aaacf5bba707"/>
  <p:tag name="MIO_EKGUID" val="6549f133-a7e3-4e00-8c22-48348eb4800f"/>
  <p:tag name="MIO_UPDATE" val="True"/>
  <p:tag name="MIO_VERSION" val="18.08.2021 11:51:39"/>
  <p:tag name="MIO_DBID" val="D2ADB5CE-4791-4BD6-A5B0-2150AF1FFAC7"/>
  <p:tag name="MIO_LASTDOWNLOADED" val="14.01.2022 15:08:30"/>
  <p:tag name="MIO_OBJECTNAME" val="Pie Chart (2)"/>
  <p:tag name="MIO_LASTEDITORNAME" val="Vera Pappelau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CeAURbAU9lNL3b1snc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6a7b92-4d54-4941-b203-d329dc00a12d"/>
  <p:tag name="MIO_EKGUID" val="463ffe64-0a98-404d-b910-437d130359ca"/>
  <p:tag name="MIO_UPDATE" val="True"/>
  <p:tag name="MIO_VERSION" val="18.08.2021 11:51:42"/>
  <p:tag name="MIO_DBID" val="D2ADB5CE-4791-4BD6-A5B0-2150AF1FFAC7"/>
  <p:tag name="MIO_LASTDOWNLOADED" val="14.01.2022 15:08:31"/>
  <p:tag name="MIO_OBJECTNAME" val="Doughnut Chart (1)"/>
  <p:tag name="MIO_LASTEDITORNAME" val="Vera Pappelau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CeAURbAU9lNL3b1snc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e4ae9a1-90f6-4d3f-b97c-50ff705b8323"/>
  <p:tag name="MIO_EKGUID" val="38bf0e50-cba4-4526-a244-60cad1f32d42"/>
  <p:tag name="MIO_UPDATE" val="True"/>
  <p:tag name="MIO_VERSION" val="18.08.2021 11:51:44"/>
  <p:tag name="MIO_DBID" val="D2ADB5CE-4791-4BD6-A5B0-2150AF1FFAC7"/>
  <p:tag name="MIO_LASTDOWNLOADED" val="14.01.2022 15:08:32"/>
  <p:tag name="MIO_OBJECTNAME" val="Doughnut Chart (2)"/>
  <p:tag name="MIO_LASTEDITORNAME" val="Vera Pappelau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CeAURbAU9lNL3b1snc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2b9817-142d-455b-bb7a-9ae5bbea71b2"/>
  <p:tag name="MIO_EKGUID" val="eb4f701c-5052-425a-b981-278208223e89"/>
  <p:tag name="MIO_UPDATE" val="True"/>
  <p:tag name="MIO_VERSION" val="18.08.2021 14:52:29"/>
  <p:tag name="MIO_DBID" val="D2ADB5CE-4791-4BD6-A5B0-2150AF1FFAC7"/>
  <p:tag name="MIO_LASTDOWNLOADED" val="14.01.2022 15:08:33"/>
  <p:tag name="MIO_OBJECTNAME" val="Doughnut Chart | Marginal Text"/>
  <p:tag name="MIO_LASTEDITORNAME" val="Vera Pappelau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784c22-79f3-42c3-ae25-1cb32dfd2e3a"/>
  <p:tag name="MIO_EKGUID" val="c9c81e56-4234-44ae-9ec9-b3504236e8fb"/>
  <p:tag name="MIO_UPDATE" val="True"/>
  <p:tag name="MIO_VERSION" val="18.08.2021 14:35:38"/>
  <p:tag name="MIO_DBID" val="D2ADB5CE-4791-4BD6-A5B0-2150AF1FFAC7"/>
  <p:tag name="MIO_LASTDOWNLOADED" val="14.01.2022 15:04:08"/>
  <p:tag name="MIO_OBJECTNAME" val="Title Slide Right | Picture | 2 Lines"/>
  <p:tag name="MIO_LASTEDITORNAME" val="Vera Pappelau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3443e2-e84c-4695-b07c-aa8ecec9889f"/>
  <p:tag name="MIO_EKGUID" val="774605e0-a8af-4e48-adc0-d7a6ea07f8ae"/>
  <p:tag name="MIO_UPDATE" val="True"/>
  <p:tag name="MIO_VERSION" val="18.08.2021 11:48:35"/>
  <p:tag name="MIO_DBID" val="D2ADB5CE-4791-4BD6-A5B0-2150AF1FFAC7"/>
  <p:tag name="MIO_LASTDOWNLOADED" val="14.01.2022 15:08:34"/>
  <p:tag name="MIO_OBJECTNAME" val="Segments with affiliation"/>
  <p:tag name="MIO_LASTEDITORNAME" val="Vera Pappelau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rh3B2Z7dyG.b8PqoktR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d76970-d849-49de-91e3-73f22b9a536f"/>
  <p:tag name="MIO_EKGUID" val="c6c43c89-78d0-4281-9819-2e3e4693c849"/>
  <p:tag name="MIO_UPDATE" val="True"/>
  <p:tag name="MIO_VERSION" val="18.08.2021 11:48:38"/>
  <p:tag name="MIO_DBID" val="D2ADB5CE-4791-4BD6-A5B0-2150AF1FFAC7"/>
  <p:tag name="MIO_LASTDOWNLOADED" val="14.01.2022 15:08:36"/>
  <p:tag name="MIO_OBJECTNAME" val="Segments with affiliation (2)"/>
  <p:tag name="MIO_LASTEDITORNAME" val="Vera Pappelau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HRIDPmKMAngVnxNOMd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2:50"/>
  <p:tag name="MIO_OBJECTNAME" val="Title Slide Image (2)"/>
  <p:tag name="MIO_LASTEDITORNAME" val="Vera Pappelau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2c0a4fa-a5b4-4ab0-b66f-8c2c2f6cc61d"/>
  <p:tag name="MIO_EKGUID" val="7598360f-3f90-40de-91df-c3c18a40d437"/>
  <p:tag name="MIO_UPDATE" val="True"/>
  <p:tag name="MIO_VERSION" val="18.08.2021 11:48:41"/>
  <p:tag name="MIO_DBID" val="D2ADB5CE-4791-4BD6-A5B0-2150AF1FFAC7"/>
  <p:tag name="MIO_LASTDOWNLOADED" val="14.01.2022 15:08:37"/>
  <p:tag name="MIO_OBJECTNAME" val="Pyramid with Text"/>
  <p:tag name="MIO_LASTEDITORNAME" val="Vera Pappelau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9rc8iElj9lyZtp08ob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900f23b-43a4-4836-a2eb-3d9ac54e4b2c"/>
  <p:tag name="MIO_EKGUID" val="3b57d133-66be-4737-ae42-a7549d58a8a4"/>
  <p:tag name="MIO_UPDATE" val="True"/>
  <p:tag name="MIO_VERSION" val="18.08.2021 11:48:44"/>
  <p:tag name="MIO_DBID" val="D2ADB5CE-4791-4BD6-A5B0-2150AF1FFAC7"/>
  <p:tag name="MIO_LASTDOWNLOADED" val="14.01.2022 15:08:38"/>
  <p:tag name="MIO_OBJECTNAME" val="Pyramid with Text (2)"/>
  <p:tag name="MIO_LASTEDITORNAME" val="Vera Pappelau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9rc8iElj9lyZtp08ob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ec145a0-29dd-4748-8236-894b46afdd07"/>
  <p:tag name="MIO_EKGUID" val="1c52b048-461e-40b9-9872-1f5e6260b6d9"/>
  <p:tag name="MIO_UPDATE" val="True"/>
  <p:tag name="MIO_VERSION" val="18.08.2021 11:43:26"/>
  <p:tag name="MIO_DBID" val="D2ADB5CE-4791-4BD6-A5B0-2150AF1FFAC7"/>
  <p:tag name="MIO_LASTDOWNLOADED" val="14.01.2022 15:08:57"/>
  <p:tag name="MIO_OBJECTNAME" val="Photo with copy aside"/>
  <p:tag name="MIO_LASTEDITORNAME" val="Vera Pappelau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ke200BL0x3ixABiIy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71b2f4-9cc0-4fb7-8836-4da88845255a"/>
  <p:tag name="MIO_EKGUID" val="fa3dc769-aa31-443d-aebe-7014ad5bb9cc"/>
  <p:tag name="MIO_UPDATE" val="True"/>
  <p:tag name="MIO_VERSION" val="18.08.2021 11:43:30"/>
  <p:tag name="MIO_DBID" val="D2ADB5CE-4791-4BD6-A5B0-2150AF1FFAC7"/>
  <p:tag name="MIO_LASTDOWNLOADED" val="14.01.2022 15:08:58"/>
  <p:tag name="MIO_OBJECTNAME" val="Photo with copy aside (2)"/>
  <p:tag name="MIO_LASTEDITORNAME" val="Vera Pappelau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ke200BL0x3ixABiIyY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d9b1581-0dee-4cd5-8779-e90a020e7983"/>
  <p:tag name="MIO_EKGUID" val="7311f80a-494f-4110-aac8-045e897f9a0c"/>
  <p:tag name="MIO_UPDATE" val="True"/>
  <p:tag name="MIO_VERSION" val="18.08.2021 11:43:33"/>
  <p:tag name="MIO_DBID" val="D2ADB5CE-4791-4BD6-A5B0-2150AF1FFAC7"/>
  <p:tag name="MIO_LASTDOWNLOADED" val="14.01.2022 15:09:00"/>
  <p:tag name="MIO_OBJECTNAME" val="Photo with copy aside (3)"/>
  <p:tag name="MIO_LASTEDITORNAME" val="Vera Pappelau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ke200BL0x3ixABiIy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7ee13e-1aed-41ad-b00f-612b12bcfa6b"/>
  <p:tag name="MIO_EKGUID" val="21f4d752-afe2-44a3-8047-6b53bdcc74c9"/>
  <p:tag name="MIO_UPDATE" val="True"/>
  <p:tag name="MIO_VERSION" val="18.08.2021 14:35:43"/>
  <p:tag name="MIO_DBID" val="D2ADB5CE-4791-4BD6-A5B0-2150AF1FFAC7"/>
  <p:tag name="MIO_LASTDOWNLOADED" val="14.01.2022 15:04:09"/>
  <p:tag name="MIO_OBJECTNAME" val="Title Slide Right | Picture | 1 Line"/>
  <p:tag name="MIO_LASTEDITORNAME" val="Vera Pappelau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b2a3fe-d3b8-4f9c-9201-61c01318f783"/>
  <p:tag name="MIO_EKGUID" val="2dc06e3d-7b7f-4382-bbb8-d82af803c437"/>
  <p:tag name="MIO_UPDATE" val="True"/>
  <p:tag name="MIO_VERSION" val="18.08.2021 11:43:37"/>
  <p:tag name="MIO_DBID" val="D2ADB5CE-4791-4BD6-A5B0-2150AF1FFAC7"/>
  <p:tag name="MIO_LASTDOWNLOADED" val="14.01.2022 15:09:01"/>
  <p:tag name="MIO_OBJECTNAME" val="Four numbered text boxes with photo"/>
  <p:tag name="MIO_LASTEDITORNAME" val="Vera Pappelau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XVwYSU4leMwVIJ93V1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bd53907-5d85-4748-9013-552ffdfedfb0"/>
  <p:tag name="MIO_EKGUID" val="ec456831-ec30-4a0f-a58c-5a5c21599596"/>
  <p:tag name="MIO_UPDATE" val="True"/>
  <p:tag name="MIO_VERSION" val="18.08.2021 11:43:41"/>
  <p:tag name="MIO_DBID" val="D2ADB5CE-4791-4BD6-A5B0-2150AF1FFAC7"/>
  <p:tag name="MIO_LASTDOWNLOADED" val="14.01.2022 15:09:02"/>
  <p:tag name="MIO_OBJECTNAME" val="Four numbered text boxes with photo (2)"/>
  <p:tag name="MIO_LASTEDITORNAME" val="Vera Pappelau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XVwYSU4leMwVIJ93V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29:34"/>
  <p:tag name="MIO_OBJECTNAME" val="Title Slide Image (2)"/>
  <p:tag name="MIO_LASTEDITORNAME" val="Vera Pappelau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7d4251-08ce-402f-9c09-2ceb71cdd583"/>
  <p:tag name="MIO_EKGUID" val="3782c2a9-4ead-4809-b2d3-d903bec9df18"/>
  <p:tag name="MIO_UPDATE" val="True"/>
  <p:tag name="MIO_VERSION" val="18.08.2021 11:43:44"/>
  <p:tag name="MIO_DBID" val="D2ADB5CE-4791-4BD6-A5B0-2150AF1FFAC7"/>
  <p:tag name="MIO_LASTDOWNLOADED" val="14.01.2022 15:09:03"/>
  <p:tag name="MIO_OBJECTNAME" val="Four text boxes with photo"/>
  <p:tag name="MIO_LASTEDITORNAME" val="Vera Pappelau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4Fx8vsk7DJmzf_pPnlV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69bb33-455a-4ba5-869a-18a3336669da"/>
  <p:tag name="MIO_EKGUID" val="4d6b8897-b9c4-42f7-abb4-c301b868666d"/>
  <p:tag name="MIO_UPDATE" val="True"/>
  <p:tag name="MIO_VERSION" val="18.08.2021 11:43:48"/>
  <p:tag name="MIO_DBID" val="D2ADB5CE-4791-4BD6-A5B0-2150AF1FFAC7"/>
  <p:tag name="MIO_LASTDOWNLOADED" val="14.01.2022 15:09:05"/>
  <p:tag name="MIO_OBJECTNAME" val="Four text boxes with photo (2)"/>
  <p:tag name="MIO_LASTEDITORNAME" val="Vera Pappelau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4Fx8vsk7DJmzf_pPnlV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ad388b-9126-4235-a61f-d99de65e0b2a"/>
  <p:tag name="MIO_EKGUID" val="edcfc0e2-1346-41bf-9fe0-82cfb9530168"/>
  <p:tag name="MIO_UPDATE" val="True"/>
  <p:tag name="MIO_VERSION" val="18.08.2021 11:43:51"/>
  <p:tag name="MIO_DBID" val="D2ADB5CE-4791-4BD6-A5B0-2150AF1FFAC7"/>
  <p:tag name="MIO_LASTDOWNLOADED" val="14.01.2022 15:09:06"/>
  <p:tag name="MIO_OBJECTNAME" val="Laptop screen"/>
  <p:tag name="MIO_LASTEDITORNAME" val="Vera Pappelau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pSfsG27cv.HIbXlx.y0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780c0f-e0d9-48ac-8ff2-11debf505cf6"/>
  <p:tag name="MIO_EKGUID" val="70e84b8e-501e-4376-8ca3-05edb459867e"/>
  <p:tag name="MIO_UPDATE" val="True"/>
  <p:tag name="MIO_VERSION" val="18.08.2021 11:31:23"/>
  <p:tag name="MIO_DBID" val="D2ADB5CE-4791-4BD6-A5B0-2150AF1FFAC7"/>
  <p:tag name="MIO_LASTDOWNLOADED" val="14.01.2022 15:04:11"/>
  <p:tag name="MIO_OBJECTNAME" val="Title Slide Left | White | 4 Lines"/>
  <p:tag name="MIO_LASTEDITORNAME" val="Vera Pappelau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c7564e-5897-49c1-9228-167efe130b1a"/>
  <p:tag name="MIO_EKGUID" val="6accdba5-cb07-40ac-aaf4-40205c709baf"/>
  <p:tag name="MIO_UPDATE" val="True"/>
  <p:tag name="MIO_VERSION" val="18.08.2021 11:43:53"/>
  <p:tag name="MIO_DBID" val="D2ADB5CE-4791-4BD6-A5B0-2150AF1FFAC7"/>
  <p:tag name="MIO_LASTDOWNLOADED" val="14.01.2022 15:09:07"/>
  <p:tag name="MIO_OBJECTNAME" val="Computer screen"/>
  <p:tag name="MIO_LASTEDITORNAME" val="Vera Pappelau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XamLntC_eoUGjdDekS9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d4f9dc4-4175-40b8-b47f-98a36443134c"/>
  <p:tag name="MIO_EKGUID" val="296cbbe6-cdb8-4bd2-830a-a794fead043f"/>
  <p:tag name="MIO_UPDATE" val="True"/>
  <p:tag name="MIO_VERSION" val="18.08.2021 11:43:56"/>
  <p:tag name="MIO_DBID" val="D2ADB5CE-4791-4BD6-A5B0-2150AF1FFAC7"/>
  <p:tag name="MIO_LASTDOWNLOADED" val="14.01.2022 15:09:08"/>
  <p:tag name="MIO_OBJECTNAME" val="Smartphone screen"/>
  <p:tag name="MIO_LASTEDITORNAME" val="Vera Pappelau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5p8SoJ5XURvBceLk46j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d4f9dc4-4175-40b8-b47f-98a36443134c"/>
  <p:tag name="MIO_EKGUID" val="9f8f139a-c6dd-421b-b942-4635f34fd0a1"/>
  <p:tag name="MIO_UPDATE" val="True"/>
  <p:tag name="MIO_VERSION" val="18.08.2021 11:45:19"/>
  <p:tag name="MIO_DBID" val="D2ADB5CE-4791-4BD6-A5B0-2150AF1FFAC7"/>
  <p:tag name="MIO_LASTDOWNLOADED" val="14.01.2022 15:09:36"/>
  <p:tag name="MIO_OBJECTNAME" val="Trend with percentage and conclusion"/>
  <p:tag name="MIO_LASTEDITORNAME" val="Vera Pappelau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5p8SoJ5XURvBceLk46j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357aa16-a9ce-4809-bd6d-02da65f93325"/>
  <p:tag name="MIO_EKGUID" val="d77e64e5-9671-4a62-a978-f0d051b13b8f"/>
  <p:tag name="MIO_UPDATE" val="True"/>
  <p:tag name="MIO_VERSION" val="18.08.2021 11:45:22"/>
  <p:tag name="MIO_DBID" val="D2ADB5CE-4791-4BD6-A5B0-2150AF1FFAC7"/>
  <p:tag name="MIO_LASTDOWNLOADED" val="14.01.2022 15:09:37"/>
  <p:tag name="MIO_OBJECTNAME" val="Schematic diagram elements"/>
  <p:tag name="MIO_LASTEDITORNAME" val="Vera Pappelau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BCXybYV7ayJJhao9Q0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bf13a14-6e1b-4087-9321-f20f875fec47"/>
  <p:tag name="MIO_EKGUID" val="80a23d4c-5d80-46db-affc-4c222b83b18c"/>
  <p:tag name="MIO_UPDATE" val="True"/>
  <p:tag name="MIO_VERSION" val="18.08.2021 11:45:25"/>
  <p:tag name="MIO_DBID" val="D2ADB5CE-4791-4BD6-A5B0-2150AF1FFAC7"/>
  <p:tag name="MIO_LASTDOWNLOADED" val="14.01.2022 15:09:39"/>
  <p:tag name="MIO_OBJECTNAME" val="Timeline 1"/>
  <p:tag name="MIO_LASTEDITORNAME" val="Vera Pappelau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072deee-4d3f-42b5-b86c-cb404669cd97"/>
  <p:tag name="MIO_EKGUID" val="88c5ffda-a5a4-4e58-af6e-23fb2d58b167"/>
  <p:tag name="MIO_UPDATE" val="True"/>
  <p:tag name="MIO_VERSION" val="18.08.2021 11:45:28"/>
  <p:tag name="MIO_DBID" val="D2ADB5CE-4791-4BD6-A5B0-2150AF1FFAC7"/>
  <p:tag name="MIO_LASTDOWNLOADED" val="14.01.2022 15:09:40"/>
  <p:tag name="MIO_OBJECTNAME" val="Timeline 2"/>
  <p:tag name="MIO_LASTEDITORNAME" val="Vera Pappelau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9ab616-1c68-49f3-be95-ff631c38e4ca"/>
  <p:tag name="MIO_EKGUID" val="19b2fbfe-e237-40e9-a7cd-0cf3537cfe77"/>
  <p:tag name="MIO_UPDATE" val="True"/>
  <p:tag name="MIO_VERSION" val="18.08.2021 11:31:26"/>
  <p:tag name="MIO_DBID" val="D2ADB5CE-4791-4BD6-A5B0-2150AF1FFAC7"/>
  <p:tag name="MIO_LASTDOWNLOADED" val="14.01.2022 15:04:12"/>
  <p:tag name="MIO_OBJECTNAME" val="Title Slide Left | White | 3 Lines"/>
  <p:tag name="MIO_LASTEDITORNAME" val="Vera Pappelau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AYWAj6Cp7d.LAXZDSL7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d8ac78-5928-4df5-8cc2-f16a4e1ca605"/>
  <p:tag name="MIO_EKGUID" val="3e665bb6-4099-4dad-85bf-7e531bd9ff11"/>
  <p:tag name="MIO_UPDATE" val="True"/>
  <p:tag name="MIO_VERSION" val="18.08.2021 11:45:34"/>
  <p:tag name="MIO_DBID" val="D2ADB5CE-4791-4BD6-A5B0-2150AF1FFAC7"/>
  <p:tag name="MIO_LASTDOWNLOADED" val="14.01.2022 15:09:41"/>
  <p:tag name="MIO_OBJECTNAME" val="Timeline 3"/>
  <p:tag name="MIO_LASTEDITORNAME" val="Vera Pappelau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qFwXtzA3N9JlUPlDziA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f94d99-2b3f-4633-9118-879f8a5b4ca5"/>
  <p:tag name="MIO_EKGUID" val="fb3df427-b236-46e3-bf33-f7c90a8aa808"/>
  <p:tag name="MIO_UPDATE" val="True"/>
  <p:tag name="MIO_VERSION" val="18.08.2021 11:45:36"/>
  <p:tag name="MIO_DBID" val="D2ADB5CE-4791-4BD6-A5B0-2150AF1FFAC7"/>
  <p:tag name="MIO_LASTDOWNLOADED" val="14.01.2022 15:09:42"/>
  <p:tag name="MIO_OBJECTNAME" val="Timeline 4"/>
  <p:tag name="MIO_LASTEDITORNAME" val="Vera Pappelau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ZguOm_uA2bc8SLKPz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99a23f-bdee-4e7c-8465-40cd45ae7390"/>
  <p:tag name="MIO_EKGUID" val="f51c01ff-86d0-4f0a-8464-d15a5740b32e"/>
  <p:tag name="MIO_UPDATE" val="True"/>
  <p:tag name="MIO_VERSION" val="18.08.2021 11:45:42"/>
  <p:tag name="MIO_DBID" val="D2ADB5CE-4791-4BD6-A5B0-2150AF1FFAC7"/>
  <p:tag name="MIO_LASTDOWNLOADED" val="14.01.2022 15:09:43"/>
  <p:tag name="MIO_OBJECTNAME" val="Timeline 5"/>
  <p:tag name="MIO_LASTEDITORNAME" val="Vera Pappelau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karYd3.coujr2DzmQB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f119eb8-6b9d-4113-b8a7-a046ac09b030"/>
  <p:tag name="MIO_EKGUID" val="10d7d765-3fea-487b-9244-a95b72350b32"/>
  <p:tag name="MIO_UPDATE" val="True"/>
  <p:tag name="MIO_VERSION" val="18.08.2021 11:45:44"/>
  <p:tag name="MIO_DBID" val="D2ADB5CE-4791-4BD6-A5B0-2150AF1FFAC7"/>
  <p:tag name="MIO_LASTDOWNLOADED" val="14.01.2022 15:09:44"/>
  <p:tag name="MIO_OBJECTNAME" val="Timeline 6"/>
  <p:tag name="MIO_LASTEDITORNAME" val="Vera Pappelau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karYd3.coujr2DzmQB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0a57652-bf7a-41cb-a6a4-9ff05e8034f5"/>
  <p:tag name="MIO_EKGUID" val="ff5fb3cb-3c3d-46aa-9f70-fef9c991c827"/>
  <p:tag name="MIO_UPDATE" val="True"/>
  <p:tag name="MIO_VERSION" val="18.08.2021 11:52:41"/>
  <p:tag name="MIO_DBID" val="D2ADB5CE-4791-4BD6-A5B0-2150AF1FFAC7"/>
  <p:tag name="MIO_LASTDOWNLOADED" val="14.01.2022 15:09:46"/>
  <p:tag name="MIO_OBJECTNAME" val="Annual comparison with icons"/>
  <p:tag name="MIO_LASTEDITORNAME" val="Vera Pappelau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l6QuQFwiPahop0dJnA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7805fa6-2345-4b67-ae2a-0563599b4fb6"/>
  <p:tag name="MIO_EKGUID" val="877f943c-e4c4-43a4-9edd-7d3cfd563e34"/>
  <p:tag name="MIO_UPDATE" val="True"/>
  <p:tag name="MIO_VERSION" val="18.08.2021 11:31:28"/>
  <p:tag name="MIO_DBID" val="D2ADB5CE-4791-4BD6-A5B0-2150AF1FFAC7"/>
  <p:tag name="MIO_LASTDOWNLOADED" val="14.01.2022 15:04:13"/>
  <p:tag name="MIO_OBJECTNAME" val="Title Slide Left | White | 2 Lines"/>
  <p:tag name="MIO_LASTEDITORNAME" val="Vera Pappelau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b75bc4b-bce2-4b89-bfda-8668dc0d70cd"/>
  <p:tag name="MIO_EKGUID" val="1b11be46-01bb-4bed-9d00-f76c1a4ff5af"/>
  <p:tag name="MIO_UPDATE" val="True"/>
  <p:tag name="MIO_VERSION" val="18.08.2021 11:52:47"/>
  <p:tag name="MIO_DBID" val="D2ADB5CE-4791-4BD6-A5B0-2150AF1FFAC7"/>
  <p:tag name="MIO_LASTDOWNLOADED" val="14.01.2022 15:09:47"/>
  <p:tag name="MIO_OBJECTNAME" val="Relative comparison"/>
  <p:tag name="MIO_LASTEDITORNAME" val="Vera Pappelau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P5_P17PfsWBcCDjdDdY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feeec1d-61c7-45f5-b28e-ea9273b6714d"/>
  <p:tag name="MIO_EKGUID" val="cbbeaa5b-fb82-43a5-aa32-f450aff0f651"/>
  <p:tag name="MIO_UPDATE" val="True"/>
  <p:tag name="MIO_VERSION" val="18.08.2021 11:54:07"/>
  <p:tag name="MIO_DBID" val="D2ADB5CE-4791-4BD6-A5B0-2150AF1FFAC7"/>
  <p:tag name="MIO_LASTDOWNLOADED" val="14.01.2022 15:10:08"/>
  <p:tag name="MIO_OBJECTNAME" val="World map"/>
  <p:tag name="MIO_LASTEDITORNAME" val="Vera Pappelau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0bbf31c-fca2-4f1b-8839-1b52263cc223"/>
  <p:tag name="MIO_EKGUID" val="6125ded7-9159-490a-97d5-1d331c1846e7"/>
  <p:tag name="MIO_UPDATE" val="True"/>
  <p:tag name="MIO_VERSION" val="18.08.2021 11:54:10"/>
  <p:tag name="MIO_DBID" val="D2ADB5CE-4791-4BD6-A5B0-2150AF1FFAC7"/>
  <p:tag name="MIO_LASTDOWNLOADED" val="14.01.2022 15:10:09"/>
  <p:tag name="MIO_OBJECTNAME" val="World map – America highlighted"/>
  <p:tag name="MIO_LASTEDITORNAME" val="Vera Pappelau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728700-d9bd-4344-a4af-a4c558840190"/>
  <p:tag name="MIO_EKGUID" val="528ec5ae-ce17-464b-bbee-82664c845c7f"/>
  <p:tag name="MIO_UPDATE" val="True"/>
  <p:tag name="MIO_VERSION" val="18.08.2021 11:54:13"/>
  <p:tag name="MIO_DBID" val="D2ADB5CE-4791-4BD6-A5B0-2150AF1FFAC7"/>
  <p:tag name="MIO_LASTDOWNLOADED" val="14.01.2022 15:10:10"/>
  <p:tag name="MIO_OBJECTNAME" val="World map – North America highlighted"/>
  <p:tag name="MIO_LASTEDITORNAME" val="Vera Pappelau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c818710-d647-4f2a-b2e1-b195a6cec8f8"/>
  <p:tag name="MIO_EKGUID" val="d5a6a7e5-b091-4360-91e0-abdfd9f2bddd"/>
  <p:tag name="MIO_UPDATE" val="True"/>
  <p:tag name="MIO_VERSION" val="18.08.2021 11:54:19"/>
  <p:tag name="MIO_DBID" val="D2ADB5CE-4791-4BD6-A5B0-2150AF1FFAC7"/>
  <p:tag name="MIO_LASTDOWNLOADED" val="14.01.2022 15:10:11"/>
  <p:tag name="MIO_OBJECTNAME" val="World map – South America highlighted"/>
  <p:tag name="MIO_LASTEDITORNAME" val="Vera Pappelau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d798d0f-625d-4dcc-ba81-bff83755c1e6"/>
  <p:tag name="MIO_EKGUID" val="641117e7-4b9e-4521-8451-3cad631ffdb4"/>
  <p:tag name="MIO_UPDATE" val="True"/>
  <p:tag name="MIO_VERSION" val="18.08.2021 11:54:27"/>
  <p:tag name="MIO_DBID" val="D2ADB5CE-4791-4BD6-A5B0-2150AF1FFAC7"/>
  <p:tag name="MIO_LASTDOWNLOADED" val="14.01.2022 15:10:12"/>
  <p:tag name="MIO_OBJECTNAME" val="World map – Europe and Asia highlighted"/>
  <p:tag name="MIO_LASTEDITORNAME" val="Vera Pappelau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2da41cb-11c9-479a-9489-d282cf5a0a68"/>
  <p:tag name="MIO_EKGUID" val="48906e80-77c3-4642-b46a-15315a483e38"/>
  <p:tag name="MIO_UPDATE" val="True"/>
  <p:tag name="MIO_VERSION" val="18.08.2021 11:54:30"/>
  <p:tag name="MIO_DBID" val="D2ADB5CE-4791-4BD6-A5B0-2150AF1FFAC7"/>
  <p:tag name="MIO_LASTDOWNLOADED" val="14.01.2022 15:10:13"/>
  <p:tag name="MIO_OBJECTNAME" val="World map – Europe highlighted"/>
  <p:tag name="MIO_LASTEDITORNAME" val="Vera Pappelau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b170bf2-7908-4115-b376-fbd97bab461a"/>
  <p:tag name="MIO_EKGUID" val="d194ed33-c371-4717-811e-5bda0a39780c"/>
  <p:tag name="MIO_UPDATE" val="True"/>
  <p:tag name="MIO_VERSION" val="18.08.2021 11:31:32"/>
  <p:tag name="MIO_DBID" val="D2ADB5CE-4791-4BD6-A5B0-2150AF1FFAC7"/>
  <p:tag name="MIO_LASTDOWNLOADED" val="14.01.2022 15:04:14"/>
  <p:tag name="MIO_OBJECTNAME" val="Title Slide Left | Without Descriptor | 2 Lines"/>
  <p:tag name="MIO_LASTEDITORNAME" val="Vera Pappelau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23fe1cc-3116-46ae-90b8-88d9bce196eb"/>
  <p:tag name="MIO_EKGUID" val="705bec8c-5364-47bd-9f49-d2f763a6fa6a"/>
  <p:tag name="MIO_UPDATE" val="True"/>
  <p:tag name="MIO_VERSION" val="18.08.2021 11:54:33"/>
  <p:tag name="MIO_DBID" val="D2ADB5CE-4791-4BD6-A5B0-2150AF1FFAC7"/>
  <p:tag name="MIO_LASTDOWNLOADED" val="14.01.2022 15:10:14"/>
  <p:tag name="MIO_OBJECTNAME" val="World map – Asia highlighted"/>
  <p:tag name="MIO_LASTEDITORNAME" val="Vera Pappelau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b3b7566-5f5e-45ff-9cc6-8f24e1102fca"/>
  <p:tag name="MIO_EKGUID" val="8d70a13f-4def-494f-9e28-f0d09b301ea1"/>
  <p:tag name="MIO_UPDATE" val="True"/>
  <p:tag name="MIO_VERSION" val="18.08.2021 11:54:37"/>
  <p:tag name="MIO_DBID" val="D2ADB5CE-4791-4BD6-A5B0-2150AF1FFAC7"/>
  <p:tag name="MIO_LASTDOWNLOADED" val="14.01.2022 15:10:15"/>
  <p:tag name="MIO_OBJECTNAME" val="World map – Africa highlighted"/>
  <p:tag name="MIO_LASTEDITORNAME" val="Vera Pappelau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d179a96-c9ea-4ec4-b827-297f37a60fb4"/>
  <p:tag name="MIO_EKGUID" val="d7c70ff8-4fe2-4404-9e15-aa5b0712c12a"/>
  <p:tag name="MIO_UPDATE" val="True"/>
  <p:tag name="MIO_VERSION" val="18.08.2021 11:54:40"/>
  <p:tag name="MIO_DBID" val="D2ADB5CE-4791-4BD6-A5B0-2150AF1FFAC7"/>
  <p:tag name="MIO_LASTDOWNLOADED" val="14.01.2022 15:10:16"/>
  <p:tag name="MIO_OBJECTNAME" val="World map – Australia highlighted"/>
  <p:tag name="MIO_LASTEDITORNAME" val="Vera Pappelau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b66a54-6790-40fb-a850-c98c27e29687"/>
  <p:tag name="MIO_EKGUID" val="ec43c01d-cc5a-419f-82a5-91119d6806e7"/>
  <p:tag name="MIO_UPDATE" val="True"/>
  <p:tag name="MIO_VERSION" val="18.08.2021 11:46:36"/>
  <p:tag name="MIO_DBID" val="D2ADB5CE-4791-4BD6-A5B0-2150AF1FFAC7"/>
  <p:tag name="MIO_LASTDOWNLOADED" val="14.01.2022 15:10:43"/>
  <p:tag name="MIO_OBJECTNAME" val="Organisation Chart with three steps"/>
  <p:tag name="MIO_LASTEDITORNAME" val="Vera Pappelau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AAvgsioLgrkGOK3bfmU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7abf8c7-2a7e-47a5-a0e8-0d14183db346"/>
  <p:tag name="MIO_EKGUID" val="1f4c1b0a-805f-4f6f-9bc2-0883533b2bd6"/>
  <p:tag name="MIO_UPDATE" val="True"/>
  <p:tag name="MIO_VERSION" val="18.08.2021 11:46:40"/>
  <p:tag name="MIO_DBID" val="D2ADB5CE-4791-4BD6-A5B0-2150AF1FFAC7"/>
  <p:tag name="MIO_LASTDOWNLOADED" val="14.01.2022 15:10:44"/>
  <p:tag name="MIO_OBJECTNAME" val="Organisation Chart"/>
  <p:tag name="MIO_LASTEDITORNAME" val="Vera Pappelau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AAvgsioLgrkGOK3bfmU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3443e2-e84c-4695-b07c-aa8ecec9889f"/>
  <p:tag name="MIO_EKGUID" val="84cc028e-8566-48bd-ac8e-900f684e00aa"/>
  <p:tag name="MIO_UPDATE" val="True"/>
  <p:tag name="MIO_VERSION" val="18.08.2021 11:46:45"/>
  <p:tag name="MIO_DBID" val="D2ADB5CE-4791-4BD6-A5B0-2150AF1FFAC7"/>
  <p:tag name="MIO_LASTDOWNLOADED" val="14.01.2022 15:10:46"/>
  <p:tag name="MIO_OBJECTNAME" val="Two personal profiles"/>
  <p:tag name="MIO_LASTEDITORNAME" val="Vera Pappelau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rh3B2Z7dyG.b8PqoktR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3443e2-e84c-4695-b07c-aa8ecec9889f"/>
  <p:tag name="MIO_EKGUID" val="ddeffcab-6ce4-4200-b675-9d5c74afe98e"/>
  <p:tag name="MIO_UPDATE" val="True"/>
  <p:tag name="MIO_VERSION" val="18.08.2021 11:48:35"/>
  <p:tag name="MIO_DBID" val="D2ADB5CE-4791-4BD6-A5B0-2150AF1FFAC7"/>
  <p:tag name="MIO_LASTDOWNLOADED" val="14.01.2022 15:10:47"/>
  <p:tag name="MIO_OBJECTNAME" val="Segments with affiliation"/>
  <p:tag name="MIO_LASTEDITORNAME" val="Vera Pappelau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rh3B2Z7dyG.b8PqoktR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d76970-d849-49de-91e3-73f22b9a536f"/>
  <p:tag name="MIO_EKGUID" val="a9f0a428-94ff-4144-8e95-6faf016a3daf"/>
  <p:tag name="MIO_UPDATE" val="True"/>
  <p:tag name="MIO_VERSION" val="18.08.2021 11:48:38"/>
  <p:tag name="MIO_DBID" val="D2ADB5CE-4791-4BD6-A5B0-2150AF1FFAC7"/>
  <p:tag name="MIO_LASTDOWNLOADED" val="14.01.2022 15:10:48"/>
  <p:tag name="MIO_OBJECTNAME" val="Segments with affiliation (2)"/>
  <p:tag name="MIO_LASTEDITORNAME" val="Vera Pappelau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HRIDPmKMAngVnxNOM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d3c983e-a816-4fe9-a10e-d84b6f7f5c65"/>
  <p:tag name="MIO_EKGUID" val="63cb0b46-b13c-4893-8c36-7511dd283615"/>
  <p:tag name="MIO_UPDATE" val="True"/>
  <p:tag name="MIO_VERSION" val="26.11.2021 11:58:59"/>
  <p:tag name="MIO_DBID" val="D2ADB5CE-4791-4BD6-A5B0-2150AF1FFAC7"/>
  <p:tag name="MIO_LASTDOWNLOADED" val="14.01.2022 15:04:17"/>
  <p:tag name="MIO_OBJECTNAME" val="H2 Title Slide | Negative | 2 Lines"/>
  <p:tag name="MIO_LASTEDITORNAME" val="Alexander Maur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2c0a4fa-a5b4-4ab0-b66f-8c2c2f6cc61d"/>
  <p:tag name="MIO_EKGUID" val="cb1a3733-a93c-445b-a8ed-a5df4c6f3b0d"/>
  <p:tag name="MIO_UPDATE" val="True"/>
  <p:tag name="MIO_VERSION" val="18.08.2021 11:48:41"/>
  <p:tag name="MIO_DBID" val="D2ADB5CE-4791-4BD6-A5B0-2150AF1FFAC7"/>
  <p:tag name="MIO_LASTDOWNLOADED" val="14.01.2022 15:10:49"/>
  <p:tag name="MIO_OBJECTNAME" val="Pyramid with Text"/>
  <p:tag name="MIO_LASTEDITORNAME" val="Vera Pappelau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9rc8iElj9lyZtp08ob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900f23b-43a4-4836-a2eb-3d9ac54e4b2c"/>
  <p:tag name="MIO_EKGUID" val="64e8a226-638b-4da6-bccd-73714d263bce"/>
  <p:tag name="MIO_UPDATE" val="True"/>
  <p:tag name="MIO_VERSION" val="18.08.2021 11:48:44"/>
  <p:tag name="MIO_DBID" val="D2ADB5CE-4791-4BD6-A5B0-2150AF1FFAC7"/>
  <p:tag name="MIO_LASTDOWNLOADED" val="14.01.2022 15:10:50"/>
  <p:tag name="MIO_OBJECTNAME" val="Pyramid with Text (2)"/>
  <p:tag name="MIO_LASTEDITORNAME" val="Vera Pappelau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9rc8iElj9lyZtp08ob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bd6e0d-f6b6-4b08-8e10-c7f410bb31f2"/>
  <p:tag name="MIO_EKGUID" val="155462c7-a6dc-4c33-af42-d1f9adfc053c"/>
  <p:tag name="MIO_UPDATE" val="True"/>
  <p:tag name="MIO_VERSION" val="25.11.2021 15:30:01"/>
  <p:tag name="MIO_DBID" val="D2ADB5CE-4791-4BD6-A5B0-2150AF1FFAC7"/>
  <p:tag name="MIO_LASTDOWNLOADED" val="14.01.2022 15:10:53"/>
  <p:tag name="MIO_OBJECTNAME" val="Organisation chart with Icon (3 columns)"/>
  <p:tag name="MIO_LASTEDITORNAME" val="Alexander Maur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AAvgsioLgrkGOK3bfmU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defb0f-b8e8-4a9e-9842-d81e99f6a790"/>
  <p:tag name="MIO_EKGUID" val="c89213bf-7a1b-4581-a311-7291a0ec7e6d"/>
  <p:tag name="MIO_UPDATE" val="True"/>
  <p:tag name="MIO_VERSION" val="25.11.2021 15:30:06"/>
  <p:tag name="MIO_DBID" val="D2ADB5CE-4791-4BD6-A5B0-2150AF1FFAC7"/>
  <p:tag name="MIO_LASTDOWNLOADED" val="14.01.2022 15:10:55"/>
  <p:tag name="MIO_OBJECTNAME" val="Organisation chart with Icon (2/4 columns)"/>
  <p:tag name="MIO_LASTEDITORNAME" val="Alexander Maur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XS8Qw9fNJ5IKa34oEkv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a6a78ff-19d6-42c7-8a06-9c0554eb91f6"/>
  <p:tag name="MIO_EKGUID" val="58615e75-27f8-4939-a2c7-66ea0cb9eb6d"/>
  <p:tag name="MIO_UPDATE" val="True"/>
  <p:tag name="MIO_VERSION" val="25.11.2021 15:30:11"/>
  <p:tag name="MIO_DBID" val="D2ADB5CE-4791-4BD6-A5B0-2150AF1FFAC7"/>
  <p:tag name="MIO_LASTDOWNLOADED" val="14.01.2022 15:10:57"/>
  <p:tag name="MIO_OBJECTNAME" val="Organisation chart with Icon (3 columns - 3 layer hierarchy)"/>
  <p:tag name="MIO_LASTEDITORNAME" val="Alexander Maur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XS8Qw9fNJ5IKa34oEkv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0ffef3-fc8c-4bb2-a553-e985c075057e"/>
  <p:tag name="MIO_EKGUID" val="041e0dbc-69c8-421a-8079-4dddd57393eb"/>
  <p:tag name="MIO_UPDATE" val="True"/>
  <p:tag name="MIO_VERSION" val="25.11.2021 15:30:14"/>
  <p:tag name="MIO_DBID" val="D2ADB5CE-4791-4BD6-A5B0-2150AF1FFAC7"/>
  <p:tag name="MIO_LASTDOWNLOADED" val="14.01.2022 15:10:59"/>
  <p:tag name="MIO_OBJECTNAME" val="Organisation chart with Icon (no hierarchy"/>
  <p:tag name="MIO_LASTEDITORNAME" val="Alexander Maur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ca5bf8f-ee9a-4d36-be60-5040e0ea77fc"/>
  <p:tag name="MIO_EKGUID" val="012839ac-caa6-4b12-8cbc-b243237f8fdd"/>
  <p:tag name="MIO_UPDATE" val="True"/>
  <p:tag name="MIO_VERSION" val="26.11.2021 11:59:05"/>
  <p:tag name="MIO_DBID" val="D2ADB5CE-4791-4BD6-A5B0-2150AF1FFAC7"/>
  <p:tag name="MIO_LASTDOWNLOADED" val="14.01.2022 15:04:19"/>
  <p:tag name="MIO_OBJECTNAME" val="H2 Title Slide | Negative | 1 Line"/>
  <p:tag name="MIO_LASTEDITORNAME" val="Alexander Maur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XS8Qw9fNJ5IKa34oEkv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f786dc4-c197-45d4-ab0b-b8e8614f44c9"/>
  <p:tag name="MIO_EKGUID" val="ec5f5267-15d3-4527-9abd-ac64d6fe7dcf"/>
  <p:tag name="MIO_UPDATE" val="True"/>
  <p:tag name="MIO_VERSION" val="18.08.2021 11:49:40"/>
  <p:tag name="MIO_DBID" val="D2ADB5CE-4791-4BD6-A5B0-2150AF1FFAC7"/>
  <p:tag name="MIO_LASTDOWNLOADED" val="14.01.2022 15:11:26"/>
  <p:tag name="MIO_OBJECTNAME" val="Table without heading"/>
  <p:tag name="MIO_LASTEDITORNAME" val="Vera Pappelau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40e67da-f0f7-437e-b553-86645229dd8c"/>
  <p:tag name="MIO_EKGUID" val="f09f77fd-b292-4a6e-893d-337aa09a03b2"/>
  <p:tag name="MIO_UPDATE" val="True"/>
  <p:tag name="MIO_VERSION" val="18.08.2021 11:49:42"/>
  <p:tag name="MIO_DBID" val="D2ADB5CE-4791-4BD6-A5B0-2150AF1FFAC7"/>
  <p:tag name="MIO_LASTDOWNLOADED" val="14.01.2022 15:11:27"/>
  <p:tag name="MIO_OBJECTNAME" val="Table (1)"/>
  <p:tag name="MIO_LASTEDITORNAME" val="Vera Pappelau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27afdfb-a759-4fbc-8a1e-0c337f7aa9b3"/>
  <p:tag name="MIO_EKGUID" val="f541250b-7da4-494f-9f44-41f4311dc625"/>
  <p:tag name="MIO_UPDATE" val="True"/>
  <p:tag name="MIO_VERSION" val="18.08.2021 11:49:45"/>
  <p:tag name="MIO_DBID" val="D2ADB5CE-4791-4BD6-A5B0-2150AF1FFAC7"/>
  <p:tag name="MIO_LASTDOWNLOADED" val="14.01.2022 15:11:28"/>
  <p:tag name="MIO_OBJECTNAME" val="Table (2)"/>
  <p:tag name="MIO_LASTEDITORNAME" val="Vera Pappelau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a9c1cb-e042-4880-a3a1-cfc91a5bdff2"/>
  <p:tag name="MIO_EKGUID" val="1ae79687-13b8-42fc-bcf8-17af90dcc46c"/>
  <p:tag name="MIO_UPDATE" val="True"/>
  <p:tag name="MIO_VERSION" val="18.08.2021 11:49:48"/>
  <p:tag name="MIO_DBID" val="D2ADB5CE-4791-4BD6-A5B0-2150AF1FFAC7"/>
  <p:tag name="MIO_LASTDOWNLOADED" val="14.01.2022 15:11:29"/>
  <p:tag name="MIO_OBJECTNAME" val="Table with highlight"/>
  <p:tag name="MIO_LASTEDITORNAME" val="Vera Pappelau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8bf95d-f8c8-4ae8-a44e-7c1e84710b75"/>
  <p:tag name="MIO_EKGUID" val="cb5fcf9f-ba79-43eb-a28a-e43c806f1e44"/>
  <p:tag name="MIO_UPDATE" val="True"/>
  <p:tag name="MIO_VERSION" val="18.08.2021 11:49:51"/>
  <p:tag name="MIO_DBID" val="D2ADB5CE-4791-4BD6-A5B0-2150AF1FFAC7"/>
  <p:tag name="MIO_LASTDOWNLOADED" val="14.01.2022 15:11:31"/>
  <p:tag name="MIO_OBJECTNAME" val="Number table"/>
  <p:tag name="MIO_LASTEDITORNAME" val="Vera Pappelau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ce477d-e42e-4909-938d-98b7ea52f722"/>
  <p:tag name="MIO_EKGUID" val="148d5977-e552-4734-a81b-a9a474ab2932"/>
  <p:tag name="MIO_UPDATE" val="True"/>
  <p:tag name="MIO_VERSION" val="18.08.2021 11:49:54"/>
  <p:tag name="MIO_DBID" val="D2ADB5CE-4791-4BD6-A5B0-2150AF1FFAC7"/>
  <p:tag name="MIO_LASTDOWNLOADED" val="14.01.2022 15:11:32"/>
  <p:tag name="MIO_OBJECTNAME" val="Number table with highlight"/>
  <p:tag name="MIO_LASTEDITORNAME" val="Vera Pappelau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9823959-969e-4da3-a01a-6da4ff8d540a"/>
  <p:tag name="MIO_EKGUID" val="4bb98c62-97e6-4cd4-9101-b419b8b3ec06"/>
  <p:tag name="MIO_UPDATE" val="True"/>
  <p:tag name="MIO_VERSION" val="18.08.2021 11:49:57"/>
  <p:tag name="MIO_DBID" val="D2ADB5CE-4791-4BD6-A5B0-2150AF1FFAC7"/>
  <p:tag name="MIO_LASTDOWNLOADED" val="14.01.2022 15:11:33"/>
  <p:tag name="MIO_OBJECTNAME" val="Table with rating (squares)"/>
  <p:tag name="MIO_LASTEDITORNAME" val="Vera Pappelau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88f6a90-8ec0-4985-8b2a-c491ec3335c2"/>
  <p:tag name="MIO_EKGUID" val="c8289b04-9176-451f-959b-62ae1e7868b4"/>
  <p:tag name="MIO_UPDATE" val="True"/>
  <p:tag name="MIO_VERSION" val="26.11.2021 11:59:10"/>
  <p:tag name="MIO_DBID" val="D2ADB5CE-4791-4BD6-A5B0-2150AF1FFAC7"/>
  <p:tag name="MIO_LASTDOWNLOADED" val="14.01.2022 15:04:21"/>
  <p:tag name="MIO_OBJECTNAME" val="H2 Title Slide | Poitive | 2 Lines"/>
  <p:tag name="MIO_LASTEDITORNAME" val="Alexander Maur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9oeI2I2Sj5igTFLQqPJ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3b9c28-1158-4654-9f9c-6f0e5ae02272"/>
  <p:tag name="MIO_EKGUID" val="a62583a2-056d-4c95-ba1a-24b2b00d55a5"/>
  <p:tag name="MIO_UPDATE" val="True"/>
  <p:tag name="MIO_VERSION" val="18.08.2021 11:42:05"/>
  <p:tag name="MIO_DBID" val="D2ADB5CE-4791-4BD6-A5B0-2150AF1FFAC7"/>
  <p:tag name="MIO_LASTDOWNLOADED" val="14.01.2022 15:11:51"/>
  <p:tag name="MIO_OBJECTNAME" val="Texts with icons (1)"/>
  <p:tag name="MIO_LASTEDITORNAME" val="Vera Pappelau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tATmsjDEGS6Mapvj6Df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0698754-7ce5-4d79-9a8d-62ccf8920dba"/>
  <p:tag name="MIO_EKGUID" val="bbe5ca7d-d610-4000-b67e-732b29c05d77"/>
  <p:tag name="MIO_UPDATE" val="True"/>
  <p:tag name="MIO_VERSION" val="18.08.2021 11:42:07"/>
  <p:tag name="MIO_DBID" val="D2ADB5CE-4791-4BD6-A5B0-2150AF1FFAC7"/>
  <p:tag name="MIO_LASTDOWNLOADED" val="14.01.2022 15:11:52"/>
  <p:tag name="MIO_OBJECTNAME" val="Texts with icons (2)"/>
  <p:tag name="MIO_LASTEDITORNAME" val="Vera Pappelau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tATmsjDEGS6Mapvj6Df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826534f-bd8f-4634-80e0-13d36af0dec7"/>
  <p:tag name="MIO_EKGUID" val="bb7b50dd-517b-47a0-a4ab-5fc79005968e"/>
  <p:tag name="MIO_UPDATE" val="True"/>
  <p:tag name="MIO_VERSION" val="18.08.2021 11:42:10"/>
  <p:tag name="MIO_DBID" val="D2ADB5CE-4791-4BD6-A5B0-2150AF1FFAC7"/>
  <p:tag name="MIO_LASTDOWNLOADED" val="14.01.2022 15:11:53"/>
  <p:tag name="MIO_OBJECTNAME" val="Texts with icons (3)"/>
  <p:tag name="MIO_LASTEDITORNAME" val="Vera Pappelau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Bngvq3LVnQuTG47Gnh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d6d8c2-54bb-4f98-8937-fd387874d69d"/>
  <p:tag name="MIO_EKGUID" val="65b6c49b-7239-4ba7-952b-463d01665b84"/>
  <p:tag name="MIO_UPDATE" val="True"/>
  <p:tag name="MIO_VERSION" val="26.11.2021 11:59:17"/>
  <p:tag name="MIO_DBID" val="D2ADB5CE-4791-4BD6-A5B0-2150AF1FFAC7"/>
  <p:tag name="MIO_LASTDOWNLOADED" val="14.01.2022 15:04:24"/>
  <p:tag name="MIO_OBJECTNAME" val="H2 Title Slide | Positive | 1 Line"/>
  <p:tag name="MIO_LASTEDITORNAME" val="Alexander Maur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bfa2d8-d640-4c04-a495-c1def41347dc"/>
  <p:tag name="MIO_EKGUID" val="76258618-33d6-4ec9-955d-ab62d5381ed6"/>
  <p:tag name="MIO_UPDATE" val="True"/>
  <p:tag name="MIO_VERSION" val="18.08.2021 11:42:13"/>
  <p:tag name="MIO_DBID" val="D2ADB5CE-4791-4BD6-A5B0-2150AF1FFAC7"/>
  <p:tag name="MIO_LASTDOWNLOADED" val="14.01.2022 15:11:55"/>
  <p:tag name="MIO_OBJECTNAME" val="Three phases  with vertical image"/>
  <p:tag name="MIO_LASTEDITORNAME" val="Vera Pappelau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Suf1wkI5tvVH7GbvkpL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a57462-e25e-4957-b310-5d13d26c4893"/>
  <p:tag name="MIO_EKGUID" val="330196e5-6cc7-4f99-9ab5-1f4ae831e3d6"/>
  <p:tag name="MIO_UPDATE" val="True"/>
  <p:tag name="MIO_VERSION" val="18.08.2021 11:42:16"/>
  <p:tag name="MIO_DBID" val="D2ADB5CE-4791-4BD6-A5B0-2150AF1FFAC7"/>
  <p:tag name="MIO_LASTDOWNLOADED" val="14.01.2022 15:11:56"/>
  <p:tag name="MIO_OBJECTNAME" val="Four phases with horizontal image"/>
  <p:tag name="MIO_LASTEDITORNAME" val="Vera Pappelau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VthvGRbeei7flDD5hh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34f102-f4c2-490a-931a-c6fd75cec269"/>
  <p:tag name="MIO_EKGUID" val="ceb5729a-3fbd-47cb-9f59-5391596da8a5"/>
  <p:tag name="MIO_UPDATE" val="True"/>
  <p:tag name="MIO_VERSION" val="18.08.2021 11:42:20"/>
  <p:tag name="MIO_DBID" val="D2ADB5CE-4791-4BD6-A5B0-2150AF1FFAC7"/>
  <p:tag name="MIO_LASTDOWNLOADED" val="14.01.2022 15:11:57"/>
  <p:tag name="MIO_OBJECTNAME" val="Four phases with horizontal image (2)"/>
  <p:tag name="MIO_LASTEDITORNAME" val="Vera Pappelau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VthvGRbeei7flDD5hh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c625214-8acf-449f-9704-e57f1f5d2520"/>
  <p:tag name="MIO_EKGUID" val="949af0db-b351-481b-b297-5514b6d5d062"/>
  <p:tag name="MIO_UPDATE" val="True"/>
  <p:tag name="MIO_VERSION" val="18.08.2021 11:42:24"/>
  <p:tag name="MIO_DBID" val="D2ADB5CE-4791-4BD6-A5B0-2150AF1FFAC7"/>
  <p:tag name="MIO_LASTDOWNLOADED" val="14.01.2022 15:11:58"/>
  <p:tag name="MIO_OBJECTNAME" val="Three text boxes with conclusion"/>
  <p:tag name="MIO_LASTEDITORNAME" val="Vera Pappelau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18ATwwrnxEU0kIlvO_l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4abc7c-7eb7-4b92-96ac-c9beab1a0868"/>
  <p:tag name="MIO_EKGUID" val="fc11b4aa-a91b-48f3-9d9c-bd88c6fd5cef"/>
  <p:tag name="MIO_UPDATE" val="True"/>
  <p:tag name="MIO_VERSION" val="18.08.2021 11:42:26"/>
  <p:tag name="MIO_DBID" val="D2ADB5CE-4791-4BD6-A5B0-2150AF1FFAC7"/>
  <p:tag name="MIO_LASTDOWNLOADED" val="14.01.2022 15:12:00"/>
  <p:tag name="MIO_OBJECTNAME" val="Three text boxes with conclusion (2)"/>
  <p:tag name="MIO_LASTEDITORNAME" val="Vera Pappelau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ddc65e-331b-40b6-814e-0b3ddb47ef83"/>
  <p:tag name="MIO_EKGUID" val="4b073c91-1ece-467e-a8c9-dd74a587a706"/>
  <p:tag name="MIO_UPDATE" val="True"/>
  <p:tag name="MIO_VERSION" val="18.08.2021 11:31:35"/>
  <p:tag name="MIO_DBID" val="D2ADB5CE-4791-4BD6-A5B0-2150AF1FFAC7"/>
  <p:tag name="MIO_LASTDOWNLOADED" val="14.01.2022 15:04:25"/>
  <p:tag name="MIO_OBJECTNAME" val="Agenda Slide | Long with Subchapter"/>
  <p:tag name="MIO_LASTEDITORNAME" val="Vera Pappelau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18ATwwrnxEU0kIlvO_l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c6dbb4-ed1e-49cd-aa86-1fd0a1fe439d"/>
  <p:tag name="MIO_EKGUID" val="348f03b4-b2e0-4390-8aa0-4a7c1007d559"/>
  <p:tag name="MIO_UPDATE" val="True"/>
  <p:tag name="MIO_VERSION" val="18.08.2021 11:42:29"/>
  <p:tag name="MIO_DBID" val="D2ADB5CE-4791-4BD6-A5B0-2150AF1FFAC7"/>
  <p:tag name="MIO_LASTDOWNLOADED" val="14.01.2022 15:12:01"/>
  <p:tag name="MIO_OBJECTNAME" val="2x2 text boxes"/>
  <p:tag name="MIO_LASTEDITORNAME" val="Vera Pappelau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i3HOFM05HqRX42obBAx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0ee2b3-f50a-4ad0-8755-c427b7b95972"/>
  <p:tag name="MIO_EKGUID" val="72f30f0f-48f7-44dc-b96a-069f87c75818"/>
  <p:tag name="MIO_UPDATE" val="True"/>
  <p:tag name="MIO_VERSION" val="18.08.2021 11:42:32"/>
  <p:tag name="MIO_DBID" val="D2ADB5CE-4791-4BD6-A5B0-2150AF1FFAC7"/>
  <p:tag name="MIO_LASTDOWNLOADED" val="14.01.2022 15:12:02"/>
  <p:tag name="MIO_OBJECTNAME" val="3x2 text boxes"/>
  <p:tag name="MIO_LASTEDITORNAME" val="Vera Pappelau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15azFch097eaulNKJ23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9fd6f5a-df90-4df9-b740-b4a75af5ddad"/>
  <p:tag name="MIO_EKGUID" val="c5a755e2-edd8-4a6a-ba23-99a68e5e5536"/>
  <p:tag name="MIO_UPDATE" val="True"/>
  <p:tag name="MIO_VERSION" val="18.08.2021 11:42:34"/>
  <p:tag name="MIO_DBID" val="D2ADB5CE-4791-4BD6-A5B0-2150AF1FFAC7"/>
  <p:tag name="MIO_LASTDOWNLOADED" val="14.01.2022 15:12:03"/>
  <p:tag name="MIO_OBJECTNAME" val="Three facts"/>
  <p:tag name="MIO_LASTEDITORNAME" val="Vera Pappelau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VRnBY6NHBM0BtlVvWaF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b617c9f-711b-43dc-81a7-bf4ad88693c8"/>
  <p:tag name="MIO_EKGUID" val="4565ab53-3c1d-4419-8f96-4bc6a630d85e"/>
  <p:tag name="MIO_UPDATE" val="True"/>
  <p:tag name="MIO_VERSION" val="18.08.2021 11:42:37"/>
  <p:tag name="MIO_DBID" val="D2ADB5CE-4791-4BD6-A5B0-2150AF1FFAC7"/>
  <p:tag name="MIO_LASTDOWNLOADED" val="14.01.2022 15:12:05"/>
  <p:tag name="MIO_OBJECTNAME" val="Numbered list"/>
  <p:tag name="MIO_LASTEDITORNAME" val="Vera Pappelau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gC1yOlNCP.Tput0Tg5Y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2947b00-fae5-47be-912f-fa1b922923fe"/>
  <p:tag name="MIO_EKGUID" val="320a9d45-5af6-4be4-ba7e-20f6618d4785"/>
  <p:tag name="MIO_UPDATE" val="True"/>
  <p:tag name="MIO_VERSION" val="18.08.2021 11:42:40"/>
  <p:tag name="MIO_DBID" val="D2ADB5CE-4791-4BD6-A5B0-2150AF1FFAC7"/>
  <p:tag name="MIO_LASTDOWNLOADED" val="14.01.2022 15:12:06"/>
  <p:tag name="MIO_OBJECTNAME" val="Numbered list (2)"/>
  <p:tag name="MIO_LASTEDITORNAME" val="Vera Pappelau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gC1yOlNCP.Tput0Tg5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5d0d02-0117-44ff-8b6e-cb717d79f384"/>
  <p:tag name="MIO_EKGUID" val="4053a279-1da4-4389-84ff-dc4dca080a93"/>
  <p:tag name="MIO_UPDATE" val="True"/>
  <p:tag name="MIO_VERSION" val="18.08.2021 11:31:38"/>
  <p:tag name="MIO_DBID" val="D2ADB5CE-4791-4BD6-A5B0-2150AF1FFAC7"/>
  <p:tag name="MIO_LASTDOWNLOADED" val="14.01.2022 15:04:26"/>
  <p:tag name="MIO_OBJECTNAME" val="Agenda Slide | Long with Time, Name &amp; Page"/>
  <p:tag name="MIO_LASTEDITORNAME" val="Vera Pappelau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947bcaa-e7e2-4871-ae58-41332803bb2d"/>
  <p:tag name="MIO_EKGUID" val="2b2ea738-3a76-4ec8-ba61-670ff64a925b"/>
  <p:tag name="MIO_UPDATE" val="True"/>
  <p:tag name="MIO_VERSION" val="18.08.2021 11:42:42"/>
  <p:tag name="MIO_DBID" val="D2ADB5CE-4791-4BD6-A5B0-2150AF1FFAC7"/>
  <p:tag name="MIO_LASTDOWNLOADED" val="14.01.2022 15:12:07"/>
  <p:tag name="MIO_OBJECTNAME" val="Numbered list (3)"/>
  <p:tag name="MIO_LASTEDITORNAME" val="Vera Pappelau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st_11mDNMiJBdXNKOli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0682fa-bc65-4459-8566-e165f1f6dd37"/>
  <p:tag name="MIO_EKGUID" val="92c7e079-b100-4e15-a517-401043bfb6a7"/>
  <p:tag name="MIO_UPDATE" val="True"/>
  <p:tag name="MIO_VERSION" val="18.08.2021 11:42:45"/>
  <p:tag name="MIO_DBID" val="D2ADB5CE-4791-4BD6-A5B0-2150AF1FFAC7"/>
  <p:tag name="MIO_LASTDOWNLOADED" val="14.01.2022 15:12:08"/>
  <p:tag name="MIO_OBJECTNAME" val="Six text boxes with numbers"/>
  <p:tag name="MIO_LASTEDITORNAME" val="Vera Pappelau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RMt9gefpQitrsGuLomb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db23580-359c-49c2-a707-bf78470bf80c"/>
  <p:tag name="MIO_EKGUID" val="d0c4fbde-dc32-4ef1-9ca1-e74a62a5cf2d"/>
  <p:tag name="MIO_UPDATE" val="True"/>
  <p:tag name="MIO_VERSION" val="18.08.2021 11:42:47"/>
  <p:tag name="MIO_DBID" val="D2ADB5CE-4791-4BD6-A5B0-2150AF1FFAC7"/>
  <p:tag name="MIO_LASTDOWNLOADED" val="14.01.2022 15:12:10"/>
  <p:tag name="MIO_OBJECTNAME" val="Four key messages"/>
  <p:tag name="MIO_LASTEDITORNAME" val="Vera Pappelau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FG0MmtCTNg3r1GC0Wgx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b4fab7-807c-43d0-b09a-502907b4a693"/>
  <p:tag name="MIO_EKGUID" val="af808233-edcd-4020-80c3-2932c99cb833"/>
  <p:tag name="MIO_UPDATE" val="True"/>
  <p:tag name="MIO_VERSION" val="18.08.2021 11:53:34"/>
  <p:tag name="MIO_DBID" val="D2ADB5CE-4791-4BD6-A5B0-2150AF1FFAC7"/>
  <p:tag name="MIO_LASTDOWNLOADED" val="14.01.2022 15:12:12"/>
  <p:tag name="MIO_OBJECTNAME" val="Combs with coloured sections"/>
  <p:tag name="MIO_LASTEDITORNAME" val="Vera Pappelau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eg94u_LfB7Tokwe78g1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267a63-1746-4b0c-ac10-58a92d607b60"/>
  <p:tag name="MIO_EKGUID" val="1b75f606-d838-443f-88fa-0489d17120d2"/>
  <p:tag name="MIO_UPDATE" val="True"/>
  <p:tag name="MIO_VERSION" val="18.08.2021 11:53:38"/>
  <p:tag name="MIO_DBID" val="D2ADB5CE-4791-4BD6-A5B0-2150AF1FFAC7"/>
  <p:tag name="MIO_LASTDOWNLOADED" val="14.01.2022 15:12:13"/>
  <p:tag name="MIO_OBJECTNAME" val="Influences on the inner box"/>
  <p:tag name="MIO_LASTEDITORNAME" val="Vera Pappelau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CPT5O8yRy1i7pXp6Of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ff4058-48e3-44b8-84d9-3f14d558cb0d"/>
  <p:tag name="MIO_EKGUID" val="fa2d2125-b252-438c-afc5-5dc6c8e11d97"/>
  <p:tag name="MIO_UPDATE" val="True"/>
  <p:tag name="MIO_VERSION" val="18.08.2021 14:35:09"/>
  <p:tag name="MIO_DBID" val="D2ADB5CE-4791-4BD6-A5B0-2150AF1FFAC7"/>
  <p:tag name="MIO_LASTDOWNLOADED" val="14.01.2022 15:04:00"/>
  <p:tag name="MIO_OBJECTNAME" val="Title Slide Left | Picture | 4 Lines"/>
  <p:tag name="MIO_LASTEDITORNAME" val="Vera Pappelau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71492-ad04-4afa-b718-44a12840c686"/>
  <p:tag name="MIO_EKGUID" val="fe3eb24b-1975-4dc4-aacf-9c669a952ebb"/>
  <p:tag name="MIO_UPDATE" val="True"/>
  <p:tag name="MIO_VERSION" val="18.08.2021 14:27:54"/>
  <p:tag name="MIO_DBID" val="D2ADB5CE-4791-4BD6-A5B0-2150AF1FFAC7"/>
  <p:tag name="MIO_LASTDOWNLOADED" val="18.08.2021 14:34:27"/>
  <p:tag name="MIO_OBJECTNAME" val="Title Slide Image (2)"/>
  <p:tag name="MIO_LASTEDITORNAME" val="Vera Pappelau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fe5e2d3-8289-447d-894c-d2c03dbf91e5"/>
  <p:tag name="MIO_EKGUID" val="37a9ca94-ad5c-4277-8d5f-93a88c2b6b93"/>
  <p:tag name="MIO_UPDATE" val="True"/>
  <p:tag name="MIO_VERSION" val="18.08.2021 11:31:41"/>
  <p:tag name="MIO_DBID" val="D2ADB5CE-4791-4BD6-A5B0-2150AF1FFAC7"/>
  <p:tag name="MIO_LASTDOWNLOADED" val="14.01.2022 15:04:28"/>
  <p:tag name="MIO_OBJECTNAME" val="Agenda Slide | Long with Chapter highlighted"/>
  <p:tag name="MIO_LASTEDITORNAME" val="Vera Pappelau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LIEBHERR">
  <a:themeElements>
    <a:clrScheme name="Liebherr final">
      <a:dk1>
        <a:srgbClr val="000000"/>
      </a:dk1>
      <a:lt1>
        <a:srgbClr val="FFFFFF"/>
      </a:lt1>
      <a:dk2>
        <a:srgbClr val="003057"/>
      </a:dk2>
      <a:lt2>
        <a:srgbClr val="FFD000"/>
      </a:lt2>
      <a:accent1>
        <a:srgbClr val="E5E8ED"/>
      </a:accent1>
      <a:accent2>
        <a:srgbClr val="BDC4CA"/>
      </a:accent2>
      <a:accent3>
        <a:srgbClr val="888E94"/>
      </a:accent3>
      <a:accent4>
        <a:srgbClr val="6B7278"/>
      </a:accent4>
      <a:accent5>
        <a:srgbClr val="51585D"/>
      </a:accent5>
      <a:accent6>
        <a:srgbClr val="3A4046"/>
      </a:accent6>
      <a:hlink>
        <a:srgbClr val="3A4046"/>
      </a:hlink>
      <a:folHlink>
        <a:srgbClr val="3A4046"/>
      </a:folHlink>
    </a:clrScheme>
    <a:fontScheme name="Liebherr Head Office Black | Text Office">
      <a:majorFont>
        <a:latin typeface="Liebherr Head Office"/>
        <a:ea typeface=""/>
        <a:cs typeface=""/>
      </a:majorFont>
      <a:minorFont>
        <a:latin typeface="Liebherr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lIns="108000" tIns="108000" rIns="108000" bIns="108000" rtlCol="0" anchor="ctr"/>
      <a:lstStyle>
        <a:defPPr algn="ctr">
          <a:lnSpc>
            <a:spcPct val="120000"/>
          </a:lnSpc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 marL="216000" indent="-216000" algn="l">
          <a:lnSpc>
            <a:spcPct val="120000"/>
          </a:lnSpc>
          <a:spcBef>
            <a:spcPts val="600"/>
          </a:spcBef>
          <a:buFont typeface="Arial" panose="020B0604020202020204" pitchFamily="34" charset="0"/>
          <a:buChar char="–"/>
          <a:defRPr dirty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uccess">
      <a:srgbClr val="43A017"/>
    </a:custClr>
    <a:custClr name="Success Light">
      <a:srgbClr val="73D95F"/>
    </a:custClr>
    <a:custClr name="Warning Light">
      <a:srgbClr val="FF7070"/>
    </a:custClr>
    <a:custClr name="Warning">
      <a:srgbClr val="E52828"/>
    </a:custClr>
    <a:custClr name="Steel 10">
      <a:srgbClr val="F0F3F6"/>
    </a:custClr>
    <a:custClr name="Steel 20">
      <a:srgbClr val="E5E8ED"/>
    </a:custClr>
    <a:custClr name="Steel 30">
      <a:srgbClr val="D3D8DD"/>
    </a:custClr>
    <a:custClr name="Steel 40">
      <a:srgbClr val="BDC4CA"/>
    </a:custClr>
    <a:custClr name="Steel 50">
      <a:srgbClr val="9EA4AB"/>
    </a:custClr>
    <a:custClr name="Steel 60">
      <a:srgbClr val="888E94"/>
    </a:custClr>
    <a:custClr name="Steel 70">
      <a:srgbClr val="6B7278"/>
    </a:custClr>
    <a:custClr name="Steel 80">
      <a:srgbClr val="51585D"/>
    </a:custClr>
    <a:custClr name="Steel 90">
      <a:srgbClr val="3A4046"/>
    </a:custClr>
    <a:custClr name="Liebherr Black">
      <a:srgbClr val="1A1919"/>
    </a:custClr>
    <a:custClr name="Clay Light">
      <a:srgbClr val="F89939"/>
    </a:custClr>
    <a:custClr name="Slate Light">
      <a:srgbClr val="8BB2C2"/>
    </a:custClr>
    <a:custClr name="Terra Light">
      <a:srgbClr val="D1B795"/>
    </a:custClr>
    <a:custClr name="Leaf Light">
      <a:srgbClr val="5DBF90"/>
    </a:custClr>
    <a:custClr name="Ruby Light">
      <a:srgbClr val="F56E7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">
      <a:srgbClr val="EB6F24"/>
    </a:custClr>
    <a:custClr name="Slate">
      <a:srgbClr val="5789A4"/>
    </a:custClr>
    <a:custClr name="Terra">
      <a:srgbClr val="AA8D6D"/>
    </a:custClr>
    <a:custClr name="Leaf">
      <a:srgbClr val="2EA675"/>
    </a:custClr>
    <a:custClr name="Ruby">
      <a:srgbClr val="E3485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 Dark">
      <a:srgbClr val="AF542E"/>
    </a:custClr>
    <a:custClr name="Slate Dark">
      <a:srgbClr val="3B6579"/>
    </a:custClr>
    <a:custClr name="Terra Dark">
      <a:srgbClr val="846554"/>
    </a:custClr>
    <a:custClr name="Leaf Dark">
      <a:srgbClr val="33825E"/>
    </a:custClr>
    <a:custClr name="Ruby Dark">
      <a:srgbClr val="AD0B3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ebherr PowerPoint master slides_Customizing.potx" id="{5F00CEE7-861A-4B4E-A0CD-7ACCDF6D57B4}" vid="{32BC0082-7953-4148-8A0E-CF892D395756}"/>
    </a:ext>
  </a:extLst>
</a:theme>
</file>

<file path=ppt/theme/theme2.xml><?xml version="1.0" encoding="utf-8"?>
<a:theme xmlns:a="http://schemas.openxmlformats.org/drawingml/2006/main" name="Office">
  <a:themeElements>
    <a:clrScheme name="Liebherr final">
      <a:dk1>
        <a:srgbClr val="000000"/>
      </a:dk1>
      <a:lt1>
        <a:srgbClr val="FFFFFF"/>
      </a:lt1>
      <a:dk2>
        <a:srgbClr val="003057"/>
      </a:dk2>
      <a:lt2>
        <a:srgbClr val="FFD000"/>
      </a:lt2>
      <a:accent1>
        <a:srgbClr val="E5E8ED"/>
      </a:accent1>
      <a:accent2>
        <a:srgbClr val="BDC4CA"/>
      </a:accent2>
      <a:accent3>
        <a:srgbClr val="888E94"/>
      </a:accent3>
      <a:accent4>
        <a:srgbClr val="6B7278"/>
      </a:accent4>
      <a:accent5>
        <a:srgbClr val="51585D"/>
      </a:accent5>
      <a:accent6>
        <a:srgbClr val="3A4046"/>
      </a:accent6>
      <a:hlink>
        <a:srgbClr val="3A4046"/>
      </a:hlink>
      <a:folHlink>
        <a:srgbClr val="3A4046"/>
      </a:folHlink>
    </a:clrScheme>
    <a:fontScheme name="Liebherr Head Office Black | Text Office">
      <a:majorFont>
        <a:latin typeface="Liebherr Head Office"/>
        <a:ea typeface=""/>
        <a:cs typeface=""/>
      </a:majorFont>
      <a:minorFont>
        <a:latin typeface="Liebherr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Liebherr final">
      <a:dk1>
        <a:srgbClr val="000000"/>
      </a:dk1>
      <a:lt1>
        <a:srgbClr val="FFFFFF"/>
      </a:lt1>
      <a:dk2>
        <a:srgbClr val="003057"/>
      </a:dk2>
      <a:lt2>
        <a:srgbClr val="FFD000"/>
      </a:lt2>
      <a:accent1>
        <a:srgbClr val="E5E8ED"/>
      </a:accent1>
      <a:accent2>
        <a:srgbClr val="BDC4CA"/>
      </a:accent2>
      <a:accent3>
        <a:srgbClr val="888E94"/>
      </a:accent3>
      <a:accent4>
        <a:srgbClr val="6B7278"/>
      </a:accent4>
      <a:accent5>
        <a:srgbClr val="51585D"/>
      </a:accent5>
      <a:accent6>
        <a:srgbClr val="3A4046"/>
      </a:accent6>
      <a:hlink>
        <a:srgbClr val="3A4046"/>
      </a:hlink>
      <a:folHlink>
        <a:srgbClr val="3A4046"/>
      </a:folHlink>
    </a:clrScheme>
    <a:fontScheme name="Liebherr Head Office Black | Text Office">
      <a:majorFont>
        <a:latin typeface="Liebherr Head Office"/>
        <a:ea typeface=""/>
        <a:cs typeface=""/>
      </a:majorFont>
      <a:minorFont>
        <a:latin typeface="Liebherr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ebherr PowerPoint master slides_Customizing</Template>
  <TotalTime>0</TotalTime>
  <Words>6946</Words>
  <Application>Microsoft Office PowerPoint</Application>
  <PresentationFormat>Widescreen</PresentationFormat>
  <Paragraphs>1701</Paragraphs>
  <Slides>136</Slides>
  <Notes>13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6</vt:i4>
      </vt:variant>
    </vt:vector>
  </HeadingPairs>
  <TitlesOfParts>
    <vt:vector size="143" baseType="lpstr">
      <vt:lpstr>Arial</vt:lpstr>
      <vt:lpstr>Liebherr Head Office</vt:lpstr>
      <vt:lpstr>Liebherr Text Office</vt:lpstr>
      <vt:lpstr>Geneva</vt:lpstr>
      <vt:lpstr>Open Sans Extrabold</vt:lpstr>
      <vt:lpstr>LIEBHERR</vt:lpstr>
      <vt:lpstr>think-cell Folie</vt:lpstr>
      <vt:lpstr>Title of the presentation in Liebherr Head Black</vt:lpstr>
      <vt:lpstr>This is the title of the presentation</vt:lpstr>
      <vt:lpstr>Title of the presentation</vt:lpstr>
      <vt:lpstr>One-line title</vt:lpstr>
      <vt:lpstr>Title of the presentation in Liebherr Head Black</vt:lpstr>
      <vt:lpstr>This is the title of the presentation</vt:lpstr>
      <vt:lpstr>Title of the presentation</vt:lpstr>
      <vt:lpstr>One-line title</vt:lpstr>
      <vt:lpstr>Title of the presentation  in Liebherr Head Black</vt:lpstr>
      <vt:lpstr>This is the  title of the presentation </vt:lpstr>
      <vt:lpstr>Title of the presentation </vt:lpstr>
      <vt:lpstr>Title slide with no descriptor</vt:lpstr>
      <vt:lpstr>Presentation title in Liebherr Head Black</vt:lpstr>
      <vt:lpstr>Presentation title, 1-line</vt:lpstr>
      <vt:lpstr>Presentation title in Liebherr Head Black</vt:lpstr>
      <vt:lpstr>Presentation title, 1-line</vt:lpstr>
      <vt:lpstr>Agenda long</vt:lpstr>
      <vt:lpstr>Agenda long</vt:lpstr>
      <vt:lpstr>Agenda long</vt:lpstr>
      <vt:lpstr>Agenda short</vt:lpstr>
      <vt:lpstr>00 Name of chapter Maximum two lines</vt:lpstr>
      <vt:lpstr>00 Name of chapter, one line</vt:lpstr>
      <vt:lpstr>00 Name of chapter Maximum two lines</vt:lpstr>
      <vt:lpstr>00 Name of chapter Maximum two lines</vt:lpstr>
      <vt:lpstr>Headline in Liebherr Head Black 28pt </vt:lpstr>
      <vt:lpstr>Headline in Liebherr Head Black 28pt </vt:lpstr>
      <vt:lpstr>Headline in Liebherr Head Black 28pt </vt:lpstr>
      <vt:lpstr>Headline in Liebherr Head Black 28pt </vt:lpstr>
      <vt:lpstr>Headline in Liebherr Head Black 28pt </vt:lpstr>
      <vt:lpstr>Liebherr Head Black 28pt </vt:lpstr>
      <vt:lpstr>Liebherr Head Black</vt:lpstr>
      <vt:lpstr>Headline in Liebherr Head Black 28pt </vt:lpstr>
      <vt:lpstr>Headline in Liebherr Head Black 28pt </vt:lpstr>
      <vt:lpstr>Liebherr Head Black 28pt </vt:lpstr>
      <vt:lpstr>Liebherr Head Black</vt:lpstr>
      <vt:lpstr>PowerPoint Presentation</vt:lpstr>
      <vt:lpstr>PowerPoint Presentation</vt:lpstr>
      <vt:lpstr>PowerPoint Presentation</vt:lpstr>
      <vt:lpstr>PowerPoint Presentation</vt:lpstr>
      <vt:lpstr>00 Name of chapter (on colour) in two lines</vt:lpstr>
      <vt:lpstr>00 Name of chapter, one line</vt:lpstr>
      <vt:lpstr>Headline in Liebherr Head Black 28pt, on colour with H2 bar</vt:lpstr>
      <vt:lpstr>Headline in Liebherr Head Black 28pt, on colour without H2 bar</vt:lpstr>
      <vt:lpstr>PowerPoint Presentation</vt:lpstr>
      <vt:lpstr>Thank you.</vt:lpstr>
      <vt:lpstr>Thank you 3 lines.</vt:lpstr>
      <vt:lpstr>Thank you in 4 lines.</vt:lpstr>
      <vt:lpstr>Thank you.</vt:lpstr>
      <vt:lpstr>Thank you 3 lines.</vt:lpstr>
      <vt:lpstr>Thank you in 4 lines.</vt:lpstr>
      <vt:lpstr>Thank you.</vt:lpstr>
      <vt:lpstr>Thank you 3 lines.</vt:lpstr>
      <vt:lpstr>Thank you in 4 lines.</vt:lpstr>
      <vt:lpstr>Contact us</vt:lpstr>
      <vt:lpstr>Bar chart</vt:lpstr>
      <vt:lpstr>Bar chart</vt:lpstr>
      <vt:lpstr>Bar chart</vt:lpstr>
      <vt:lpstr>Column-line chart</vt:lpstr>
      <vt:lpstr>Column-line chart</vt:lpstr>
      <vt:lpstr>Bar chart</vt:lpstr>
      <vt:lpstr>Line chart</vt:lpstr>
      <vt:lpstr>Line chart</vt:lpstr>
      <vt:lpstr>Pie chart</vt:lpstr>
      <vt:lpstr>Pie chart</vt:lpstr>
      <vt:lpstr>Doughnut chart</vt:lpstr>
      <vt:lpstr>Doughnut chart</vt:lpstr>
      <vt:lpstr>Headline in Liebherr Head Black 28pt </vt:lpstr>
      <vt:lpstr>Two personal profiles</vt:lpstr>
      <vt:lpstr>Segments with affiliation</vt:lpstr>
      <vt:lpstr>Pyramid with Text</vt:lpstr>
      <vt:lpstr>Pyramid with Text</vt:lpstr>
      <vt:lpstr>Photo with copy aside</vt:lpstr>
      <vt:lpstr>Photo with copy aside</vt:lpstr>
      <vt:lpstr>Photo with copy aside</vt:lpstr>
      <vt:lpstr>Four numbered text boxes with photo</vt:lpstr>
      <vt:lpstr>Four numbered text boxes with photo</vt:lpstr>
      <vt:lpstr>Four text boxes with photo</vt:lpstr>
      <vt:lpstr>Four text boxes with photo</vt:lpstr>
      <vt:lpstr>Laptop screen</vt:lpstr>
      <vt:lpstr>Computer screen</vt:lpstr>
      <vt:lpstr>Smartphone screen</vt:lpstr>
      <vt:lpstr>Smartphone screen</vt:lpstr>
      <vt:lpstr>Schematic diagram elements</vt:lpstr>
      <vt:lpstr>Timeline 1</vt:lpstr>
      <vt:lpstr>Timeline 2</vt:lpstr>
      <vt:lpstr>Timeline 3</vt:lpstr>
      <vt:lpstr>Timeline 4</vt:lpstr>
      <vt:lpstr>Timeline 5</vt:lpstr>
      <vt:lpstr>Timeline 5</vt:lpstr>
      <vt:lpstr>Annual comparison with icons</vt:lpstr>
      <vt:lpstr>Relative comparison</vt:lpstr>
      <vt:lpstr>World map</vt:lpstr>
      <vt:lpstr>World map – America highlighted</vt:lpstr>
      <vt:lpstr>World map – North America highlighted</vt:lpstr>
      <vt:lpstr>World map – South America highlighted</vt:lpstr>
      <vt:lpstr>World map – Europe and Asia highlighted</vt:lpstr>
      <vt:lpstr>World map – Europe highlighted</vt:lpstr>
      <vt:lpstr>World map – Asia highlighted</vt:lpstr>
      <vt:lpstr>World map – Africa highlighted</vt:lpstr>
      <vt:lpstr>World map – Australia highlighted</vt:lpstr>
      <vt:lpstr>Organisation chart with three steps</vt:lpstr>
      <vt:lpstr>Organisation chart</vt:lpstr>
      <vt:lpstr>Two personal profiles</vt:lpstr>
      <vt:lpstr>Two personal profiles</vt:lpstr>
      <vt:lpstr>Segments with affiliation</vt:lpstr>
      <vt:lpstr>Pyramid with Text</vt:lpstr>
      <vt:lpstr>Pyramid with Text</vt:lpstr>
      <vt:lpstr>Organisation chart</vt:lpstr>
      <vt:lpstr>Organisation chart</vt:lpstr>
      <vt:lpstr>Organisation chart</vt:lpstr>
      <vt:lpstr>Organisation chart</vt:lpstr>
      <vt:lpstr>Table without heading</vt:lpstr>
      <vt:lpstr>Table</vt:lpstr>
      <vt:lpstr>Table</vt:lpstr>
      <vt:lpstr>Table with highlight</vt:lpstr>
      <vt:lpstr>Number table</vt:lpstr>
      <vt:lpstr>Number table with highlight</vt:lpstr>
      <vt:lpstr>Table with rating (squares)</vt:lpstr>
      <vt:lpstr>Texts with icons</vt:lpstr>
      <vt:lpstr>Texts with icons</vt:lpstr>
      <vt:lpstr>Texts with icons</vt:lpstr>
      <vt:lpstr>Three phases  with vertical image</vt:lpstr>
      <vt:lpstr>Four phases with horizontal image</vt:lpstr>
      <vt:lpstr>Four phases with horizontal image</vt:lpstr>
      <vt:lpstr>Three text boxes with conclusion</vt:lpstr>
      <vt:lpstr>Three text boxes with conclusion</vt:lpstr>
      <vt:lpstr>2x2 text boxes</vt:lpstr>
      <vt:lpstr>3x2 text boxes</vt:lpstr>
      <vt:lpstr>Three facts</vt:lpstr>
      <vt:lpstr>Numbered list</vt:lpstr>
      <vt:lpstr>Numbered list</vt:lpstr>
      <vt:lpstr>Numbered list</vt:lpstr>
      <vt:lpstr>Six text boxes with numbers</vt:lpstr>
      <vt:lpstr>Four key messages</vt:lpstr>
      <vt:lpstr>Combs with coloured sections</vt:lpstr>
      <vt:lpstr>Influences on the inner box</vt:lpstr>
    </vt:vector>
  </TitlesOfParts>
  <Company>Liebher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in Liebherr Head Black</dc:title>
  <dc:creator>Vera Pappelau</dc:creator>
  <dc:description>Optimized for Office 365</dc:description>
  <cp:lastModifiedBy>Pappelau Vera (LHO)</cp:lastModifiedBy>
  <cp:revision>6</cp:revision>
  <dcterms:created xsi:type="dcterms:W3CDTF">2021-05-26T08:57:52Z</dcterms:created>
  <dcterms:modified xsi:type="dcterms:W3CDTF">2022-01-14T14:14:06Z</dcterms:modified>
</cp:coreProperties>
</file>